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4.xml" ContentType="application/vnd.openxmlformats-officedocument.them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5.xml" ContentType="application/vnd.openxmlformats-officedocument.them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6.xml" ContentType="application/vnd.openxmlformats-officedocument.them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7.xml" ContentType="application/vnd.openxmlformats-officedocument.theme+xml"/>
  <Override PartName="/ppt/tags/tag93.xml" ContentType="application/vnd.openxmlformats-officedocument.presentationml.tags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8.xml" ContentType="application/vnd.openxmlformats-officedocument.theme+xml"/>
  <Override PartName="/ppt/tags/tag94.xml" ContentType="application/vnd.openxmlformats-officedocument.presentationml.tags+xml"/>
  <Override PartName="/ppt/theme/themeOverride1.xml" ContentType="application/vnd.openxmlformats-officedocument.themeOverride+xml"/>
  <Override PartName="/ppt/tags/tag95.xml" ContentType="application/vnd.openxmlformats-officedocument.presentationml.tags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theme/themeOverride8.xml" ContentType="application/vnd.openxmlformats-officedocument.themeOverride+xml"/>
  <Override PartName="/ppt/theme/themeOverride9.xml" ContentType="application/vnd.openxmlformats-officedocument.themeOverride+xml"/>
  <Override PartName="/ppt/theme/themeOverride10.xml" ContentType="application/vnd.openxmlformats-officedocument.themeOverride+xml"/>
  <Override PartName="/ppt/theme/themeOverride11.xml" ContentType="application/vnd.openxmlformats-officedocument.themeOverride+xml"/>
  <Override PartName="/ppt/theme/themeOverride12.xml" ContentType="application/vnd.openxmlformats-officedocument.themeOverride+xml"/>
  <Override PartName="/ppt/theme/themeOverride13.xml" ContentType="application/vnd.openxmlformats-officedocument.themeOverride+xml"/>
  <Override PartName="/ppt/theme/themeOverride14.xml" ContentType="application/vnd.openxmlformats-officedocument.themeOverride+xml"/>
  <Override PartName="/ppt/theme/themeOverride15.xml" ContentType="application/vnd.openxmlformats-officedocument.themeOverride+xml"/>
  <Override PartName="/ppt/theme/themeOverride16.xml" ContentType="application/vnd.openxmlformats-officedocument.themeOverride+xml"/>
  <Override PartName="/ppt/theme/themeOverride17.xml" ContentType="application/vnd.openxmlformats-officedocument.themeOverride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9.xml" ContentType="application/vnd.openxmlformats-officedocument.theme+xml"/>
  <Override PartName="/ppt/tags/tag100.xml" ContentType="application/vnd.openxmlformats-officedocument.presentationml.tags+xml"/>
  <Override PartName="/ppt/theme/themeOverride18.xml" ContentType="application/vnd.openxmlformats-officedocument.themeOverride+xml"/>
  <Override PartName="/ppt/tags/tag101.xml" ContentType="application/vnd.openxmlformats-officedocument.presentationml.tags+xml"/>
  <Override PartName="/ppt/theme/themeOverride19.xml" ContentType="application/vnd.openxmlformats-officedocument.themeOverride+xml"/>
  <Override PartName="/ppt/theme/themeOverride20.xml" ContentType="application/vnd.openxmlformats-officedocument.themeOverride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heme/themeOverride21.xml" ContentType="application/vnd.openxmlformats-officedocument.themeOverride+xml"/>
  <Override PartName="/ppt/theme/themeOverride22.xml" ContentType="application/vnd.openxmlformats-officedocument.themeOverride+xml"/>
  <Override PartName="/ppt/theme/themeOverride23.xml" ContentType="application/vnd.openxmlformats-officedocument.themeOverride+xml"/>
  <Override PartName="/ppt/theme/themeOverride24.xml" ContentType="application/vnd.openxmlformats-officedocument.themeOverride+xml"/>
  <Override PartName="/ppt/theme/themeOverride25.xml" ContentType="application/vnd.openxmlformats-officedocument.themeOverride+xml"/>
  <Override PartName="/ppt/theme/themeOverride26.xml" ContentType="application/vnd.openxmlformats-officedocument.themeOverride+xml"/>
  <Override PartName="/ppt/theme/themeOverride27.xml" ContentType="application/vnd.openxmlformats-officedocument.themeOverride+xml"/>
  <Override PartName="/ppt/theme/themeOverride28.xml" ContentType="application/vnd.openxmlformats-officedocument.themeOverride+xml"/>
  <Override PartName="/ppt/theme/themeOverride29.xml" ContentType="application/vnd.openxmlformats-officedocument.themeOverride+xml"/>
  <Override PartName="/ppt/theme/themeOverride30.xml" ContentType="application/vnd.openxmlformats-officedocument.themeOverride+xml"/>
  <Override PartName="/ppt/theme/themeOverride31.xml" ContentType="application/vnd.openxmlformats-officedocument.themeOverride+xml"/>
  <Override PartName="/ppt/theme/themeOverride32.xml" ContentType="application/vnd.openxmlformats-officedocument.themeOverride+xml"/>
  <Override PartName="/ppt/theme/themeOverride33.xml" ContentType="application/vnd.openxmlformats-officedocument.themeOverride+xml"/>
  <Override PartName="/ppt/theme/themeOverride34.xml" ContentType="application/vnd.openxmlformats-officedocument.themeOverride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  <p:sldMasterId id="2147483677" r:id="rId2"/>
    <p:sldMasterId id="2147483694" r:id="rId3"/>
    <p:sldMasterId id="2147483726" r:id="rId4"/>
    <p:sldMasterId id="2147483748" r:id="rId5"/>
    <p:sldMasterId id="2147483752" r:id="rId6"/>
    <p:sldMasterId id="2147483767" r:id="rId7"/>
    <p:sldMasterId id="2147483773" r:id="rId8"/>
    <p:sldMasterId id="2147483793" r:id="rId9"/>
  </p:sldMasterIdLst>
  <p:notesMasterIdLst>
    <p:notesMasterId r:id="rId19"/>
  </p:notesMasterIdLst>
  <p:sldIdLst>
    <p:sldId id="378" r:id="rId10"/>
    <p:sldId id="2134959110" r:id="rId11"/>
    <p:sldId id="1121" r:id="rId12"/>
    <p:sldId id="2134960111" r:id="rId13"/>
    <p:sldId id="2134959076" r:id="rId14"/>
    <p:sldId id="678" r:id="rId15"/>
    <p:sldId id="650" r:id="rId16"/>
    <p:sldId id="2134959078" r:id="rId17"/>
    <p:sldId id="2134960112" r:id="rId18"/>
  </p:sldIdLst>
  <p:sldSz cx="12192000" cy="6858000"/>
  <p:notesSz cx="6858000" cy="9144000"/>
  <p:custDataLst>
    <p:tags r:id="rId20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hulneva, Julia [JACRU]" initials="ZJ[" lastIdx="30" clrIdx="0">
    <p:extLst>
      <p:ext uri="{19B8F6BF-5375-455C-9EA6-DF929625EA0E}">
        <p15:presenceInfo xmlns:p15="http://schemas.microsoft.com/office/powerpoint/2012/main" userId="S::JZhulnev@its.jnj.com::859e5724-59b4-4b06-a82d-6ac895e420af" providerId="AD"/>
      </p:ext>
    </p:extLst>
  </p:cmAuthor>
  <p:cmAuthor id="2" name="Askerko, Olga [JANRU]" initials="AO[" lastIdx="40" clrIdx="1">
    <p:extLst>
      <p:ext uri="{19B8F6BF-5375-455C-9EA6-DF929625EA0E}">
        <p15:presenceInfo xmlns:p15="http://schemas.microsoft.com/office/powerpoint/2012/main" userId="S::OAskerko@its.jnj.com::f747bf95-8c8a-4582-8714-7a3adf14187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3792" autoAdjust="0"/>
  </p:normalViewPr>
  <p:slideViewPr>
    <p:cSldViewPr snapToGrid="0">
      <p:cViewPr varScale="1">
        <p:scale>
          <a:sx n="67" d="100"/>
          <a:sy n="67" d="100"/>
        </p:scale>
        <p:origin x="604" y="3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3" Type="http://schemas.openxmlformats.org/officeDocument/2006/relationships/slideMaster" Target="slideMasters/slideMaster3.xml"/><Relationship Id="rId21" Type="http://schemas.openxmlformats.org/officeDocument/2006/relationships/commentAuthors" Target="commentAuthor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viewProps" Target="viewProps.xml"/><Relationship Id="rId10" Type="http://schemas.openxmlformats.org/officeDocument/2006/relationships/slide" Target="slides/slide1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C77E372-CB46-47B8-9A3E-169E8F1DC785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F0DA9757-D6D6-4213-A314-578C94C96842}">
      <dgm:prSet phldrT="[Text]" custT="1"/>
      <dgm:spPr/>
      <dgm:t>
        <a:bodyPr lIns="216000" rIns="216000"/>
        <a:lstStyle/>
        <a:p>
          <a:r>
            <a:rPr lang="ru-RU" sz="2400" dirty="0"/>
            <a:t>Почему необходимо оценивать риск смерти и прогрессирования заболевания?</a:t>
          </a:r>
        </a:p>
      </dgm:t>
    </dgm:pt>
    <dgm:pt modelId="{D8178A0D-C000-41BA-B1EA-0B926EA81343}" type="parTrans" cxnId="{BB63D37C-21DE-4112-8881-08CE640BFFD3}">
      <dgm:prSet/>
      <dgm:spPr/>
      <dgm:t>
        <a:bodyPr/>
        <a:lstStyle/>
        <a:p>
          <a:endParaRPr lang="en-GB"/>
        </a:p>
      </dgm:t>
    </dgm:pt>
    <dgm:pt modelId="{CEEE7163-1B45-437B-AE0F-B997E38097F9}" type="sibTrans" cxnId="{BB63D37C-21DE-4112-8881-08CE640BFFD3}">
      <dgm:prSet/>
      <dgm:spPr/>
      <dgm:t>
        <a:bodyPr/>
        <a:lstStyle/>
        <a:p>
          <a:endParaRPr lang="en-GB"/>
        </a:p>
      </dgm:t>
    </dgm:pt>
    <dgm:pt modelId="{EA81AAEB-9D93-4D92-8512-F38CFD0BD3A4}" type="pres">
      <dgm:prSet presAssocID="{0C77E372-CB46-47B8-9A3E-169E8F1DC785}" presName="linear" presStyleCnt="0">
        <dgm:presLayoutVars>
          <dgm:dir/>
          <dgm:animLvl val="lvl"/>
          <dgm:resizeHandles val="exact"/>
        </dgm:presLayoutVars>
      </dgm:prSet>
      <dgm:spPr/>
    </dgm:pt>
    <dgm:pt modelId="{0DBC34E4-71BB-4FA8-9842-03FC25F39EB0}" type="pres">
      <dgm:prSet presAssocID="{F0DA9757-D6D6-4213-A314-578C94C96842}" presName="parentLin" presStyleCnt="0"/>
      <dgm:spPr/>
    </dgm:pt>
    <dgm:pt modelId="{45130602-B1C7-4374-95E6-653ADDC4B908}" type="pres">
      <dgm:prSet presAssocID="{F0DA9757-D6D6-4213-A314-578C94C96842}" presName="parentLeftMargin" presStyleLbl="node1" presStyleIdx="0" presStyleCnt="1"/>
      <dgm:spPr/>
    </dgm:pt>
    <dgm:pt modelId="{0FE99D01-7888-4402-B208-213C81DA4CBD}" type="pres">
      <dgm:prSet presAssocID="{F0DA9757-D6D6-4213-A314-578C94C96842}" presName="parentText" presStyleLbl="node1" presStyleIdx="0" presStyleCnt="1" custScaleX="108455" custScaleY="48474" custLinFactX="1973" custLinFactY="-6239" custLinFactNeighborX="100000" custLinFactNeighborY="-100000">
        <dgm:presLayoutVars>
          <dgm:chMax val="0"/>
          <dgm:bulletEnabled val="1"/>
        </dgm:presLayoutVars>
      </dgm:prSet>
      <dgm:spPr/>
    </dgm:pt>
    <dgm:pt modelId="{6285261E-D2F5-44E9-B196-CB402777AB69}" type="pres">
      <dgm:prSet presAssocID="{F0DA9757-D6D6-4213-A314-578C94C96842}" presName="negativeSpace" presStyleCnt="0"/>
      <dgm:spPr/>
    </dgm:pt>
    <dgm:pt modelId="{582B0816-4562-4C74-951F-367FAC812466}" type="pres">
      <dgm:prSet presAssocID="{F0DA9757-D6D6-4213-A314-578C94C96842}" presName="childText" presStyleLbl="conFgAcc1" presStyleIdx="0" presStyleCnt="1" custScaleY="49468" custLinFactY="-32234" custLinFactNeighborY="-100000">
        <dgm:presLayoutVars>
          <dgm:bulletEnabled val="1"/>
        </dgm:presLayoutVars>
      </dgm:prSet>
      <dgm:spPr/>
    </dgm:pt>
  </dgm:ptLst>
  <dgm:cxnLst>
    <dgm:cxn modelId="{3CB43117-881E-4E0E-B753-484B3486BFEA}" type="presOf" srcId="{F0DA9757-D6D6-4213-A314-578C94C96842}" destId="{45130602-B1C7-4374-95E6-653ADDC4B908}" srcOrd="0" destOrd="0" presId="urn:microsoft.com/office/officeart/2005/8/layout/list1"/>
    <dgm:cxn modelId="{BB63D37C-21DE-4112-8881-08CE640BFFD3}" srcId="{0C77E372-CB46-47B8-9A3E-169E8F1DC785}" destId="{F0DA9757-D6D6-4213-A314-578C94C96842}" srcOrd="0" destOrd="0" parTransId="{D8178A0D-C000-41BA-B1EA-0B926EA81343}" sibTransId="{CEEE7163-1B45-437B-AE0F-B997E38097F9}"/>
    <dgm:cxn modelId="{72DD10B9-2E0D-476C-9B1F-247581BF7229}" type="presOf" srcId="{0C77E372-CB46-47B8-9A3E-169E8F1DC785}" destId="{EA81AAEB-9D93-4D92-8512-F38CFD0BD3A4}" srcOrd="0" destOrd="0" presId="urn:microsoft.com/office/officeart/2005/8/layout/list1"/>
    <dgm:cxn modelId="{A453F9EF-5DF2-4839-8AB1-E92F1FD4DC9B}" type="presOf" srcId="{F0DA9757-D6D6-4213-A314-578C94C96842}" destId="{0FE99D01-7888-4402-B208-213C81DA4CBD}" srcOrd="1" destOrd="0" presId="urn:microsoft.com/office/officeart/2005/8/layout/list1"/>
    <dgm:cxn modelId="{611E4C1A-C888-440D-AD9C-E27D0E8C26D9}" type="presParOf" srcId="{EA81AAEB-9D93-4D92-8512-F38CFD0BD3A4}" destId="{0DBC34E4-71BB-4FA8-9842-03FC25F39EB0}" srcOrd="0" destOrd="0" presId="urn:microsoft.com/office/officeart/2005/8/layout/list1"/>
    <dgm:cxn modelId="{A9EF096A-FBBB-4D50-B212-01F6FB749950}" type="presParOf" srcId="{0DBC34E4-71BB-4FA8-9842-03FC25F39EB0}" destId="{45130602-B1C7-4374-95E6-653ADDC4B908}" srcOrd="0" destOrd="0" presId="urn:microsoft.com/office/officeart/2005/8/layout/list1"/>
    <dgm:cxn modelId="{6CFD0AF4-EB4A-4FE2-A846-9155CE443065}" type="presParOf" srcId="{0DBC34E4-71BB-4FA8-9842-03FC25F39EB0}" destId="{0FE99D01-7888-4402-B208-213C81DA4CBD}" srcOrd="1" destOrd="0" presId="urn:microsoft.com/office/officeart/2005/8/layout/list1"/>
    <dgm:cxn modelId="{FE23DEF2-5A9A-40D4-B1A1-3E3CAE1029BB}" type="presParOf" srcId="{EA81AAEB-9D93-4D92-8512-F38CFD0BD3A4}" destId="{6285261E-D2F5-44E9-B196-CB402777AB69}" srcOrd="1" destOrd="0" presId="urn:microsoft.com/office/officeart/2005/8/layout/list1"/>
    <dgm:cxn modelId="{632B7F87-7300-44E3-8D19-4F658AC8825E}" type="presParOf" srcId="{EA81AAEB-9D93-4D92-8512-F38CFD0BD3A4}" destId="{582B0816-4562-4C74-951F-367FAC812466}" srcOrd="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C77E372-CB46-47B8-9A3E-169E8F1DC785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F0DA9757-D6D6-4213-A314-578C94C96842}">
      <dgm:prSet phldrT="[Text]" custT="1"/>
      <dgm:spPr/>
      <dgm:t>
        <a:bodyPr lIns="216000" rIns="216000"/>
        <a:lstStyle/>
        <a:p>
          <a:r>
            <a:rPr lang="ru-RU" sz="2400" dirty="0"/>
            <a:t>Почему необходимо оценивать риск смерти и прогрессирования заболевания?</a:t>
          </a:r>
        </a:p>
      </dgm:t>
    </dgm:pt>
    <dgm:pt modelId="{D8178A0D-C000-41BA-B1EA-0B926EA81343}" type="parTrans" cxnId="{BB63D37C-21DE-4112-8881-08CE640BFFD3}">
      <dgm:prSet/>
      <dgm:spPr/>
      <dgm:t>
        <a:bodyPr/>
        <a:lstStyle/>
        <a:p>
          <a:endParaRPr lang="en-GB"/>
        </a:p>
      </dgm:t>
    </dgm:pt>
    <dgm:pt modelId="{CEEE7163-1B45-437B-AE0F-B997E38097F9}" type="sibTrans" cxnId="{BB63D37C-21DE-4112-8881-08CE640BFFD3}">
      <dgm:prSet/>
      <dgm:spPr/>
      <dgm:t>
        <a:bodyPr/>
        <a:lstStyle/>
        <a:p>
          <a:endParaRPr lang="en-GB"/>
        </a:p>
      </dgm:t>
    </dgm:pt>
    <dgm:pt modelId="{EA81AAEB-9D93-4D92-8512-F38CFD0BD3A4}" type="pres">
      <dgm:prSet presAssocID="{0C77E372-CB46-47B8-9A3E-169E8F1DC785}" presName="linear" presStyleCnt="0">
        <dgm:presLayoutVars>
          <dgm:dir/>
          <dgm:animLvl val="lvl"/>
          <dgm:resizeHandles val="exact"/>
        </dgm:presLayoutVars>
      </dgm:prSet>
      <dgm:spPr/>
    </dgm:pt>
    <dgm:pt modelId="{0DBC34E4-71BB-4FA8-9842-03FC25F39EB0}" type="pres">
      <dgm:prSet presAssocID="{F0DA9757-D6D6-4213-A314-578C94C96842}" presName="parentLin" presStyleCnt="0"/>
      <dgm:spPr/>
    </dgm:pt>
    <dgm:pt modelId="{45130602-B1C7-4374-95E6-653ADDC4B908}" type="pres">
      <dgm:prSet presAssocID="{F0DA9757-D6D6-4213-A314-578C94C96842}" presName="parentLeftMargin" presStyleLbl="node1" presStyleIdx="0" presStyleCnt="1"/>
      <dgm:spPr/>
    </dgm:pt>
    <dgm:pt modelId="{0FE99D01-7888-4402-B208-213C81DA4CBD}" type="pres">
      <dgm:prSet presAssocID="{F0DA9757-D6D6-4213-A314-578C94C96842}" presName="parentText" presStyleLbl="node1" presStyleIdx="0" presStyleCnt="1" custScaleX="108455" custScaleY="48474" custLinFactX="1973" custLinFactY="-6239" custLinFactNeighborX="100000" custLinFactNeighborY="-100000">
        <dgm:presLayoutVars>
          <dgm:chMax val="0"/>
          <dgm:bulletEnabled val="1"/>
        </dgm:presLayoutVars>
      </dgm:prSet>
      <dgm:spPr/>
    </dgm:pt>
    <dgm:pt modelId="{6285261E-D2F5-44E9-B196-CB402777AB69}" type="pres">
      <dgm:prSet presAssocID="{F0DA9757-D6D6-4213-A314-578C94C96842}" presName="negativeSpace" presStyleCnt="0"/>
      <dgm:spPr/>
    </dgm:pt>
    <dgm:pt modelId="{582B0816-4562-4C74-951F-367FAC812466}" type="pres">
      <dgm:prSet presAssocID="{F0DA9757-D6D6-4213-A314-578C94C96842}" presName="childText" presStyleLbl="conFgAcc1" presStyleIdx="0" presStyleCnt="1" custScaleY="49468" custLinFactY="-32234" custLinFactNeighborY="-100000">
        <dgm:presLayoutVars>
          <dgm:bulletEnabled val="1"/>
        </dgm:presLayoutVars>
      </dgm:prSet>
      <dgm:spPr/>
    </dgm:pt>
  </dgm:ptLst>
  <dgm:cxnLst>
    <dgm:cxn modelId="{3CB43117-881E-4E0E-B753-484B3486BFEA}" type="presOf" srcId="{F0DA9757-D6D6-4213-A314-578C94C96842}" destId="{45130602-B1C7-4374-95E6-653ADDC4B908}" srcOrd="0" destOrd="0" presId="urn:microsoft.com/office/officeart/2005/8/layout/list1"/>
    <dgm:cxn modelId="{BB63D37C-21DE-4112-8881-08CE640BFFD3}" srcId="{0C77E372-CB46-47B8-9A3E-169E8F1DC785}" destId="{F0DA9757-D6D6-4213-A314-578C94C96842}" srcOrd="0" destOrd="0" parTransId="{D8178A0D-C000-41BA-B1EA-0B926EA81343}" sibTransId="{CEEE7163-1B45-437B-AE0F-B997E38097F9}"/>
    <dgm:cxn modelId="{72DD10B9-2E0D-476C-9B1F-247581BF7229}" type="presOf" srcId="{0C77E372-CB46-47B8-9A3E-169E8F1DC785}" destId="{EA81AAEB-9D93-4D92-8512-F38CFD0BD3A4}" srcOrd="0" destOrd="0" presId="urn:microsoft.com/office/officeart/2005/8/layout/list1"/>
    <dgm:cxn modelId="{A453F9EF-5DF2-4839-8AB1-E92F1FD4DC9B}" type="presOf" srcId="{F0DA9757-D6D6-4213-A314-578C94C96842}" destId="{0FE99D01-7888-4402-B208-213C81DA4CBD}" srcOrd="1" destOrd="0" presId="urn:microsoft.com/office/officeart/2005/8/layout/list1"/>
    <dgm:cxn modelId="{611E4C1A-C888-440D-AD9C-E27D0E8C26D9}" type="presParOf" srcId="{EA81AAEB-9D93-4D92-8512-F38CFD0BD3A4}" destId="{0DBC34E4-71BB-4FA8-9842-03FC25F39EB0}" srcOrd="0" destOrd="0" presId="urn:microsoft.com/office/officeart/2005/8/layout/list1"/>
    <dgm:cxn modelId="{A9EF096A-FBBB-4D50-B212-01F6FB749950}" type="presParOf" srcId="{0DBC34E4-71BB-4FA8-9842-03FC25F39EB0}" destId="{45130602-B1C7-4374-95E6-653ADDC4B908}" srcOrd="0" destOrd="0" presId="urn:microsoft.com/office/officeart/2005/8/layout/list1"/>
    <dgm:cxn modelId="{6CFD0AF4-EB4A-4FE2-A846-9155CE443065}" type="presParOf" srcId="{0DBC34E4-71BB-4FA8-9842-03FC25F39EB0}" destId="{0FE99D01-7888-4402-B208-213C81DA4CBD}" srcOrd="1" destOrd="0" presId="urn:microsoft.com/office/officeart/2005/8/layout/list1"/>
    <dgm:cxn modelId="{FE23DEF2-5A9A-40D4-B1A1-3E3CAE1029BB}" type="presParOf" srcId="{EA81AAEB-9D93-4D92-8512-F38CFD0BD3A4}" destId="{6285261E-D2F5-44E9-B196-CB402777AB69}" srcOrd="1" destOrd="0" presId="urn:microsoft.com/office/officeart/2005/8/layout/list1"/>
    <dgm:cxn modelId="{632B7F87-7300-44E3-8D19-4F658AC8825E}" type="presParOf" srcId="{EA81AAEB-9D93-4D92-8512-F38CFD0BD3A4}" destId="{582B0816-4562-4C74-951F-367FAC812466}" srcOrd="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82B0816-4562-4C74-951F-367FAC812466}">
      <dsp:nvSpPr>
        <dsp:cNvPr id="0" name=""/>
        <dsp:cNvSpPr/>
      </dsp:nvSpPr>
      <dsp:spPr>
        <a:xfrm>
          <a:off x="0" y="295888"/>
          <a:ext cx="10972800" cy="81028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FE99D01-7888-4402-B208-213C81DA4CBD}">
      <dsp:nvSpPr>
        <dsp:cNvPr id="0" name=""/>
        <dsp:cNvSpPr/>
      </dsp:nvSpPr>
      <dsp:spPr>
        <a:xfrm>
          <a:off x="1248825" y="0"/>
          <a:ext cx="8330385" cy="93011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6000" tIns="0" rIns="216000" bIns="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kern="1200" dirty="0"/>
            <a:t>Почему необходимо оценивать риск смерти и прогрессирования заболевания?</a:t>
          </a:r>
        </a:p>
      </dsp:txBody>
      <dsp:txXfrm>
        <a:off x="1294230" y="45405"/>
        <a:ext cx="8239575" cy="83930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82B0816-4562-4C74-951F-367FAC812466}">
      <dsp:nvSpPr>
        <dsp:cNvPr id="0" name=""/>
        <dsp:cNvSpPr/>
      </dsp:nvSpPr>
      <dsp:spPr>
        <a:xfrm>
          <a:off x="0" y="295888"/>
          <a:ext cx="10972800" cy="81028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FE99D01-7888-4402-B208-213C81DA4CBD}">
      <dsp:nvSpPr>
        <dsp:cNvPr id="0" name=""/>
        <dsp:cNvSpPr/>
      </dsp:nvSpPr>
      <dsp:spPr>
        <a:xfrm>
          <a:off x="1248825" y="0"/>
          <a:ext cx="8330385" cy="93011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6000" tIns="0" rIns="216000" bIns="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kern="1200" dirty="0"/>
            <a:t>Почему необходимо оценивать риск смерти и прогрессирования заболевания?</a:t>
          </a:r>
        </a:p>
      </dsp:txBody>
      <dsp:txXfrm>
        <a:off x="1294230" y="45405"/>
        <a:ext cx="8239575" cy="83930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1F42EB5-94E6-4584-B8A5-3199F7D035F7}" type="datetimeFigureOut">
              <a:rPr lang="ru-RU" smtClean="0"/>
              <a:pPr/>
              <a:t>10.08.2021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05FB26-EEDF-4279-A4C6-ABE7C924347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457992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C21DD62-9255-48E8-B4DB-820588B6EB2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17826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Оценка риска смерти играет важнейшую роль в алгоритме выбора терапии для пациентов с ЛАГ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«Стабильное» состояние характеризует прошедшее время, тогда как оценка риска позволяет заглянуть в будущее</a:t>
            </a:r>
          </a:p>
          <a:p>
            <a:pPr lvl="0"/>
            <a:r>
              <a:rPr lang="ru-RU" sz="1200" u="sng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На самом деле стабильного пациента с ЛАГ не существует</a:t>
            </a:r>
            <a:r>
              <a:rPr lang="en-US" sz="1200" u="sng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клинической практике у каждого пациента есть свой уникальный фенотип, причина заболевания и сопутствующая патология, которые вносят вклад в необходимость индивидуального ухода. Клиническое решение о терапии ЛАГ должно основываться на частой систематической оценке, чтобы своевременно заподозрить прогрессирование заболевания или клиническое ухудшение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ru-RU" sz="1200" u="sng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Эскалация терапии необходима уже при незначительных изменениях</a:t>
            </a:r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конечном счете, ЛАГ остается смертельной болезнью без лечения. Наша цель снизить риск смерти, предотвратить прогрессирование заболевания и улучшить качество жизни пациентов с ЛАГ. Если мы предположим, что пациент с ФК II стабилен, это будет в ущерб пациенту. </a:t>
            </a:r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05FB26-EEDF-4279-A4C6-ABE7C924347F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09407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238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7238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tlCol="0"/>
          <a:lstStyle/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Times New Roman" panose="02020603050405020304" pitchFamily="18" charset="0"/>
              <a:buChar char="•"/>
              <a:tabLst>
                <a:tab pos="457200" algn="l"/>
              </a:tabLst>
            </a:pPr>
            <a:r>
              <a:rPr lang="ru-RU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атологические изменения при ЛАГ наблюдаются в дистальных легочных артериях (&lt; 500 мм)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Times New Roman" panose="02020603050405020304" pitchFamily="18" charset="0"/>
              <a:buChar char="•"/>
              <a:tabLst>
                <a:tab pos="457200" algn="l"/>
              </a:tabLst>
            </a:pPr>
            <a:r>
              <a:rPr lang="ru-RU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 ним относится гипертрофия медиального слоя легочных сосудов, пролиферативные и фиброзные изменения </a:t>
            </a:r>
            <a:r>
              <a:rPr lang="ru-RU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нтимы</a:t>
            </a:r>
            <a:r>
              <a:rPr lang="ru-RU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концентрические и/или эксцентрические), утолщение </a:t>
            </a:r>
            <a:r>
              <a:rPr lang="ru-RU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адвентиции</a:t>
            </a:r>
            <a:r>
              <a:rPr lang="ru-RU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с умеренной </a:t>
            </a:r>
            <a:r>
              <a:rPr lang="ru-RU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ериваскулярной</a:t>
            </a:r>
            <a:r>
              <a:rPr lang="ru-RU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воспалительной инфильтрацией, а также </a:t>
            </a:r>
            <a:r>
              <a:rPr lang="ru-RU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дилатационные</a:t>
            </a:r>
            <a:r>
              <a:rPr lang="ru-RU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ru-RU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лексиформные</a:t>
            </a:r>
            <a:r>
              <a:rPr lang="ru-RU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и тромботические изменения.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Times New Roman" panose="02020603050405020304" pitchFamily="18" charset="0"/>
              <a:buChar char="•"/>
              <a:tabLst>
                <a:tab pos="457200" algn="l"/>
              </a:tabLst>
            </a:pPr>
            <a:r>
              <a:rPr lang="ru-RU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овышение легочного сосудистого сопротивления приводит к перегрузке правого желудочка, его гипертрофии и дилатации и, в конечном счете, к развитию правожелудочковой недостаточности и смерти.</a:t>
            </a:r>
          </a:p>
          <a:p>
            <a:pPr marL="169863" indent="-169863" algn="l" rtl="0" eaLnBrk="1" hangingPunct="1">
              <a:spcBef>
                <a:spcPts val="600"/>
              </a:spcBef>
              <a:buFontTx/>
              <a:buChar char="•"/>
            </a:pPr>
            <a:endParaRPr lang="ru" sz="1100" noProof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238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tlCol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15F336-383D-4BBF-9C3B-CE9D417891E4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MS PGothic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CH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MS PGothic" charset="-128"/>
              <a:cs typeface="+mn-cs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>
              <a:lnSpc>
                <a:spcPct val="107000"/>
              </a:lnSpc>
            </a:pPr>
            <a:r>
              <a:rPr lang="ru-RU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виду огромного резерва легочных сосудов ЛАГ в покое и соответствующие симптомы появляются намного позже, чем под воздействием провоцирующих факторов развивается дисфункция легочных сосудов (ДЛС). Известно о существовании множества факторов риска, которые способствуют утрате легочными сосудами нормальной функции во </a:t>
            </a:r>
            <a:r>
              <a:rPr lang="ru-RU" sz="11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нутриутробном периоде </a:t>
            </a:r>
            <a:r>
              <a:rPr lang="ru-RU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 позже, включая факторы окружающей среды и эндогенные факторы. ЛГ в покое возникает только при утрате своей функции огромной частью сосудистого ложа, что сопровождается увеличением </a:t>
            </a:r>
            <a:r>
              <a:rPr lang="ru-RU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рДЛА</a:t>
            </a:r>
            <a:r>
              <a:rPr lang="ru-RU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и легочного сосудистого сопротивления (ЛЛС). На момент постановки диагноза ЛГ ДЛС уже находится в развернутой стадии. В конечном счете разовьется правожелудочковая (ПЖ) недостаточность. Основные усилия по ее предотвращению должны быть направлены на выявление и предотвращение ДЛС до развития ЛГ.</a:t>
            </a:r>
          </a:p>
          <a:p>
            <a:pPr rtl="0">
              <a:lnSpc>
                <a:spcPct val="107000"/>
              </a:lnSpc>
              <a:spcAft>
                <a:spcPts val="0"/>
              </a:spcAft>
            </a:pPr>
            <a:r>
              <a:rPr lang="ru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 </a:t>
            </a:r>
            <a:endParaRPr lang="en-GB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r" rtl="0">
              <a:lnSpc>
                <a:spcPct val="107000"/>
              </a:lnSpc>
              <a:spcAft>
                <a:spcPts val="0"/>
              </a:spcAft>
            </a:pPr>
            <a:r>
              <a:rPr lang="ru" sz="11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ustin ED, </a:t>
            </a:r>
            <a:r>
              <a:rPr lang="ru" sz="1100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t al. Ann Am Thorac Soc </a:t>
            </a:r>
            <a:r>
              <a:rPr lang="ru" sz="11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14; 11:S178-85.</a:t>
            </a:r>
          </a:p>
          <a:p>
            <a:pPr algn="r" rtl="0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 rtlCol="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E9146F-AFB5-44B5-B082-2251E47BE94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86271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ru-RU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а момент постановки диагноза большинство пациентов имеют легочную артериальную гипертензию (ЛАГ) средней или тяжелой степени тяжести, при этом 70–100 % имеют функциональный класс (ФК) III или IV по ВОЗ. У этих пациентов уже будут наблюдаться умеренные или тяжелые симптомы и ограничения в повседневной активности.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ru-RU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омимо сравнения всей базы данных REVEAL с разными регистрами (когорта NIH, PHC и французский регистр), в отношении популяции REVEAL применялись критерии включения других регистров. Данные, полученные в </a:t>
            </a:r>
            <a:r>
              <a:rPr lang="ru-RU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убпопуляциях</a:t>
            </a:r>
            <a:r>
              <a:rPr lang="ru-RU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REVEAL, использовались для более точного сравнения. Французская когорта сравнения REVEAL (REVEAL FCC) включала 2355 пациентов из REVEAL, схожих с пациентами, которые были включены во французский, шотландский и PHC регистры. Когорта сравнения NIH (REVEAL NIH) представляла собой </a:t>
            </a:r>
            <a:r>
              <a:rPr lang="ru-RU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убпопуляцию</a:t>
            </a:r>
            <a:r>
              <a:rPr lang="ru-RU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пациентов (</a:t>
            </a:r>
            <a:r>
              <a:rPr lang="ru-RU" sz="11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</a:t>
            </a:r>
            <a:r>
              <a:rPr lang="ru-RU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= 1072) с характеристиками, соответствующими критериям включения в регистр NIH. </a:t>
            </a:r>
            <a:br>
              <a:rPr lang="ru-RU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ru-RU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ru-RU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емьдесят два процента пациентов в регистре REVEAL и 73 % в REVEAL и FFC REVEAL NIH имели ФК III/IV на момент постановки диагноза, что сопоставимо с их долей от 71 до 80 %, наблюдаемой в других регистрах. Это сходство с исследованием NIH указывает на то, что тяжесть ЛАГ на момент постановки диагноза существенно не меняется с течением времени.</a:t>
            </a:r>
          </a:p>
          <a:p>
            <a:pPr algn="just" rtl="0"/>
            <a:r>
              <a:rPr lang="ru" sz="1100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endParaRPr lang="en-GB" sz="1100" i="1" kern="1200" dirty="0"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rtl="0"/>
            <a:r>
              <a:rPr lang="ru" sz="11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Frost A, </a:t>
            </a:r>
            <a:r>
              <a:rPr lang="ru" sz="1100" i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t al. Chest </a:t>
            </a:r>
            <a:r>
              <a:rPr lang="ru" sz="11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2011; 139:128-37.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 rtlCol="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E9146F-AFB5-44B5-B082-2251E47BE94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83160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ru-RU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днолетняя выживаемость после диагностической КПС в подгруппе пациентов из регистра REVEAL (когорта NIH) была сопоставима с таковой в французском регистре; последняя составила 91 ± 2 %. Показатели однолетней, двухлетней и трехлетней выживаемости во французском регистре включены в график сравнения (87 % [95 % ДИ: 84–90]; 76 % [95 % ДИ: 73–80]; и 67 % [95 % ДИ: 63–71], соответственно)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ru-RU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огорта NIH REVEAL включала пациентов регистра REVEAL, которые начали получать специфическое лечение в течение 6 месяцев с момента постановки диагноза ЛАГ и соответствовали критериям включения (имели идиопатическую или семейную ЛАГ и ДЗЛК 12 </a:t>
            </a:r>
            <a:r>
              <a:rPr lang="ru-RU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м.рт.ст</a:t>
            </a:r>
            <a:r>
              <a:rPr lang="ru-RU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)</a:t>
            </a:r>
          </a:p>
          <a:p>
            <a:pPr rtl="0"/>
            <a:r>
              <a:rPr lang="ru" sz="11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</a:p>
          <a:p>
            <a:pPr algn="r" rtl="0"/>
            <a:r>
              <a:rPr lang="ru" sz="11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Hoeper MM, </a:t>
            </a:r>
            <a:r>
              <a:rPr lang="ru" sz="1100" i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t al. Eur Respir J </a:t>
            </a:r>
            <a:r>
              <a:rPr lang="ru" sz="11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2017; 50:170074.</a:t>
            </a:r>
            <a:endParaRPr lang="en-GB" sz="1100" kern="1200" dirty="0"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 rtlCol="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E9146F-AFB5-44B5-B082-2251E47BE94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15203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 rtlCol="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2A0E50-3DC5-4FBA-BBD1-40F7C4DEF01F}" type="slidenum">
              <a:rPr kumimoji="0" lang="el-G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l-G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320351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marL="228600">
              <a:lnSpc>
                <a:spcPct val="107000"/>
              </a:lnSpc>
              <a:spcAft>
                <a:spcPts val="800"/>
              </a:spcAft>
            </a:pPr>
            <a:r>
              <a:rPr lang="ru-RU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табильных пациентов (n = 22), определяемых как пациенты со стабильным ФК II–III по ВОЗ или улучшающимся ФК и переносимостью физической нагрузки на протяжении пятилетнего периода наблюдения, наблюдали в течение продолжительного периода времени: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ru-RU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Двенадцать пациентов оставались стабильными на протяжении периода до 10 лет, в то время как у 10 других пациентов наблюдалось позднее прогрессирование, которое привело к смерти или трансплантации легких по прошествии периода наблюдения до 8 лет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ru-RU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сходные гемодинамические показатели были сопоставимы в обеих группах и оставались неизменными в течение всего периода наблюдения. У пациентов с поздним прогрессированием заболевания был более высокий исходный конечно-систолический объем ПЖ (КСОПЖ) и более низкая фракция выброса ПЖ (ФВПЖ). У пациентов с поздним прогрессированием наблюдалось постепенное увеличение конечно-диастолического объема ПЖ (КДОПЖ) и КСОПЖ и снижение ФВПЖ, в то время как у пациентов с долгосрочным стабильным течением не было изменений со стороны ПЖ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ru-RU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У пациентов с идиопатической ЛАГ, которые оставались клинически стабильными в течение 5 лет, последующему позднему прогрессированию заболевания предшествовали изменения объемов ПЖ. Эти результаты указывают на то, что контроль объемов ПЖ позволяет прогнозировать клиническое ухудшение даже при кажущемся стабильном течении</a:t>
            </a:r>
          </a:p>
          <a:p>
            <a:pPr rtl="0"/>
            <a:r>
              <a:rPr lang="ru" sz="11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</a:p>
          <a:p>
            <a:pPr algn="r" rtl="0"/>
            <a:r>
              <a:rPr lang="ru" sz="11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van de Veerdonk MC, </a:t>
            </a:r>
            <a:r>
              <a:rPr lang="ru" sz="1100" i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t al. Chest </a:t>
            </a:r>
            <a:r>
              <a:rPr lang="ru" sz="11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2015; 147:1063-71.</a:t>
            </a:r>
            <a:endParaRPr lang="en-GB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 rtlCol="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E9146F-AFB5-44B5-B082-2251E47BE94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971775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Оценка риска смерти играет важнейшую роль в алгоритме выбора терапии для пациентов с ЛАГ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«Стабильное» состояние характеризует прошедшее время, тогда как оценка риска позволяет заглянуть в будущее</a:t>
            </a:r>
          </a:p>
          <a:p>
            <a:pPr lvl="0"/>
            <a:r>
              <a:rPr lang="ru-RU" sz="1200" u="sng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На самом деле стабильного пациента с ЛАГ не существует</a:t>
            </a:r>
            <a:r>
              <a:rPr lang="en-US" sz="1200" u="sng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клинической практике у каждого пациента есть свой уникальный фенотип, причина заболевания и сопутствующая патология, которые вносят вклад в необходимость индивидуального ухода. Клиническое решение о терапии ЛАГ должно основываться на частой систематической оценке, чтобы своевременно заподозрить прогрессирование заболевания или клиническое ухудшение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ru-RU" sz="1200" u="sng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Эскалация терапии необходима уже при незначительных изменениях</a:t>
            </a:r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конечном счете, ЛАГ остается смертельной болезнью без лечения. Наша цель снизить риск смерти, предотвратить прогрессирование заболевания и улучшить качество жизни пациентов с ЛАГ. Если мы предположим, что пациент с ФК II стабилен, это будет в ущерб пациенту. </a:t>
            </a:r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05FB26-EEDF-4279-A4C6-ABE7C924347F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983853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hemeOverride" Target="../theme/themeOverride22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hemeOverride" Target="../theme/themeOverride23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hemeOverride" Target="../theme/themeOverride24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hemeOverride" Target="../theme/themeOverride25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hemeOverride" Target="../theme/themeOverride26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hemeOverride" Target="../theme/themeOverride27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hemeOverride" Target="../theme/themeOverride28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hemeOverride" Target="../theme/themeOverride29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hemeOverride" Target="../theme/themeOverride30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hemeOverride" Target="../theme/themeOverride3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hemeOverride" Target="../theme/themeOverride32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hemeOverride" Target="../theme/themeOverride33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hemeOverride" Target="../theme/themeOverride34.xml"/><Relationship Id="rId5" Type="http://schemas.openxmlformats.org/officeDocument/2006/relationships/image" Target="../media/image2.png"/><Relationship Id="rId4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9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9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3.jpeg"/><Relationship Id="rId4" Type="http://schemas.openxmlformats.org/officeDocument/2006/relationships/image" Target="../media/image2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4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7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9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0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5" Type="http://schemas.openxmlformats.org/officeDocument/2006/relationships/image" Target="../media/image3.jpeg"/><Relationship Id="rId4" Type="http://schemas.openxmlformats.org/officeDocument/2006/relationships/image" Target="../media/image2.pn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5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6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7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8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5" Type="http://schemas.openxmlformats.org/officeDocument/2006/relationships/image" Target="../media/image3.jpeg"/><Relationship Id="rId4" Type="http://schemas.openxmlformats.org/officeDocument/2006/relationships/image" Target="../media/image2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1.xml"/><Relationship Id="rId4" Type="http://schemas.openxmlformats.org/officeDocument/2006/relationships/image" Target="../media/image4.emf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87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88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89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90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5" Type="http://schemas.openxmlformats.org/officeDocument/2006/relationships/image" Target="../media/image3.jpeg"/><Relationship Id="rId4" Type="http://schemas.openxmlformats.org/officeDocument/2006/relationships/image" Target="../media/image2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95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21.png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hemeOverride" Target="../theme/themeOverride2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2" Type="http://schemas.openxmlformats.org/officeDocument/2006/relationships/tags" Target="../tags/tag96.xml"/><Relationship Id="rId1" Type="http://schemas.openxmlformats.org/officeDocument/2006/relationships/themeOverride" Target="../theme/themeOverride3.xml"/><Relationship Id="rId5" Type="http://schemas.openxmlformats.org/officeDocument/2006/relationships/image" Target="../media/image2.png"/><Relationship Id="rId4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hemeOverride" Target="../theme/themeOverride4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hemeOverride" Target="../theme/themeOverride5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hemeOverride" Target="../theme/themeOverride6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hemeOverride" Target="../theme/themeOverride7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hemeOverride" Target="../theme/themeOverride8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hemeOverride" Target="../theme/themeOverride9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hemeOverride" Target="../theme/themeOverride10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hemeOverride" Target="../theme/themeOverride11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hemeOverride" Target="../theme/themeOverride12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hemeOverride" Target="../theme/themeOverride1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hemeOverride" Target="../theme/themeOverride14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hemeOverride" Target="../theme/themeOverride15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hemeOverride" Target="../theme/themeOverride16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2" Type="http://schemas.openxmlformats.org/officeDocument/2006/relationships/tags" Target="../tags/tag98.xml"/><Relationship Id="rId1" Type="http://schemas.openxmlformats.org/officeDocument/2006/relationships/themeOverride" Target="../theme/themeOverride17.xml"/><Relationship Id="rId5" Type="http://schemas.openxmlformats.org/officeDocument/2006/relationships/image" Target="../media/image2.png"/><Relationship Id="rId4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01.xml"/><Relationship Id="rId1" Type="http://schemas.openxmlformats.org/officeDocument/2006/relationships/themeOverride" Target="../theme/themeOverride18.xml"/><Relationship Id="rId4" Type="http://schemas.openxmlformats.org/officeDocument/2006/relationships/image" Target="../media/image21.png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hemeOverride" Target="../theme/themeOverride19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2" Type="http://schemas.openxmlformats.org/officeDocument/2006/relationships/tags" Target="../tags/tag102.xml"/><Relationship Id="rId1" Type="http://schemas.openxmlformats.org/officeDocument/2006/relationships/themeOverride" Target="../theme/themeOverride20.xml"/><Relationship Id="rId5" Type="http://schemas.openxmlformats.org/officeDocument/2006/relationships/image" Target="../media/image2.png"/><Relationship Id="rId4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hemeOverride" Target="../theme/themeOverride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442913" y="439573"/>
            <a:ext cx="11306175" cy="901866"/>
          </a:xfrm>
        </p:spPr>
        <p:txBody>
          <a:bodyPr/>
          <a:lstStyle>
            <a:lvl1pPr>
              <a:lnSpc>
                <a:spcPct val="100000"/>
              </a:lnSpc>
              <a:defRPr sz="1800" cap="all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42913" y="1341439"/>
            <a:ext cx="11306175" cy="45831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948940" y="6583680"/>
            <a:ext cx="7164000" cy="144168"/>
          </a:xfrm>
        </p:spPr>
        <p:txBody>
          <a:bodyPr anchor="b" anchorCtr="0"/>
          <a:lstStyle>
            <a:lvl1pPr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insert references…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65794214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845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2354272"/>
      </p:ext>
    </p:extLst>
  </p:cSld>
  <p:clrMapOvr>
    <a:masterClrMapping/>
  </p:clrMapOvr>
  <p:hf hdr="0" ftr="0" dt="0"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36000" y="6405331"/>
            <a:ext cx="432000" cy="288000"/>
          </a:xfrm>
          <a:prstGeom prst="rect">
            <a:avLst/>
          </a:prstGeom>
        </p:spPr>
        <p:txBody>
          <a:bodyPr rtlCol="0"/>
          <a:lstStyle/>
          <a:p>
            <a:pPr defTabSz="1219170" rtl="0"/>
            <a:fld id="{F7045E8D-DC47-4AFA-976F-B987BEC0A896}" type="slidenum">
              <a:rPr lang="en-GB" smtClean="0"/>
              <a:pPr defTabSz="1219170"/>
              <a:t>‹#›</a:t>
            </a:fld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4"/>
          </p:nvPr>
        </p:nvSpPr>
        <p:spPr>
          <a:xfrm>
            <a:off x="865718" y="1176001"/>
            <a:ext cx="8494645" cy="341184"/>
          </a:xfrm>
        </p:spPr>
        <p:txBody>
          <a:bodyPr vert="horz" lIns="0" tIns="0" rIns="0" bIns="0" rtlCol="0" anchor="t" anchorCtr="0">
            <a:spAutoFit/>
          </a:bodyPr>
          <a:lstStyle>
            <a:lvl1pPr>
              <a:defRPr lang="de-CH" sz="2133" dirty="0">
                <a:solidFill>
                  <a:schemeClr val="tx1"/>
                </a:solidFill>
              </a:defRPr>
            </a:lvl1pPr>
          </a:lstStyle>
          <a:p>
            <a:pPr lvl="0" rtl="0">
              <a:lnSpc>
                <a:spcPts val="2880"/>
              </a:lnSpc>
              <a:spcAft>
                <a:spcPts val="0"/>
              </a:spcAft>
            </a:pPr>
            <a:r>
              <a:rPr lang="ru"/>
              <a:t>Click to edit Master subtitle sty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ru"/>
              <a:t>Click to edit Master title style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58BF08BB-F0C2-4245-8367-EA4958E29B0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2188" y="6237288"/>
            <a:ext cx="8368175" cy="484187"/>
          </a:xfrm>
        </p:spPr>
        <p:txBody>
          <a:bodyPr rtlCol="0"/>
          <a:lstStyle>
            <a:lvl1pPr>
              <a:spcAft>
                <a:spcPts val="0"/>
              </a:spcAft>
              <a:defRPr sz="800" cap="none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800">
                <a:solidFill>
                  <a:schemeClr val="tx1"/>
                </a:solidFill>
              </a:defRPr>
            </a:lvl2pPr>
            <a:lvl3pPr>
              <a:defRPr sz="11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 rtl="0"/>
            <a:r>
              <a:rPr lang="ru"/>
              <a:t>Click to edit master text styles</a:t>
            </a:r>
          </a:p>
          <a:p>
            <a:pPr lvl="1" rt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1248450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36000" y="6405331"/>
            <a:ext cx="432000" cy="288000"/>
          </a:xfrm>
          <a:prstGeom prst="rect">
            <a:avLst/>
          </a:prstGeom>
        </p:spPr>
        <p:txBody>
          <a:bodyPr rtlCol="0"/>
          <a:lstStyle/>
          <a:p>
            <a:pPr defTabSz="1219170" rtl="0"/>
            <a:fld id="{93A79D80-1920-4F20-94A7-31A60ECAB552}" type="slidenum">
              <a:rPr lang="en-GB" smtClean="0"/>
              <a:pPr defTabSz="1219170"/>
              <a:t>‹#›</a:t>
            </a:fld>
            <a:endParaRPr lang="en-GB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5"/>
          </p:nvPr>
        </p:nvSpPr>
        <p:spPr>
          <a:xfrm>
            <a:off x="865718" y="1176001"/>
            <a:ext cx="8494645" cy="341184"/>
          </a:xfrm>
        </p:spPr>
        <p:txBody>
          <a:bodyPr vert="horz" lIns="0" tIns="0" rIns="0" bIns="0" rtlCol="0" anchor="t" anchorCtr="0">
            <a:spAutoFit/>
          </a:bodyPr>
          <a:lstStyle>
            <a:lvl1pPr>
              <a:defRPr lang="de-CH" sz="2133" dirty="0">
                <a:solidFill>
                  <a:schemeClr val="tx1"/>
                </a:solidFill>
              </a:defRPr>
            </a:lvl1pPr>
          </a:lstStyle>
          <a:p>
            <a:pPr lvl="0" rtl="0">
              <a:lnSpc>
                <a:spcPts val="2880"/>
              </a:lnSpc>
              <a:spcAft>
                <a:spcPts val="0"/>
              </a:spcAft>
            </a:pPr>
            <a:r>
              <a:rPr lang="ru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square" rtlCol="0"/>
          <a:lstStyle/>
          <a:p>
            <a:pPr rtl="0"/>
            <a:r>
              <a:rPr lang="ru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861485" y="1892300"/>
            <a:ext cx="5040000" cy="4032251"/>
          </a:xfrm>
        </p:spPr>
        <p:txBody>
          <a:bodyPr rtlCol="0"/>
          <a:lstStyle/>
          <a:p>
            <a:pPr lvl="0" rtl="0"/>
            <a:r>
              <a:rPr lang="ru"/>
              <a:t>Click to edit Master text styles</a:t>
            </a:r>
          </a:p>
          <a:p>
            <a:pPr lvl="1" rtl="0"/>
            <a:r>
              <a:rPr lang="ru"/>
              <a:t>Second level</a:t>
            </a:r>
          </a:p>
          <a:p>
            <a:pPr lvl="2" rtl="0"/>
            <a:r>
              <a:rPr lang="ru"/>
              <a:t>Third level</a:t>
            </a:r>
          </a:p>
          <a:p>
            <a:pPr lvl="3" rtl="0"/>
            <a:r>
              <a:rPr lang="ru"/>
              <a:t>Fourth level</a:t>
            </a:r>
          </a:p>
          <a:p>
            <a:pPr lvl="4" rtl="0"/>
            <a:r>
              <a:rPr lang="ru"/>
              <a:t>Fifth level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7"/>
          </p:nvPr>
        </p:nvSpPr>
        <p:spPr>
          <a:xfrm>
            <a:off x="6290517" y="1892300"/>
            <a:ext cx="5040000" cy="4032251"/>
          </a:xfrm>
        </p:spPr>
        <p:txBody>
          <a:bodyPr rtlCol="0"/>
          <a:lstStyle/>
          <a:p>
            <a:pPr lvl="0" rtl="0"/>
            <a:r>
              <a:rPr lang="ru"/>
              <a:t>Click to edit Master text styles</a:t>
            </a:r>
          </a:p>
          <a:p>
            <a:pPr lvl="1" rtl="0"/>
            <a:r>
              <a:rPr lang="ru"/>
              <a:t>Second level</a:t>
            </a:r>
          </a:p>
          <a:p>
            <a:pPr lvl="2" rtl="0"/>
            <a:r>
              <a:rPr lang="ru"/>
              <a:t>Third level</a:t>
            </a:r>
          </a:p>
          <a:p>
            <a:pPr lvl="3" rtl="0"/>
            <a:r>
              <a:rPr lang="ru"/>
              <a:t>Fourth level</a:t>
            </a:r>
          </a:p>
          <a:p>
            <a:pPr lvl="4" rtl="0"/>
            <a:r>
              <a:rPr lang="ru"/>
              <a:t>Fifth level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4E5DD394-3821-4E30-905C-4C4E7F1450D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92188" y="6237288"/>
            <a:ext cx="8368175" cy="484187"/>
          </a:xfrm>
        </p:spPr>
        <p:txBody>
          <a:bodyPr rtlCol="0"/>
          <a:lstStyle>
            <a:lvl1pPr>
              <a:spcAft>
                <a:spcPts val="0"/>
              </a:spcAft>
              <a:defRPr sz="800" cap="none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800">
                <a:solidFill>
                  <a:schemeClr val="tx1"/>
                </a:solidFill>
              </a:defRPr>
            </a:lvl2pPr>
            <a:lvl3pPr>
              <a:defRPr sz="11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 rtl="0"/>
            <a:r>
              <a:rPr lang="ru"/>
              <a:t>Click to edit master text styles</a:t>
            </a:r>
          </a:p>
          <a:p>
            <a:pPr lvl="1" rt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143855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 with Bullets" preserve="1" userDrawn="1">
  <p:cSld name="Two 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61485" y="1892300"/>
            <a:ext cx="5040000" cy="4032251"/>
          </a:xfrm>
        </p:spPr>
        <p:txBody>
          <a:bodyPr rtlCol="0"/>
          <a:lstStyle>
            <a:lvl1pPr marL="239994" indent="-239994">
              <a:spcAft>
                <a:spcPts val="1067"/>
              </a:spcAft>
              <a:buFont typeface="Wingdings" panose="05000000000000000000" pitchFamily="2" charset="2"/>
              <a:buChar char="§"/>
              <a:defRPr cap="none" baseline="0">
                <a:solidFill>
                  <a:srgbClr val="0F1539"/>
                </a:solidFill>
              </a:defRPr>
            </a:lvl1pPr>
            <a:lvl2pPr marL="479988" indent="-239994">
              <a:buFont typeface="Symbol" panose="05050102010706020507" pitchFamily="18" charset="2"/>
              <a:buChar char="-"/>
              <a:defRPr/>
            </a:lvl2pPr>
            <a:lvl3pPr marL="719982" indent="-241294">
              <a:buFont typeface="Arial" panose="020B0604020202020204" pitchFamily="34" charset="0"/>
              <a:buChar char="&gt;"/>
              <a:defRPr/>
            </a:lvl3pPr>
            <a:lvl4pPr marL="959976" indent="-241294">
              <a:buFont typeface="Arial" panose="020B0604020202020204" pitchFamily="34" charset="0"/>
              <a:buChar char="&gt;"/>
              <a:defRPr/>
            </a:lvl4pPr>
            <a:lvl5pPr marL="1199970">
              <a:defRPr/>
            </a:lvl5pPr>
          </a:lstStyle>
          <a:p>
            <a:pPr lvl="0" rtl="0"/>
            <a:r>
              <a:rPr lang="ru"/>
              <a:t>Click to edit Master text styles</a:t>
            </a:r>
          </a:p>
          <a:p>
            <a:pPr lvl="1" rtl="0"/>
            <a:r>
              <a:rPr lang="ru"/>
              <a:t>Second level</a:t>
            </a:r>
          </a:p>
          <a:p>
            <a:pPr lvl="2" rtl="0"/>
            <a:r>
              <a:rPr lang="ru"/>
              <a:t>Third level</a:t>
            </a:r>
          </a:p>
          <a:p>
            <a:pPr lvl="3" rtl="0"/>
            <a:r>
              <a:rPr lang="ru"/>
              <a:t>Fourth level</a:t>
            </a:r>
          </a:p>
          <a:p>
            <a:pPr lvl="4" rtl="0"/>
            <a:r>
              <a:rPr lang="ru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36000" y="6405331"/>
            <a:ext cx="432000" cy="288000"/>
          </a:xfrm>
          <a:prstGeom prst="rect">
            <a:avLst/>
          </a:prstGeom>
        </p:spPr>
        <p:txBody>
          <a:bodyPr rtlCol="0"/>
          <a:lstStyle/>
          <a:p>
            <a:pPr defTabSz="1219170" rtl="0"/>
            <a:fld id="{6D0CDCFD-0795-447F-891D-847A46D0A5E2}" type="slidenum">
              <a:rPr lang="en-GB" smtClean="0"/>
              <a:pPr defTabSz="1219170"/>
              <a:t>‹#›</a:t>
            </a:fld>
            <a:endParaRPr lang="en-GB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290517" y="1892300"/>
            <a:ext cx="5040000" cy="4032251"/>
          </a:xfrm>
        </p:spPr>
        <p:txBody>
          <a:bodyPr rtlCol="0"/>
          <a:lstStyle>
            <a:lvl1pPr marL="239994" indent="-239994">
              <a:spcAft>
                <a:spcPts val="1067"/>
              </a:spcAft>
              <a:buFont typeface="Wingdings" panose="05000000000000000000" pitchFamily="2" charset="2"/>
              <a:buChar char="§"/>
              <a:defRPr cap="none" baseline="0">
                <a:solidFill>
                  <a:srgbClr val="0F1539"/>
                </a:solidFill>
              </a:defRPr>
            </a:lvl1pPr>
            <a:lvl2pPr marL="479988" indent="-239994">
              <a:buFont typeface="Symbol" panose="05050102010706020507" pitchFamily="18" charset="2"/>
              <a:buChar char="-"/>
              <a:defRPr/>
            </a:lvl2pPr>
            <a:lvl3pPr marL="719982" indent="-241294">
              <a:buFont typeface="Arial" panose="020B0604020202020204" pitchFamily="34" charset="0"/>
              <a:buChar char="&gt;"/>
              <a:defRPr/>
            </a:lvl3pPr>
            <a:lvl4pPr marL="959976" indent="-241294">
              <a:buFont typeface="Arial" panose="020B0604020202020204" pitchFamily="34" charset="0"/>
              <a:buChar char="&gt;"/>
              <a:defRPr/>
            </a:lvl4pPr>
            <a:lvl5pPr marL="1199970">
              <a:defRPr/>
            </a:lvl5pPr>
          </a:lstStyle>
          <a:p>
            <a:pPr lvl="0" rtl="0"/>
            <a:r>
              <a:rPr lang="ru"/>
              <a:t>Click to edit Master text styles</a:t>
            </a:r>
          </a:p>
          <a:p>
            <a:pPr lvl="1" rtl="0"/>
            <a:r>
              <a:rPr lang="ru"/>
              <a:t>Second level</a:t>
            </a:r>
          </a:p>
          <a:p>
            <a:pPr lvl="2" rtl="0"/>
            <a:r>
              <a:rPr lang="ru"/>
              <a:t>Third level</a:t>
            </a:r>
          </a:p>
          <a:p>
            <a:pPr lvl="3" rtl="0"/>
            <a:r>
              <a:rPr lang="ru"/>
              <a:t>Fourth level</a:t>
            </a:r>
          </a:p>
          <a:p>
            <a:pPr lvl="4" rtl="0"/>
            <a:r>
              <a:rPr lang="ru"/>
              <a:t>Fifth level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5"/>
          </p:nvPr>
        </p:nvSpPr>
        <p:spPr>
          <a:xfrm>
            <a:off x="865718" y="1176001"/>
            <a:ext cx="8494645" cy="341184"/>
          </a:xfrm>
        </p:spPr>
        <p:txBody>
          <a:bodyPr vert="horz" lIns="0" tIns="0" rIns="0" bIns="0" rtlCol="0" anchor="t" anchorCtr="0">
            <a:spAutoFit/>
          </a:bodyPr>
          <a:lstStyle>
            <a:lvl1pPr>
              <a:defRPr lang="de-CH" sz="2133" dirty="0">
                <a:solidFill>
                  <a:schemeClr val="tx1"/>
                </a:solidFill>
              </a:defRPr>
            </a:lvl1pPr>
          </a:lstStyle>
          <a:p>
            <a:pPr lvl="0" rtl="0">
              <a:lnSpc>
                <a:spcPts val="2880"/>
              </a:lnSpc>
              <a:spcAft>
                <a:spcPts val="0"/>
              </a:spcAft>
            </a:pPr>
            <a:r>
              <a:rPr lang="ru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ru"/>
              <a:t>Click to edit Master title style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C7940AE5-C280-4309-A819-9196B57933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2188" y="6237288"/>
            <a:ext cx="8368175" cy="484187"/>
          </a:xfrm>
        </p:spPr>
        <p:txBody>
          <a:bodyPr rtlCol="0"/>
          <a:lstStyle>
            <a:lvl1pPr>
              <a:spcAft>
                <a:spcPts val="0"/>
              </a:spcAft>
              <a:defRPr sz="800" cap="none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800">
                <a:solidFill>
                  <a:schemeClr val="tx1"/>
                </a:solidFill>
              </a:defRPr>
            </a:lvl2pPr>
            <a:lvl3pPr>
              <a:defRPr sz="11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 rtl="0"/>
            <a:r>
              <a:rPr lang="ru"/>
              <a:t>Click to edit master text styles</a:t>
            </a:r>
          </a:p>
          <a:p>
            <a:pPr lvl="1" rt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4662860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and Content" preserve="1" userDrawn="1">
  <p:cSld name="Imag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36000" y="6405331"/>
            <a:ext cx="432000" cy="288000"/>
          </a:xfrm>
          <a:prstGeom prst="rect">
            <a:avLst/>
          </a:prstGeom>
        </p:spPr>
        <p:txBody>
          <a:bodyPr rtlCol="0"/>
          <a:lstStyle/>
          <a:p>
            <a:pPr defTabSz="1219170" rtl="0"/>
            <a:fld id="{27A1ECFA-4906-4BB2-BB04-A46B55CCDA7B}" type="slidenum">
              <a:rPr lang="en-GB" smtClean="0"/>
              <a:pPr defTabSz="1219170"/>
              <a:t>‹#›</a:t>
            </a:fld>
            <a:endParaRPr lang="en-GB" dirty="0"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5"/>
          </p:nvPr>
        </p:nvSpPr>
        <p:spPr>
          <a:xfrm>
            <a:off x="861485" y="1892300"/>
            <a:ext cx="5040000" cy="4032251"/>
          </a:xfrm>
        </p:spPr>
        <p:txBody>
          <a:bodyPr tIns="540000" rtlCol="0" anchor="ctr"/>
          <a:lstStyle>
            <a:lvl1pPr algn="ctr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 rtl="0"/>
            <a:r>
              <a:rPr lang="ru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6"/>
          </p:nvPr>
        </p:nvSpPr>
        <p:spPr>
          <a:xfrm>
            <a:off x="865718" y="1176001"/>
            <a:ext cx="8494645" cy="341184"/>
          </a:xfrm>
        </p:spPr>
        <p:txBody>
          <a:bodyPr vert="horz" lIns="0" tIns="0" rIns="0" bIns="0" rtlCol="0" anchor="t" anchorCtr="0">
            <a:spAutoFit/>
          </a:bodyPr>
          <a:lstStyle>
            <a:lvl1pPr>
              <a:defRPr lang="de-CH" sz="2133" dirty="0">
                <a:solidFill>
                  <a:schemeClr val="tx1"/>
                </a:solidFill>
              </a:defRPr>
            </a:lvl1pPr>
          </a:lstStyle>
          <a:p>
            <a:pPr lvl="0" rtl="0">
              <a:lnSpc>
                <a:spcPts val="2880"/>
              </a:lnSpc>
              <a:spcAft>
                <a:spcPts val="0"/>
              </a:spcAft>
            </a:pPr>
            <a:r>
              <a:rPr lang="ru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ru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/>
          </p:nvPr>
        </p:nvSpPr>
        <p:spPr>
          <a:xfrm>
            <a:off x="6290516" y="1892300"/>
            <a:ext cx="5040000" cy="4032251"/>
          </a:xfrm>
        </p:spPr>
        <p:txBody>
          <a:bodyPr rtlCol="0"/>
          <a:lstStyle/>
          <a:p>
            <a:pPr lvl="0" rtl="0"/>
            <a:r>
              <a:rPr lang="ru"/>
              <a:t>Click to edit Master text styles</a:t>
            </a:r>
          </a:p>
          <a:p>
            <a:pPr lvl="1" rtl="0"/>
            <a:r>
              <a:rPr lang="ru"/>
              <a:t>Second level</a:t>
            </a:r>
          </a:p>
          <a:p>
            <a:pPr lvl="2" rtl="0"/>
            <a:r>
              <a:rPr lang="ru"/>
              <a:t>Third level</a:t>
            </a:r>
          </a:p>
          <a:p>
            <a:pPr lvl="3" rtl="0"/>
            <a:r>
              <a:rPr lang="ru"/>
              <a:t>Fourth level</a:t>
            </a:r>
          </a:p>
          <a:p>
            <a:pPr lvl="4" rtl="0"/>
            <a:r>
              <a:rPr lang="ru"/>
              <a:t>Fifth level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0534A0C4-ACDB-465C-8CF2-4661BE7B9E3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92188" y="6237288"/>
            <a:ext cx="8368175" cy="484187"/>
          </a:xfrm>
        </p:spPr>
        <p:txBody>
          <a:bodyPr rtlCol="0"/>
          <a:lstStyle>
            <a:lvl1pPr>
              <a:defRPr sz="800" cap="none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11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 rtl="0"/>
            <a:r>
              <a:rPr lang="ru"/>
              <a:t>Click to edit master text styles</a:t>
            </a:r>
          </a:p>
          <a:p>
            <a:pPr lvl="1" rt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9794708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and Image" preserve="1" userDrawn="1">
  <p:cSld name="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36000" y="6405331"/>
            <a:ext cx="432000" cy="288000"/>
          </a:xfrm>
          <a:prstGeom prst="rect">
            <a:avLst/>
          </a:prstGeom>
        </p:spPr>
        <p:txBody>
          <a:bodyPr rtlCol="0"/>
          <a:lstStyle/>
          <a:p>
            <a:pPr defTabSz="1219170" rtl="0"/>
            <a:fld id="{05442885-3F8E-4B2D-B1F4-8FD810EE8498}" type="slidenum">
              <a:rPr lang="en-GB" smtClean="0"/>
              <a:pPr defTabSz="1219170"/>
              <a:t>‹#›</a:t>
            </a:fld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290517" y="1892300"/>
            <a:ext cx="5040000" cy="4032251"/>
          </a:xfrm>
        </p:spPr>
        <p:txBody>
          <a:bodyPr tIns="540000" rtlCol="0" anchor="ctr"/>
          <a:lstStyle>
            <a:lvl1pPr algn="ctr">
              <a:defRPr/>
            </a:lvl1pPr>
          </a:lstStyle>
          <a:p>
            <a:pPr rtl="0"/>
            <a:r>
              <a:rPr lang="ru"/>
              <a:t>Click icon to add pictur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6"/>
          </p:nvPr>
        </p:nvSpPr>
        <p:spPr>
          <a:xfrm>
            <a:off x="865718" y="1176001"/>
            <a:ext cx="8494645" cy="341184"/>
          </a:xfrm>
        </p:spPr>
        <p:txBody>
          <a:bodyPr vert="horz" lIns="0" tIns="0" rIns="0" bIns="0" rtlCol="0" anchor="t" anchorCtr="0">
            <a:spAutoFit/>
          </a:bodyPr>
          <a:lstStyle>
            <a:lvl1pPr>
              <a:defRPr lang="de-CH" sz="2133" dirty="0">
                <a:solidFill>
                  <a:schemeClr val="tx1"/>
                </a:solidFill>
              </a:defRPr>
            </a:lvl1pPr>
          </a:lstStyle>
          <a:p>
            <a:pPr lvl="0" rtl="0">
              <a:lnSpc>
                <a:spcPts val="2880"/>
              </a:lnSpc>
              <a:spcAft>
                <a:spcPts val="0"/>
              </a:spcAft>
            </a:pPr>
            <a:r>
              <a:rPr lang="ru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ru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/>
          </p:nvPr>
        </p:nvSpPr>
        <p:spPr>
          <a:xfrm>
            <a:off x="863999" y="1892299"/>
            <a:ext cx="5039979" cy="4033300"/>
          </a:xfrm>
        </p:spPr>
        <p:txBody>
          <a:bodyPr rtlCol="0"/>
          <a:lstStyle/>
          <a:p>
            <a:pPr lvl="0" rtl="0"/>
            <a:r>
              <a:rPr lang="ru"/>
              <a:t>Click to edit Master text styles</a:t>
            </a:r>
          </a:p>
          <a:p>
            <a:pPr lvl="1" rtl="0"/>
            <a:r>
              <a:rPr lang="ru"/>
              <a:t>Second level</a:t>
            </a:r>
          </a:p>
          <a:p>
            <a:pPr lvl="2" rtl="0"/>
            <a:r>
              <a:rPr lang="ru"/>
              <a:t>Third level</a:t>
            </a:r>
          </a:p>
          <a:p>
            <a:pPr lvl="3" rtl="0"/>
            <a:r>
              <a:rPr lang="ru"/>
              <a:t>Fourth level</a:t>
            </a:r>
          </a:p>
          <a:p>
            <a:pPr lvl="4" rtl="0"/>
            <a:r>
              <a:rPr lang="ru"/>
              <a:t>Fifth level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1183666A-7D27-4483-8C45-F56F33B27D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92188" y="6237288"/>
            <a:ext cx="8368175" cy="484187"/>
          </a:xfrm>
        </p:spPr>
        <p:txBody>
          <a:bodyPr rtlCol="0"/>
          <a:lstStyle>
            <a:lvl1pPr>
              <a:defRPr sz="800" cap="none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11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 rtl="0"/>
            <a:r>
              <a:rPr lang="ru"/>
              <a:t>Click to edit master text styles</a:t>
            </a:r>
          </a:p>
          <a:p>
            <a:pPr lvl="1" rt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937320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 vertical" preserve="1" userDrawn="1">
  <p:cSld name="Two Content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36000" y="6405331"/>
            <a:ext cx="432000" cy="288000"/>
          </a:xfrm>
          <a:prstGeom prst="rect">
            <a:avLst/>
          </a:prstGeom>
        </p:spPr>
        <p:txBody>
          <a:bodyPr rtlCol="0"/>
          <a:lstStyle/>
          <a:p>
            <a:pPr defTabSz="1219170" rtl="0"/>
            <a:fld id="{5D85BAF7-D6A6-4B9E-B660-5FCB266C98D9}" type="slidenum">
              <a:rPr lang="en-GB" smtClean="0"/>
              <a:pPr defTabSz="1219170"/>
              <a:t>‹#›</a:t>
            </a:fld>
            <a:endParaRPr lang="en-GB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6"/>
          </p:nvPr>
        </p:nvSpPr>
        <p:spPr>
          <a:xfrm>
            <a:off x="865718" y="1176001"/>
            <a:ext cx="8494645" cy="341184"/>
          </a:xfrm>
        </p:spPr>
        <p:txBody>
          <a:bodyPr vert="horz" lIns="0" tIns="0" rIns="0" bIns="0" rtlCol="0" anchor="t" anchorCtr="0">
            <a:spAutoFit/>
          </a:bodyPr>
          <a:lstStyle>
            <a:lvl1pPr>
              <a:defRPr lang="de-CH" sz="2133" dirty="0">
                <a:solidFill>
                  <a:schemeClr val="tx1"/>
                </a:solidFill>
              </a:defRPr>
            </a:lvl1pPr>
          </a:lstStyle>
          <a:p>
            <a:pPr lvl="0" rtl="0">
              <a:lnSpc>
                <a:spcPts val="2880"/>
              </a:lnSpc>
              <a:spcAft>
                <a:spcPts val="0"/>
              </a:spcAft>
            </a:pPr>
            <a:r>
              <a:rPr lang="ru"/>
              <a:t>Click to edit Master subtitle sty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ru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7"/>
          </p:nvPr>
        </p:nvSpPr>
        <p:spPr>
          <a:xfrm>
            <a:off x="864000" y="1892297"/>
            <a:ext cx="10464000" cy="1824000"/>
          </a:xfrm>
        </p:spPr>
        <p:txBody>
          <a:bodyPr rtlCol="0"/>
          <a:lstStyle/>
          <a:p>
            <a:pPr lvl="0" rtl="0"/>
            <a:r>
              <a:rPr lang="ru"/>
              <a:t>Click to edit Master text styles</a:t>
            </a:r>
          </a:p>
          <a:p>
            <a:pPr lvl="1" rtl="0"/>
            <a:r>
              <a:rPr lang="ru"/>
              <a:t>Second level</a:t>
            </a:r>
          </a:p>
          <a:p>
            <a:pPr lvl="2" rtl="0"/>
            <a:r>
              <a:rPr lang="ru"/>
              <a:t>Third level</a:t>
            </a:r>
          </a:p>
          <a:p>
            <a:pPr lvl="3" rtl="0"/>
            <a:r>
              <a:rPr lang="ru"/>
              <a:t>Fourth level</a:t>
            </a:r>
          </a:p>
          <a:p>
            <a:pPr lvl="4" rtl="0"/>
            <a:r>
              <a:rPr lang="ru"/>
              <a:t>Fifth level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8"/>
          </p:nvPr>
        </p:nvSpPr>
        <p:spPr>
          <a:xfrm>
            <a:off x="864000" y="4095331"/>
            <a:ext cx="10464000" cy="1824000"/>
          </a:xfrm>
        </p:spPr>
        <p:txBody>
          <a:bodyPr rtlCol="0"/>
          <a:lstStyle/>
          <a:p>
            <a:pPr lvl="0" rtl="0"/>
            <a:r>
              <a:rPr lang="ru"/>
              <a:t>Click to edit Master text styles</a:t>
            </a:r>
          </a:p>
          <a:p>
            <a:pPr lvl="1" rtl="0"/>
            <a:r>
              <a:rPr lang="ru"/>
              <a:t>Second level</a:t>
            </a:r>
          </a:p>
          <a:p>
            <a:pPr lvl="2" rtl="0"/>
            <a:r>
              <a:rPr lang="ru"/>
              <a:t>Third level</a:t>
            </a:r>
          </a:p>
          <a:p>
            <a:pPr lvl="3" rtl="0"/>
            <a:r>
              <a:rPr lang="ru"/>
              <a:t>Fourth level</a:t>
            </a:r>
          </a:p>
          <a:p>
            <a:pPr lvl="4" rtl="0"/>
            <a:r>
              <a:rPr lang="ru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3149563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ntent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36000" y="6405331"/>
            <a:ext cx="432000" cy="288000"/>
          </a:xfrm>
          <a:prstGeom prst="rect">
            <a:avLst/>
          </a:prstGeom>
        </p:spPr>
        <p:txBody>
          <a:bodyPr rtlCol="0"/>
          <a:lstStyle/>
          <a:p>
            <a:pPr defTabSz="1219170" rtl="0"/>
            <a:fld id="{55ACC8A9-FB5A-46EF-835B-E48262E42C12}" type="slidenum">
              <a:rPr lang="en-GB" smtClean="0"/>
              <a:pPr defTabSz="1219170"/>
              <a:t>‹#›</a:t>
            </a:fld>
            <a:endParaRPr lang="en-GB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6"/>
          </p:nvPr>
        </p:nvSpPr>
        <p:spPr>
          <a:xfrm>
            <a:off x="865718" y="1176001"/>
            <a:ext cx="8494645" cy="341184"/>
          </a:xfrm>
        </p:spPr>
        <p:txBody>
          <a:bodyPr vert="horz" lIns="0" tIns="0" rIns="0" bIns="0" rtlCol="0" anchor="t" anchorCtr="0">
            <a:spAutoFit/>
          </a:bodyPr>
          <a:lstStyle>
            <a:lvl1pPr>
              <a:defRPr lang="de-CH" sz="2133" dirty="0">
                <a:solidFill>
                  <a:schemeClr val="tx1"/>
                </a:solidFill>
              </a:defRPr>
            </a:lvl1pPr>
          </a:lstStyle>
          <a:p>
            <a:pPr lvl="0" rtl="0">
              <a:lnSpc>
                <a:spcPts val="2880"/>
              </a:lnSpc>
              <a:spcAft>
                <a:spcPts val="0"/>
              </a:spcAft>
            </a:pPr>
            <a:r>
              <a:rPr lang="ru"/>
              <a:t>Click to edit Master subtitle sty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ru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7"/>
          </p:nvPr>
        </p:nvSpPr>
        <p:spPr>
          <a:xfrm>
            <a:off x="863999" y="1892299"/>
            <a:ext cx="3264000" cy="4033300"/>
          </a:xfrm>
        </p:spPr>
        <p:txBody>
          <a:bodyPr rtlCol="0"/>
          <a:lstStyle/>
          <a:p>
            <a:pPr lvl="0" rtl="0"/>
            <a:r>
              <a:rPr lang="ru"/>
              <a:t>Click to edit Master text styles</a:t>
            </a:r>
          </a:p>
          <a:p>
            <a:pPr lvl="1" rtl="0"/>
            <a:r>
              <a:rPr lang="ru"/>
              <a:t>Second level</a:t>
            </a:r>
          </a:p>
          <a:p>
            <a:pPr lvl="2" rtl="0"/>
            <a:r>
              <a:rPr lang="ru"/>
              <a:t>Third level</a:t>
            </a:r>
          </a:p>
          <a:p>
            <a:pPr lvl="3" rtl="0"/>
            <a:r>
              <a:rPr lang="ru"/>
              <a:t>Fourth level</a:t>
            </a:r>
          </a:p>
          <a:p>
            <a:pPr lvl="4" rtl="0"/>
            <a:r>
              <a:rPr lang="ru"/>
              <a:t>Fifth level</a:t>
            </a:r>
          </a:p>
        </p:txBody>
      </p:sp>
      <p:sp>
        <p:nvSpPr>
          <p:cNvPr id="12" name="Content Placeholder 7"/>
          <p:cNvSpPr>
            <a:spLocks noGrp="1"/>
          </p:cNvSpPr>
          <p:nvPr>
            <p:ph sz="quarter" idx="18"/>
          </p:nvPr>
        </p:nvSpPr>
        <p:spPr>
          <a:xfrm>
            <a:off x="4465259" y="1892299"/>
            <a:ext cx="3264000" cy="4033300"/>
          </a:xfrm>
        </p:spPr>
        <p:txBody>
          <a:bodyPr rtlCol="0"/>
          <a:lstStyle/>
          <a:p>
            <a:pPr lvl="0" rtl="0"/>
            <a:r>
              <a:rPr lang="ru"/>
              <a:t>Click to edit Master text styles</a:t>
            </a:r>
          </a:p>
          <a:p>
            <a:pPr lvl="1" rtl="0"/>
            <a:r>
              <a:rPr lang="ru"/>
              <a:t>Second level</a:t>
            </a:r>
          </a:p>
          <a:p>
            <a:pPr lvl="2" rtl="0"/>
            <a:r>
              <a:rPr lang="ru"/>
              <a:t>Third level</a:t>
            </a:r>
          </a:p>
          <a:p>
            <a:pPr lvl="3" rtl="0"/>
            <a:r>
              <a:rPr lang="ru"/>
              <a:t>Fourth level</a:t>
            </a:r>
          </a:p>
          <a:p>
            <a:pPr lvl="4" rtl="0"/>
            <a:r>
              <a:rPr lang="ru"/>
              <a:t>Fifth level</a:t>
            </a:r>
          </a:p>
        </p:txBody>
      </p:sp>
      <p:sp>
        <p:nvSpPr>
          <p:cNvPr id="13" name="Content Placeholder 7"/>
          <p:cNvSpPr>
            <a:spLocks noGrp="1"/>
          </p:cNvSpPr>
          <p:nvPr>
            <p:ph sz="quarter" idx="19"/>
          </p:nvPr>
        </p:nvSpPr>
        <p:spPr>
          <a:xfrm>
            <a:off x="8066517" y="1892299"/>
            <a:ext cx="3264000" cy="4033300"/>
          </a:xfrm>
        </p:spPr>
        <p:txBody>
          <a:bodyPr rtlCol="0"/>
          <a:lstStyle/>
          <a:p>
            <a:pPr lvl="0" rtl="0"/>
            <a:r>
              <a:rPr lang="ru"/>
              <a:t>Click to edit Master text styles</a:t>
            </a:r>
          </a:p>
          <a:p>
            <a:pPr lvl="1" rtl="0"/>
            <a:r>
              <a:rPr lang="ru"/>
              <a:t>Second level</a:t>
            </a:r>
          </a:p>
          <a:p>
            <a:pPr lvl="2" rtl="0"/>
            <a:r>
              <a:rPr lang="ru"/>
              <a:t>Third level</a:t>
            </a:r>
          </a:p>
          <a:p>
            <a:pPr lvl="3" rtl="0"/>
            <a:r>
              <a:rPr lang="ru"/>
              <a:t>Fourth level</a:t>
            </a:r>
          </a:p>
          <a:p>
            <a:pPr lvl="4" rtl="0"/>
            <a:r>
              <a:rPr lang="ru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79454944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ntent with Image" preserve="1" userDrawn="1">
  <p:cSld name="Three 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64000" y="3621338"/>
            <a:ext cx="3264000" cy="2313999"/>
          </a:xfrm>
        </p:spPr>
        <p:txBody>
          <a:bodyPr rtlCol="0"/>
          <a:lstStyle>
            <a:lvl1pPr>
              <a:lnSpc>
                <a:spcPts val="2133"/>
              </a:lnSpc>
              <a:defRPr b="0" cap="none" spc="-27" baseline="0">
                <a:solidFill>
                  <a:schemeClr val="tx1"/>
                </a:solidFill>
              </a:defRPr>
            </a:lvl1pPr>
            <a:lvl2pPr>
              <a:lnSpc>
                <a:spcPts val="2133"/>
              </a:lnSpc>
              <a:defRPr b="0" spc="-27"/>
            </a:lvl2pPr>
            <a:lvl3pPr>
              <a:lnSpc>
                <a:spcPts val="2133"/>
              </a:lnSpc>
              <a:defRPr b="0" spc="-27"/>
            </a:lvl3pPr>
            <a:lvl4pPr>
              <a:lnSpc>
                <a:spcPts val="2133"/>
              </a:lnSpc>
              <a:defRPr b="0" spc="-27"/>
            </a:lvl4pPr>
            <a:lvl5pPr>
              <a:lnSpc>
                <a:spcPts val="2133"/>
              </a:lnSpc>
              <a:defRPr b="0" spc="-27"/>
            </a:lvl5pPr>
          </a:lstStyle>
          <a:p>
            <a:pPr lvl="0" rtl="0"/>
            <a:r>
              <a:rPr lang="ru"/>
              <a:t>Click to edit Master text styles</a:t>
            </a:r>
          </a:p>
          <a:p>
            <a:pPr lvl="1" rtl="0"/>
            <a:r>
              <a:rPr lang="ru"/>
              <a:t>Second level</a:t>
            </a:r>
          </a:p>
          <a:p>
            <a:pPr lvl="2" rtl="0"/>
            <a:r>
              <a:rPr lang="ru"/>
              <a:t>Third level</a:t>
            </a:r>
          </a:p>
          <a:p>
            <a:pPr lvl="3" rtl="0"/>
            <a:r>
              <a:rPr lang="ru"/>
              <a:t>Fourth level</a:t>
            </a:r>
          </a:p>
          <a:p>
            <a:pPr lvl="4" rtl="0"/>
            <a:r>
              <a:rPr lang="ru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36000" y="6405331"/>
            <a:ext cx="432000" cy="288000"/>
          </a:xfrm>
          <a:prstGeom prst="rect">
            <a:avLst/>
          </a:prstGeom>
        </p:spPr>
        <p:txBody>
          <a:bodyPr rtlCol="0"/>
          <a:lstStyle/>
          <a:p>
            <a:pPr defTabSz="1219170" rtl="0"/>
            <a:fld id="{82A320EF-1687-45CB-AAFF-B03457D2C13B}" type="slidenum">
              <a:rPr lang="en-GB" smtClean="0"/>
              <a:pPr defTabSz="1219170"/>
              <a:t>‹#›</a:t>
            </a:fld>
            <a:endParaRPr lang="en-GB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4465259" y="3621022"/>
            <a:ext cx="3264000" cy="2303529"/>
          </a:xfrm>
        </p:spPr>
        <p:txBody>
          <a:bodyPr rtlCol="0"/>
          <a:lstStyle>
            <a:lvl1pPr>
              <a:lnSpc>
                <a:spcPts val="2133"/>
              </a:lnSpc>
              <a:defRPr b="0" cap="none" spc="-27" baseline="0">
                <a:solidFill>
                  <a:schemeClr val="tx1"/>
                </a:solidFill>
              </a:defRPr>
            </a:lvl1pPr>
            <a:lvl2pPr>
              <a:lnSpc>
                <a:spcPts val="2133"/>
              </a:lnSpc>
              <a:defRPr b="0" spc="-27"/>
            </a:lvl2pPr>
            <a:lvl3pPr>
              <a:lnSpc>
                <a:spcPts val="2133"/>
              </a:lnSpc>
              <a:defRPr b="0" spc="-27"/>
            </a:lvl3pPr>
            <a:lvl4pPr>
              <a:lnSpc>
                <a:spcPts val="2133"/>
              </a:lnSpc>
              <a:defRPr b="0" spc="-27"/>
            </a:lvl4pPr>
            <a:lvl5pPr>
              <a:lnSpc>
                <a:spcPts val="2133"/>
              </a:lnSpc>
              <a:defRPr b="0" spc="-27"/>
            </a:lvl5pPr>
          </a:lstStyle>
          <a:p>
            <a:pPr lvl="0" rtl="0"/>
            <a:r>
              <a:rPr lang="ru"/>
              <a:t>Click to edit Master text styles</a:t>
            </a:r>
          </a:p>
          <a:p>
            <a:pPr lvl="1" rtl="0"/>
            <a:r>
              <a:rPr lang="ru"/>
              <a:t>Second level</a:t>
            </a:r>
          </a:p>
          <a:p>
            <a:pPr lvl="2" rtl="0"/>
            <a:r>
              <a:rPr lang="ru"/>
              <a:t>Third level</a:t>
            </a:r>
          </a:p>
          <a:p>
            <a:pPr lvl="3" rtl="0"/>
            <a:r>
              <a:rPr lang="ru"/>
              <a:t>Fourth level</a:t>
            </a:r>
          </a:p>
          <a:p>
            <a:pPr lvl="4" rtl="0"/>
            <a:r>
              <a:rPr lang="ru"/>
              <a:t>Fifth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5"/>
          </p:nvPr>
        </p:nvSpPr>
        <p:spPr>
          <a:xfrm>
            <a:off x="8066517" y="3621022"/>
            <a:ext cx="3264000" cy="2303529"/>
          </a:xfrm>
        </p:spPr>
        <p:txBody>
          <a:bodyPr rtlCol="0"/>
          <a:lstStyle>
            <a:lvl1pPr>
              <a:lnSpc>
                <a:spcPts val="2133"/>
              </a:lnSpc>
              <a:defRPr b="0" cap="none" spc="-27" baseline="0">
                <a:solidFill>
                  <a:schemeClr val="tx1"/>
                </a:solidFill>
              </a:defRPr>
            </a:lvl1pPr>
            <a:lvl2pPr>
              <a:lnSpc>
                <a:spcPts val="2133"/>
              </a:lnSpc>
              <a:defRPr b="0" spc="-27"/>
            </a:lvl2pPr>
            <a:lvl3pPr>
              <a:lnSpc>
                <a:spcPts val="2133"/>
              </a:lnSpc>
              <a:defRPr b="0" spc="-27"/>
            </a:lvl3pPr>
            <a:lvl4pPr>
              <a:lnSpc>
                <a:spcPts val="2133"/>
              </a:lnSpc>
              <a:defRPr b="0" spc="-27"/>
            </a:lvl4pPr>
            <a:lvl5pPr>
              <a:lnSpc>
                <a:spcPts val="2133"/>
              </a:lnSpc>
              <a:defRPr b="0" spc="-27"/>
            </a:lvl5pPr>
          </a:lstStyle>
          <a:p>
            <a:pPr lvl="0" rtl="0"/>
            <a:r>
              <a:rPr lang="ru"/>
              <a:t>Click to edit Master text styles</a:t>
            </a:r>
          </a:p>
          <a:p>
            <a:pPr lvl="1" rtl="0"/>
            <a:r>
              <a:rPr lang="ru"/>
              <a:t>Second level</a:t>
            </a:r>
          </a:p>
          <a:p>
            <a:pPr lvl="2" rtl="0"/>
            <a:r>
              <a:rPr lang="ru"/>
              <a:t>Third level</a:t>
            </a:r>
          </a:p>
          <a:p>
            <a:pPr lvl="3" rtl="0"/>
            <a:r>
              <a:rPr lang="ru"/>
              <a:t>Fourth level</a:t>
            </a:r>
          </a:p>
          <a:p>
            <a:pPr lvl="4" rtl="0"/>
            <a:r>
              <a:rPr lang="ru"/>
              <a:t>Fifth level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864000" y="1892300"/>
            <a:ext cx="3264000" cy="484525"/>
          </a:xfrm>
        </p:spPr>
        <p:txBody>
          <a:bodyPr rtlCol="0"/>
          <a:lstStyle>
            <a:lvl1pPr>
              <a:lnSpc>
                <a:spcPts val="2240"/>
              </a:lnSpc>
              <a:spcAft>
                <a:spcPts val="0"/>
              </a:spcAft>
              <a:defRPr sz="1867">
                <a:solidFill>
                  <a:schemeClr val="tx2"/>
                </a:solidFill>
              </a:defRPr>
            </a:lvl1pPr>
          </a:lstStyle>
          <a:p>
            <a:pPr lvl="0" rtl="0"/>
            <a:r>
              <a:rPr lang="ru"/>
              <a:t>Click to edit Master text styles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465259" y="1892300"/>
            <a:ext cx="3264000" cy="484525"/>
          </a:xfrm>
        </p:spPr>
        <p:txBody>
          <a:bodyPr rtlCol="0"/>
          <a:lstStyle>
            <a:lvl1pPr>
              <a:lnSpc>
                <a:spcPts val="2240"/>
              </a:lnSpc>
              <a:spcAft>
                <a:spcPts val="0"/>
              </a:spcAft>
              <a:defRPr sz="1867">
                <a:solidFill>
                  <a:schemeClr val="tx2"/>
                </a:solidFill>
              </a:defRPr>
            </a:lvl1pPr>
          </a:lstStyle>
          <a:p>
            <a:pPr lvl="0" rtl="0"/>
            <a:r>
              <a:rPr lang="ru"/>
              <a:t>Click to edit Master text styles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8066517" y="1892300"/>
            <a:ext cx="3264000" cy="484525"/>
          </a:xfrm>
        </p:spPr>
        <p:txBody>
          <a:bodyPr rtlCol="0"/>
          <a:lstStyle>
            <a:lvl1pPr>
              <a:lnSpc>
                <a:spcPts val="2240"/>
              </a:lnSpc>
              <a:spcAft>
                <a:spcPts val="0"/>
              </a:spcAft>
              <a:defRPr sz="1867">
                <a:solidFill>
                  <a:schemeClr val="tx2"/>
                </a:solidFill>
              </a:defRPr>
            </a:lvl1pPr>
          </a:lstStyle>
          <a:p>
            <a:pPr lvl="0" rtl="0"/>
            <a:r>
              <a:rPr lang="ru"/>
              <a:t>Click to edit Master text styles</a:t>
            </a:r>
          </a:p>
        </p:txBody>
      </p:sp>
      <p:sp>
        <p:nvSpPr>
          <p:cNvPr id="19" name="Picture Placeholder 9"/>
          <p:cNvSpPr>
            <a:spLocks noGrp="1"/>
          </p:cNvSpPr>
          <p:nvPr>
            <p:ph type="pic" sz="quarter" idx="19"/>
          </p:nvPr>
        </p:nvSpPr>
        <p:spPr>
          <a:xfrm>
            <a:off x="864000" y="2400000"/>
            <a:ext cx="3264000" cy="1029000"/>
          </a:xfrm>
        </p:spPr>
        <p:txBody>
          <a:bodyPr rtlCol="0"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rtl="0"/>
            <a:r>
              <a:rPr lang="ru"/>
              <a:t>Click icon to add picture</a:t>
            </a:r>
          </a:p>
        </p:txBody>
      </p:sp>
      <p:sp>
        <p:nvSpPr>
          <p:cNvPr id="20" name="Picture Placeholder 9"/>
          <p:cNvSpPr>
            <a:spLocks noGrp="1"/>
          </p:cNvSpPr>
          <p:nvPr>
            <p:ph type="pic" sz="quarter" idx="20"/>
          </p:nvPr>
        </p:nvSpPr>
        <p:spPr>
          <a:xfrm>
            <a:off x="4465259" y="2400000"/>
            <a:ext cx="3264000" cy="1029000"/>
          </a:xfrm>
        </p:spPr>
        <p:txBody>
          <a:bodyPr rtlCol="0"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rtl="0"/>
            <a:r>
              <a:rPr lang="ru"/>
              <a:t>Click icon to add picture</a:t>
            </a:r>
          </a:p>
        </p:txBody>
      </p:sp>
      <p:sp>
        <p:nvSpPr>
          <p:cNvPr id="21" name="Picture Placeholder 9"/>
          <p:cNvSpPr>
            <a:spLocks noGrp="1"/>
          </p:cNvSpPr>
          <p:nvPr>
            <p:ph type="pic" sz="quarter" idx="21"/>
          </p:nvPr>
        </p:nvSpPr>
        <p:spPr>
          <a:xfrm>
            <a:off x="8066517" y="2400000"/>
            <a:ext cx="3264000" cy="1029000"/>
          </a:xfrm>
        </p:spPr>
        <p:txBody>
          <a:bodyPr rtlCol="0"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rtl="0"/>
            <a:r>
              <a:rPr lang="ru"/>
              <a:t>Click icon to add picture</a:t>
            </a:r>
          </a:p>
        </p:txBody>
      </p:sp>
      <p:sp>
        <p:nvSpPr>
          <p:cNvPr id="22" name="Subtitle 2"/>
          <p:cNvSpPr>
            <a:spLocks noGrp="1"/>
          </p:cNvSpPr>
          <p:nvPr>
            <p:ph type="subTitle" idx="22"/>
          </p:nvPr>
        </p:nvSpPr>
        <p:spPr>
          <a:xfrm>
            <a:off x="865718" y="1176001"/>
            <a:ext cx="8494645" cy="341184"/>
          </a:xfrm>
        </p:spPr>
        <p:txBody>
          <a:bodyPr vert="horz" lIns="0" tIns="0" rIns="0" bIns="0" rtlCol="0" anchor="t" anchorCtr="0">
            <a:spAutoFit/>
          </a:bodyPr>
          <a:lstStyle>
            <a:lvl1pPr>
              <a:defRPr lang="de-CH" sz="2133" dirty="0">
                <a:solidFill>
                  <a:schemeClr val="tx1"/>
                </a:solidFill>
              </a:defRPr>
            </a:lvl1pPr>
          </a:lstStyle>
          <a:p>
            <a:pPr lvl="0" rtl="0">
              <a:lnSpc>
                <a:spcPts val="2880"/>
              </a:lnSpc>
              <a:spcAft>
                <a:spcPts val="0"/>
              </a:spcAft>
            </a:pPr>
            <a:r>
              <a:rPr lang="ru"/>
              <a:t>Click to edit Master subtitle sty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ru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7715633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 (1_3 - 2_3)" preserve="1" userDrawn="1">
  <p:cSld name="Two Content (1_3 - 2_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36000" y="6405331"/>
            <a:ext cx="432000" cy="288000"/>
          </a:xfrm>
          <a:prstGeom prst="rect">
            <a:avLst/>
          </a:prstGeom>
        </p:spPr>
        <p:txBody>
          <a:bodyPr rtlCol="0"/>
          <a:lstStyle/>
          <a:p>
            <a:pPr defTabSz="1219170" rtl="0"/>
            <a:fld id="{909E75A8-3B72-415D-A05D-EBD9F6296846}" type="slidenum">
              <a:rPr lang="en-GB" smtClean="0"/>
              <a:pPr defTabSz="1219170"/>
              <a:t>‹#›</a:t>
            </a:fld>
            <a:endParaRPr lang="en-GB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6"/>
          </p:nvPr>
        </p:nvSpPr>
        <p:spPr>
          <a:xfrm>
            <a:off x="865718" y="1176001"/>
            <a:ext cx="8494645" cy="341184"/>
          </a:xfrm>
        </p:spPr>
        <p:txBody>
          <a:bodyPr vert="horz" lIns="0" tIns="0" rIns="0" bIns="0" rtlCol="0" anchor="t" anchorCtr="0">
            <a:spAutoFit/>
          </a:bodyPr>
          <a:lstStyle>
            <a:lvl1pPr>
              <a:defRPr lang="de-CH" sz="2133" dirty="0">
                <a:solidFill>
                  <a:schemeClr val="tx1"/>
                </a:solidFill>
              </a:defRPr>
            </a:lvl1pPr>
          </a:lstStyle>
          <a:p>
            <a:pPr lvl="0" rtl="0">
              <a:lnSpc>
                <a:spcPts val="2880"/>
              </a:lnSpc>
              <a:spcAft>
                <a:spcPts val="0"/>
              </a:spcAft>
            </a:pPr>
            <a:r>
              <a:rPr lang="ru"/>
              <a:t>Click to edit Master subtitle sty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ru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7"/>
          </p:nvPr>
        </p:nvSpPr>
        <p:spPr>
          <a:xfrm>
            <a:off x="863999" y="1892301"/>
            <a:ext cx="3264000" cy="4033300"/>
          </a:xfrm>
        </p:spPr>
        <p:txBody>
          <a:bodyPr rtlCol="0"/>
          <a:lstStyle/>
          <a:p>
            <a:pPr lvl="0" rtl="0"/>
            <a:r>
              <a:rPr lang="ru"/>
              <a:t>Click to edit Master text styles</a:t>
            </a:r>
          </a:p>
          <a:p>
            <a:pPr lvl="1" rtl="0"/>
            <a:r>
              <a:rPr lang="ru"/>
              <a:t>Second level</a:t>
            </a:r>
          </a:p>
          <a:p>
            <a:pPr lvl="2" rtl="0"/>
            <a:r>
              <a:rPr lang="ru"/>
              <a:t>Third level</a:t>
            </a:r>
          </a:p>
          <a:p>
            <a:pPr lvl="3" rtl="0"/>
            <a:r>
              <a:rPr lang="ru"/>
              <a:t>Fourth level</a:t>
            </a:r>
          </a:p>
          <a:p>
            <a:pPr lvl="4" rtl="0"/>
            <a:r>
              <a:rPr lang="ru"/>
              <a:t>Fifth level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8"/>
          </p:nvPr>
        </p:nvSpPr>
        <p:spPr>
          <a:xfrm>
            <a:off x="4465259" y="1892301"/>
            <a:ext cx="6865259" cy="4033300"/>
          </a:xfrm>
        </p:spPr>
        <p:txBody>
          <a:bodyPr rtlCol="0"/>
          <a:lstStyle/>
          <a:p>
            <a:pPr lvl="0" rtl="0"/>
            <a:r>
              <a:rPr lang="ru"/>
              <a:t>Click to edit Master text styles</a:t>
            </a:r>
          </a:p>
          <a:p>
            <a:pPr lvl="1" rtl="0"/>
            <a:r>
              <a:rPr lang="ru"/>
              <a:t>Second level</a:t>
            </a:r>
          </a:p>
          <a:p>
            <a:pPr lvl="2" rtl="0"/>
            <a:r>
              <a:rPr lang="ru"/>
              <a:t>Third level</a:t>
            </a:r>
          </a:p>
          <a:p>
            <a:pPr lvl="3" rtl="0"/>
            <a:r>
              <a:rPr lang="ru"/>
              <a:t>Fourth level</a:t>
            </a:r>
          </a:p>
          <a:p>
            <a:pPr lvl="4" rtl="0"/>
            <a:r>
              <a:rPr lang="ru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61954539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 (2_3 - 1_3)" preserve="1" userDrawn="1">
  <p:cSld name="Two Content (2_3 - 1_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36000" y="6405331"/>
            <a:ext cx="432000" cy="288000"/>
          </a:xfrm>
          <a:prstGeom prst="rect">
            <a:avLst/>
          </a:prstGeom>
        </p:spPr>
        <p:txBody>
          <a:bodyPr rtlCol="0"/>
          <a:lstStyle/>
          <a:p>
            <a:pPr defTabSz="1219170" rtl="0"/>
            <a:fld id="{F04CE56E-B196-47D2-9107-5E1712B15DFB}" type="slidenum">
              <a:rPr lang="en-GB" smtClean="0"/>
              <a:pPr defTabSz="1219170"/>
              <a:t>‹#›</a:t>
            </a:fld>
            <a:endParaRPr lang="en-GB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6"/>
          </p:nvPr>
        </p:nvSpPr>
        <p:spPr>
          <a:xfrm>
            <a:off x="865718" y="1176001"/>
            <a:ext cx="8494645" cy="341184"/>
          </a:xfrm>
        </p:spPr>
        <p:txBody>
          <a:bodyPr vert="horz" lIns="0" tIns="0" rIns="0" bIns="0" rtlCol="0" anchor="t" anchorCtr="0">
            <a:spAutoFit/>
          </a:bodyPr>
          <a:lstStyle>
            <a:lvl1pPr>
              <a:defRPr lang="de-CH" sz="2133" dirty="0">
                <a:solidFill>
                  <a:schemeClr val="tx1"/>
                </a:solidFill>
              </a:defRPr>
            </a:lvl1pPr>
          </a:lstStyle>
          <a:p>
            <a:pPr lvl="0" rtl="0">
              <a:lnSpc>
                <a:spcPts val="2880"/>
              </a:lnSpc>
              <a:spcAft>
                <a:spcPts val="0"/>
              </a:spcAft>
            </a:pPr>
            <a:r>
              <a:rPr lang="ru"/>
              <a:t>Click to edit Master subtitle sty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ru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7"/>
          </p:nvPr>
        </p:nvSpPr>
        <p:spPr>
          <a:xfrm>
            <a:off x="864000" y="1892299"/>
            <a:ext cx="6865259" cy="4033300"/>
          </a:xfrm>
        </p:spPr>
        <p:txBody>
          <a:bodyPr rtlCol="0"/>
          <a:lstStyle/>
          <a:p>
            <a:pPr lvl="0" rtl="0"/>
            <a:r>
              <a:rPr lang="ru"/>
              <a:t>Click to edit Master text styles</a:t>
            </a:r>
          </a:p>
          <a:p>
            <a:pPr lvl="1" rtl="0"/>
            <a:r>
              <a:rPr lang="ru"/>
              <a:t>Second level</a:t>
            </a:r>
          </a:p>
          <a:p>
            <a:pPr lvl="2" rtl="0"/>
            <a:r>
              <a:rPr lang="ru"/>
              <a:t>Third level</a:t>
            </a:r>
          </a:p>
          <a:p>
            <a:pPr lvl="3" rtl="0"/>
            <a:r>
              <a:rPr lang="ru"/>
              <a:t>Fourth level</a:t>
            </a:r>
          </a:p>
          <a:p>
            <a:pPr lvl="4" rtl="0"/>
            <a:r>
              <a:rPr lang="ru"/>
              <a:t>Fifth level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8"/>
          </p:nvPr>
        </p:nvSpPr>
        <p:spPr>
          <a:xfrm>
            <a:off x="8066517" y="1892301"/>
            <a:ext cx="3264000" cy="4033300"/>
          </a:xfrm>
        </p:spPr>
        <p:txBody>
          <a:bodyPr rtlCol="0"/>
          <a:lstStyle/>
          <a:p>
            <a:pPr lvl="0" rtl="0"/>
            <a:r>
              <a:rPr lang="ru"/>
              <a:t>Click to edit Master text styles</a:t>
            </a:r>
          </a:p>
          <a:p>
            <a:pPr lvl="1" rtl="0"/>
            <a:r>
              <a:rPr lang="ru"/>
              <a:t>Second level</a:t>
            </a:r>
          </a:p>
          <a:p>
            <a:pPr lvl="2" rtl="0"/>
            <a:r>
              <a:rPr lang="ru"/>
              <a:t>Third level</a:t>
            </a:r>
          </a:p>
          <a:p>
            <a:pPr lvl="3" rtl="0"/>
            <a:r>
              <a:rPr lang="ru"/>
              <a:t>Fourth level</a:t>
            </a:r>
          </a:p>
          <a:p>
            <a:pPr lvl="4" rtl="0"/>
            <a:r>
              <a:rPr lang="ru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328997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3623622"/>
      </p:ext>
    </p:extLst>
  </p:cSld>
  <p:clrMapOvr>
    <a:masterClrMapping/>
  </p:clrMapOvr>
  <p:hf hdr="0" ftr="0" dt="0"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Image Only" preserve="1">
  <p:cSld name="Full 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336000" y="6405331"/>
            <a:ext cx="432000" cy="288000"/>
          </a:xfrm>
          <a:prstGeom prst="rect">
            <a:avLst/>
          </a:prstGeom>
        </p:spPr>
        <p:txBody>
          <a:bodyPr rtlCol="0"/>
          <a:lstStyle/>
          <a:p>
            <a:pPr defTabSz="1219170" rtl="0"/>
            <a:fld id="{2C246A12-6F77-45C6-8BD8-468123B0ECFA}" type="slidenum">
              <a:rPr lang="en-GB" smtClean="0"/>
              <a:pPr defTabSz="1219170"/>
              <a:t>‹#›</a:t>
            </a:fld>
            <a:endParaRPr lang="en-GB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85747"/>
          </a:xfrm>
        </p:spPr>
        <p:txBody>
          <a:bodyPr tIns="540000" rtlCol="0"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rtl="0"/>
            <a:r>
              <a:rPr lang="ru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598304824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336000" y="6405331"/>
            <a:ext cx="432000" cy="288000"/>
          </a:xfrm>
          <a:prstGeom prst="rect">
            <a:avLst/>
          </a:prstGeom>
        </p:spPr>
        <p:txBody>
          <a:bodyPr rtlCol="0"/>
          <a:lstStyle/>
          <a:p>
            <a:pPr defTabSz="1219170" rtl="0"/>
            <a:fld id="{A04133C5-7AF3-4746-A73B-7CAD2AE7EFAF}" type="slidenum">
              <a:rPr lang="en-GB" smtClean="0"/>
              <a:pPr defTabSz="121917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9833340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 Slide" preserve="1">
  <p:cSld name="Thank You Slide">
    <p:bg>
      <p:bgPr>
        <a:gradFill>
          <a:gsLst>
            <a:gs pos="0">
              <a:schemeClr val="tx2"/>
            </a:gs>
            <a:gs pos="100000">
              <a:schemeClr val="bg2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hider"/>
          <p:cNvSpPr/>
          <p:nvPr userDrawn="1">
            <p:custDataLst>
              <p:tags r:id="rId2"/>
            </p:custDataLst>
          </p:nvPr>
        </p:nvSpPr>
        <p:spPr>
          <a:xfrm>
            <a:off x="821" y="6191309"/>
            <a:ext cx="12191180" cy="666691"/>
          </a:xfrm>
          <a:prstGeom prst="rect">
            <a:avLst/>
          </a:prstGeom>
          <a:solidFill>
            <a:srgbClr val="FFFFF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336000" y="6405331"/>
            <a:ext cx="432000" cy="288000"/>
          </a:xfrm>
          <a:prstGeom prst="rect">
            <a:avLst/>
          </a:prstGeom>
        </p:spPr>
        <p:txBody>
          <a:bodyPr rtlCol="0"/>
          <a:lstStyle/>
          <a:p>
            <a:pPr defTabSz="1219170" rtl="0"/>
            <a:fld id="{A8A1F426-F697-4927-8731-87C8B6BCB756}" type="slidenum">
              <a:rPr lang="en-GB" smtClean="0"/>
              <a:pPr defTabSz="1219170"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5718" y="696000"/>
            <a:ext cx="8494645" cy="487313"/>
          </a:xfrm>
        </p:spPr>
        <p:txBody>
          <a:bodyPr wrap="square" rtlCol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ru"/>
              <a:t>Click to edit Master title style</a:t>
            </a:r>
          </a:p>
        </p:txBody>
      </p:sp>
      <p:cxnSp>
        <p:nvCxnSpPr>
          <p:cNvPr id="16" name="Straight Connector 15"/>
          <p:cNvCxnSpPr/>
          <p:nvPr userDrawn="1"/>
        </p:nvCxnSpPr>
        <p:spPr bwMode="gray">
          <a:xfrm>
            <a:off x="0" y="6191309"/>
            <a:ext cx="12192000" cy="0"/>
          </a:xfrm>
          <a:prstGeom prst="line">
            <a:avLst/>
          </a:prstGeom>
          <a:ln w="127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Logo">
            <a:extLst>
              <a:ext uri="{FF2B5EF4-FFF2-40B4-BE49-F238E27FC236}">
                <a16:creationId xmlns:a16="http://schemas.microsoft.com/office/drawing/2014/main" id="{FCF53EAD-04D1-4EB3-8F77-13DD055D4C07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442406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431801" y="1052736"/>
            <a:ext cx="11328400" cy="720080"/>
          </a:xfrm>
        </p:spPr>
        <p:txBody>
          <a:bodyPr rtlCol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000" b="1" cap="all" baseline="0"/>
            </a:lvl1pPr>
            <a:lvl2pPr marL="358412" indent="0">
              <a:buFontTx/>
              <a:buNone/>
              <a:defRPr sz="2000"/>
            </a:lvl2pPr>
            <a:lvl3pPr marL="716833" indent="0">
              <a:buFontTx/>
              <a:buNone/>
              <a:defRPr sz="2000"/>
            </a:lvl3pPr>
            <a:lvl4pPr marL="1073666" indent="0">
              <a:buFontTx/>
              <a:buNone/>
              <a:defRPr sz="2000"/>
            </a:lvl4pPr>
            <a:lvl5pPr marL="1432083" indent="0">
              <a:buFontTx/>
              <a:buNone/>
              <a:defRPr sz="2000"/>
            </a:lvl5pPr>
          </a:lstStyle>
          <a:p>
            <a:pPr lvl="0" rtl="0"/>
            <a:r>
              <a:rPr lang="ru" noProof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rtl="0"/>
            <a:r>
              <a:rPr lang="ru" noProof="0"/>
              <a:t>Click to edit Master title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6"/>
          </p:nvPr>
        </p:nvSpPr>
        <p:spPr>
          <a:xfrm>
            <a:off x="3503712" y="6534194"/>
            <a:ext cx="1056117" cy="220663"/>
          </a:xfrm>
          <a:prstGeom prst="rect">
            <a:avLst/>
          </a:prstGeom>
        </p:spPr>
        <p:txBody>
          <a:bodyPr lIns="68513" tIns="34256" rIns="68513" bIns="34256" rtlCol="0"/>
          <a:lstStyle/>
          <a:p>
            <a:pPr defTabSz="913486" rtl="0"/>
            <a:r>
              <a:rPr lang="ru" sz="1867">
                <a:solidFill>
                  <a:srgbClr val="183962"/>
                </a:solidFill>
              </a:rPr>
              <a:t>DD mmm YYYY</a:t>
            </a:r>
            <a:endParaRPr lang="en-US" sz="1867" dirty="0">
              <a:solidFill>
                <a:srgbClr val="183962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7"/>
          </p:nvPr>
        </p:nvSpPr>
        <p:spPr>
          <a:xfrm>
            <a:off x="4847864" y="6534194"/>
            <a:ext cx="5088565" cy="220663"/>
          </a:xfrm>
          <a:prstGeom prst="rect">
            <a:avLst/>
          </a:prstGeom>
        </p:spPr>
        <p:txBody>
          <a:bodyPr lIns="68513" tIns="34256" rIns="68513" bIns="34256" rtlCol="0"/>
          <a:lstStyle/>
          <a:p>
            <a:pPr defTabSz="913486" rtl="0"/>
            <a:r>
              <a:rPr lang="ru" sz="1867">
                <a:solidFill>
                  <a:srgbClr val="183962"/>
                </a:solidFill>
              </a:rPr>
              <a:t>Presentation title</a:t>
            </a:r>
            <a:endParaRPr lang="en-US" sz="1867" dirty="0">
              <a:solidFill>
                <a:srgbClr val="183962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8"/>
          </p:nvPr>
        </p:nvSpPr>
        <p:spPr>
          <a:xfrm>
            <a:off x="431800" y="6525344"/>
            <a:ext cx="383613" cy="220568"/>
          </a:xfrm>
          <a:prstGeom prst="rect">
            <a:avLst/>
          </a:prstGeom>
        </p:spPr>
        <p:txBody>
          <a:bodyPr lIns="68513" tIns="34256" rIns="68513" bIns="34256" rtlCol="0"/>
          <a:lstStyle/>
          <a:p>
            <a:pPr defTabSz="913486" rtl="0"/>
            <a:fld id="{32B29DCE-219E-4E20-AD7C-3FB447E38C09}" type="slidenum">
              <a:rPr lang="en-US" sz="1867" smtClean="0">
                <a:solidFill>
                  <a:srgbClr val="183962"/>
                </a:solidFill>
              </a:rPr>
              <a:pPr defTabSz="913486"/>
              <a:t>‹#›</a:t>
            </a:fld>
            <a:endParaRPr lang="en-US" sz="1867" dirty="0">
              <a:solidFill>
                <a:srgbClr val="18396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7113189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объект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6045" y="107573"/>
            <a:ext cx="10515600" cy="725443"/>
          </a:xfrm>
        </p:spPr>
        <p:txBody>
          <a:bodyPr>
            <a:normAutofit/>
          </a:bodyPr>
          <a:lstStyle>
            <a:lvl1pPr>
              <a:defRPr sz="22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50D8BB2-CDDB-4849-BFC0-FD16BA052DDD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725333" y="6279051"/>
            <a:ext cx="9431867" cy="433387"/>
          </a:xfrm>
        </p:spPr>
        <p:txBody>
          <a:bodyPr/>
          <a:lstStyle>
            <a:lvl1pPr marL="0" indent="0">
              <a:buNone/>
              <a:defRPr sz="900" baseline="0"/>
            </a:lvl1pPr>
          </a:lstStyle>
          <a:p>
            <a:pPr lvl="0"/>
            <a:r>
              <a:rPr lang="ru-RU" dirty="0"/>
              <a:t>Конфиденциально. Только для внутреннего обучения</a:t>
            </a:r>
          </a:p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7439322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CE4696C-F0DA-40C9-BE55-6370C1EB21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59474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 Slide" preserve="1">
  <p:cSld name="Thank You Slide">
    <p:bg>
      <p:bgPr>
        <a:gradFill>
          <a:gsLst>
            <a:gs pos="0">
              <a:schemeClr val="bg2"/>
            </a:gs>
            <a:gs pos="100000">
              <a:schemeClr val="bg2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4718" y="452967"/>
            <a:ext cx="8494645" cy="346249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cxnSp>
        <p:nvCxnSpPr>
          <p:cNvPr id="16" name="Straight Connector 15"/>
          <p:cNvCxnSpPr/>
          <p:nvPr userDrawn="1"/>
        </p:nvCxnSpPr>
        <p:spPr bwMode="gray">
          <a:xfrm>
            <a:off x="0" y="6191309"/>
            <a:ext cx="12192000" cy="0"/>
          </a:xfrm>
          <a:prstGeom prst="line">
            <a:avLst/>
          </a:prstGeom>
          <a:ln w="127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hhider"/>
          <p:cNvSpPr/>
          <p:nvPr userDrawn="1">
            <p:custDataLst>
              <p:tags r:id="rId1"/>
            </p:custDataLst>
          </p:nvPr>
        </p:nvSpPr>
        <p:spPr>
          <a:xfrm>
            <a:off x="821" y="6191309"/>
            <a:ext cx="12191180" cy="666691"/>
          </a:xfrm>
          <a:prstGeom prst="rect">
            <a:avLst/>
          </a:prstGeom>
          <a:solidFill>
            <a:srgbClr val="FFFFF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200" dirty="0">
              <a:solidFill>
                <a:srgbClr val="FFFFFF"/>
              </a:solidFill>
            </a:endParaRP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FCF53EAD-04D1-4EB3-8F77-13DD055D4C07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  <p:pic>
        <p:nvPicPr>
          <p:cNvPr id="8" name="Content Placeholder 7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4717" y="6309007"/>
            <a:ext cx="710464" cy="440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2236001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1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334434" y="1284288"/>
            <a:ext cx="11523133" cy="914400"/>
          </a:xfrm>
        </p:spPr>
        <p:txBody>
          <a:bodyPr lIns="0" rIns="0" anchor="ctr">
            <a:noAutofit/>
          </a:bodyPr>
          <a:lstStyle>
            <a:lvl1pPr marL="0" indent="0">
              <a:buNone/>
              <a:defRPr sz="3733" b="1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334434" y="2305223"/>
            <a:ext cx="11523133" cy="914400"/>
          </a:xfrm>
        </p:spPr>
        <p:txBody>
          <a:bodyPr lIns="0" rIns="0">
            <a:noAutofit/>
          </a:bodyPr>
          <a:lstStyle>
            <a:lvl1pPr marL="0" indent="0">
              <a:buNone/>
              <a:defRPr sz="2667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3439528" y="2997793"/>
            <a:ext cx="8752472" cy="3884084"/>
          </a:xfrm>
          <a:custGeom>
            <a:avLst/>
            <a:gdLst>
              <a:gd name="connsiteX0" fmla="*/ 6564354 w 6564354"/>
              <a:gd name="connsiteY0" fmla="*/ 0 h 2913063"/>
              <a:gd name="connsiteX1" fmla="*/ 6564354 w 6564354"/>
              <a:gd name="connsiteY1" fmla="*/ 1240190 h 2913063"/>
              <a:gd name="connsiteX2" fmla="*/ 662256 w 6564354"/>
              <a:gd name="connsiteY2" fmla="*/ 2882854 h 2913063"/>
              <a:gd name="connsiteX3" fmla="*/ 589330 w 6564354"/>
              <a:gd name="connsiteY3" fmla="*/ 2913063 h 2913063"/>
              <a:gd name="connsiteX4" fmla="*/ 0 w 6564354"/>
              <a:gd name="connsiteY4" fmla="*/ 2913063 h 2913063"/>
              <a:gd name="connsiteX5" fmla="*/ 323355 w 6564354"/>
              <a:gd name="connsiteY5" fmla="*/ 2720335 h 2913063"/>
              <a:gd name="connsiteX6" fmla="*/ 6564354 w 6564354"/>
              <a:gd name="connsiteY6" fmla="*/ 0 h 29130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64354" h="2913063">
                <a:moveTo>
                  <a:pt x="6564354" y="0"/>
                </a:moveTo>
                <a:lnTo>
                  <a:pt x="6564354" y="1240190"/>
                </a:lnTo>
                <a:cubicBezTo>
                  <a:pt x="3910384" y="1646031"/>
                  <a:pt x="2731793" y="2031305"/>
                  <a:pt x="662256" y="2882854"/>
                </a:cubicBezTo>
                <a:lnTo>
                  <a:pt x="589330" y="2913063"/>
                </a:lnTo>
                <a:lnTo>
                  <a:pt x="0" y="2913063"/>
                </a:lnTo>
                <a:lnTo>
                  <a:pt x="323355" y="2720335"/>
                </a:lnTo>
                <a:cubicBezTo>
                  <a:pt x="3116317" y="1062246"/>
                  <a:pt x="4436791" y="394872"/>
                  <a:pt x="6564354" y="0"/>
                </a:cubicBezTo>
                <a:close/>
              </a:path>
            </a:pathLst>
          </a:custGeom>
          <a:solidFill>
            <a:srgbClr val="ED174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sz="3200" dirty="0"/>
          </a:p>
        </p:txBody>
      </p:sp>
      <p:sp>
        <p:nvSpPr>
          <p:cNvPr id="16" name="Freeform 16"/>
          <p:cNvSpPr>
            <a:spLocks/>
          </p:cNvSpPr>
          <p:nvPr userDrawn="1"/>
        </p:nvSpPr>
        <p:spPr bwMode="auto">
          <a:xfrm>
            <a:off x="5143501" y="4650910"/>
            <a:ext cx="7048500" cy="2230967"/>
          </a:xfrm>
          <a:custGeom>
            <a:avLst/>
            <a:gdLst>
              <a:gd name="T0" fmla="*/ 0 w 904"/>
              <a:gd name="T1" fmla="*/ 284 h 286"/>
              <a:gd name="T2" fmla="*/ 904 w 904"/>
              <a:gd name="T3" fmla="*/ 0 h 286"/>
              <a:gd name="T4" fmla="*/ 904 w 904"/>
              <a:gd name="T5" fmla="*/ 7 h 286"/>
              <a:gd name="T6" fmla="*/ 319 w 904"/>
              <a:gd name="T7" fmla="*/ 286 h 286"/>
              <a:gd name="T8" fmla="*/ 0 w 904"/>
              <a:gd name="T9" fmla="*/ 284 h 2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04" h="286">
                <a:moveTo>
                  <a:pt x="0" y="284"/>
                </a:moveTo>
                <a:cubicBezTo>
                  <a:pt x="281" y="153"/>
                  <a:pt x="584" y="57"/>
                  <a:pt x="904" y="0"/>
                </a:cubicBezTo>
                <a:cubicBezTo>
                  <a:pt x="904" y="13"/>
                  <a:pt x="904" y="4"/>
                  <a:pt x="904" y="7"/>
                </a:cubicBezTo>
                <a:cubicBezTo>
                  <a:pt x="677" y="89"/>
                  <a:pt x="516" y="169"/>
                  <a:pt x="319" y="286"/>
                </a:cubicBezTo>
                <a:cubicBezTo>
                  <a:pt x="232" y="286"/>
                  <a:pt x="86" y="286"/>
                  <a:pt x="0" y="284"/>
                </a:cubicBezTo>
              </a:path>
            </a:pathLst>
          </a:custGeom>
          <a:solidFill>
            <a:srgbClr val="00BACE">
              <a:alpha val="5000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GB" sz="3200" dirty="0"/>
          </a:p>
        </p:txBody>
      </p:sp>
      <p:grpSp>
        <p:nvGrpSpPr>
          <p:cNvPr id="26" name="Group 23"/>
          <p:cNvGrpSpPr>
            <a:grpSpLocks noChangeAspect="1"/>
          </p:cNvGrpSpPr>
          <p:nvPr userDrawn="1"/>
        </p:nvGrpSpPr>
        <p:grpSpPr bwMode="auto">
          <a:xfrm>
            <a:off x="440695" y="5754348"/>
            <a:ext cx="1326460" cy="856121"/>
            <a:chOff x="370" y="0"/>
            <a:chExt cx="5020" cy="3240"/>
          </a:xfrm>
        </p:grpSpPr>
        <p:sp>
          <p:nvSpPr>
            <p:cNvPr id="29" name="Freeform 25"/>
            <p:cNvSpPr>
              <a:spLocks/>
            </p:cNvSpPr>
            <p:nvPr userDrawn="1"/>
          </p:nvSpPr>
          <p:spPr bwMode="auto">
            <a:xfrm>
              <a:off x="2373" y="0"/>
              <a:ext cx="1445" cy="495"/>
            </a:xfrm>
            <a:custGeom>
              <a:avLst/>
              <a:gdLst>
                <a:gd name="T0" fmla="*/ 248 w 248"/>
                <a:gd name="T1" fmla="*/ 81 h 85"/>
                <a:gd name="T2" fmla="*/ 0 w 248"/>
                <a:gd name="T3" fmla="*/ 0 h 85"/>
                <a:gd name="T4" fmla="*/ 3 w 248"/>
                <a:gd name="T5" fmla="*/ 3 h 85"/>
                <a:gd name="T6" fmla="*/ 178 w 248"/>
                <a:gd name="T7" fmla="*/ 85 h 85"/>
                <a:gd name="T8" fmla="*/ 248 w 248"/>
                <a:gd name="T9" fmla="*/ 81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8" h="85">
                  <a:moveTo>
                    <a:pt x="248" y="81"/>
                  </a:moveTo>
                  <a:cubicBezTo>
                    <a:pt x="171" y="45"/>
                    <a:pt x="87" y="18"/>
                    <a:pt x="0" y="0"/>
                  </a:cubicBezTo>
                  <a:cubicBezTo>
                    <a:pt x="1" y="1"/>
                    <a:pt x="2" y="2"/>
                    <a:pt x="3" y="3"/>
                  </a:cubicBezTo>
                  <a:cubicBezTo>
                    <a:pt x="66" y="26"/>
                    <a:pt x="124" y="53"/>
                    <a:pt x="178" y="85"/>
                  </a:cubicBezTo>
                  <a:cubicBezTo>
                    <a:pt x="201" y="83"/>
                    <a:pt x="225" y="82"/>
                    <a:pt x="248" y="81"/>
                  </a:cubicBezTo>
                </a:path>
              </a:pathLst>
            </a:custGeom>
            <a:solidFill>
              <a:srgbClr val="01B8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1" name="Freeform 27"/>
            <p:cNvSpPr>
              <a:spLocks/>
            </p:cNvSpPr>
            <p:nvPr userDrawn="1"/>
          </p:nvSpPr>
          <p:spPr bwMode="auto">
            <a:xfrm>
              <a:off x="1430" y="18"/>
              <a:ext cx="2271" cy="1014"/>
            </a:xfrm>
            <a:custGeom>
              <a:avLst/>
              <a:gdLst>
                <a:gd name="T0" fmla="*/ 340 w 390"/>
                <a:gd name="T1" fmla="*/ 82 h 174"/>
                <a:gd name="T2" fmla="*/ 165 w 390"/>
                <a:gd name="T3" fmla="*/ 0 h 174"/>
                <a:gd name="T4" fmla="*/ 239 w 390"/>
                <a:gd name="T5" fmla="*/ 57 h 174"/>
                <a:gd name="T6" fmla="*/ 239 w 390"/>
                <a:gd name="T7" fmla="*/ 58 h 174"/>
                <a:gd name="T8" fmla="*/ 277 w 390"/>
                <a:gd name="T9" fmla="*/ 90 h 174"/>
                <a:gd name="T10" fmla="*/ 0 w 390"/>
                <a:gd name="T11" fmla="*/ 174 h 174"/>
                <a:gd name="T12" fmla="*/ 302 w 390"/>
                <a:gd name="T13" fmla="*/ 114 h 174"/>
                <a:gd name="T14" fmla="*/ 390 w 390"/>
                <a:gd name="T15" fmla="*/ 114 h 174"/>
                <a:gd name="T16" fmla="*/ 340 w 390"/>
                <a:gd name="T17" fmla="*/ 82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0" h="174">
                  <a:moveTo>
                    <a:pt x="340" y="82"/>
                  </a:moveTo>
                  <a:cubicBezTo>
                    <a:pt x="286" y="50"/>
                    <a:pt x="228" y="23"/>
                    <a:pt x="165" y="0"/>
                  </a:cubicBezTo>
                  <a:cubicBezTo>
                    <a:pt x="191" y="18"/>
                    <a:pt x="216" y="38"/>
                    <a:pt x="239" y="57"/>
                  </a:cubicBezTo>
                  <a:cubicBezTo>
                    <a:pt x="239" y="58"/>
                    <a:pt x="239" y="57"/>
                    <a:pt x="239" y="58"/>
                  </a:cubicBezTo>
                  <a:cubicBezTo>
                    <a:pt x="252" y="68"/>
                    <a:pt x="264" y="79"/>
                    <a:pt x="277" y="90"/>
                  </a:cubicBezTo>
                  <a:cubicBezTo>
                    <a:pt x="178" y="105"/>
                    <a:pt x="85" y="134"/>
                    <a:pt x="0" y="174"/>
                  </a:cubicBezTo>
                  <a:cubicBezTo>
                    <a:pt x="95" y="139"/>
                    <a:pt x="197" y="118"/>
                    <a:pt x="302" y="114"/>
                  </a:cubicBezTo>
                  <a:cubicBezTo>
                    <a:pt x="331" y="112"/>
                    <a:pt x="360" y="112"/>
                    <a:pt x="390" y="114"/>
                  </a:cubicBezTo>
                  <a:cubicBezTo>
                    <a:pt x="374" y="103"/>
                    <a:pt x="357" y="92"/>
                    <a:pt x="340" y="82"/>
                  </a:cubicBezTo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28" name="Freeform 24"/>
            <p:cNvSpPr>
              <a:spLocks/>
            </p:cNvSpPr>
            <p:nvPr userDrawn="1"/>
          </p:nvSpPr>
          <p:spPr bwMode="auto">
            <a:xfrm>
              <a:off x="1401" y="356"/>
              <a:ext cx="1642" cy="687"/>
            </a:xfrm>
            <a:custGeom>
              <a:avLst/>
              <a:gdLst>
                <a:gd name="T0" fmla="*/ 244 w 282"/>
                <a:gd name="T1" fmla="*/ 0 h 118"/>
                <a:gd name="T2" fmla="*/ 0 w 282"/>
                <a:gd name="T3" fmla="*/ 118 h 118"/>
                <a:gd name="T4" fmla="*/ 6 w 282"/>
                <a:gd name="T5" fmla="*/ 116 h 118"/>
                <a:gd name="T6" fmla="*/ 282 w 282"/>
                <a:gd name="T7" fmla="*/ 32 h 118"/>
                <a:gd name="T8" fmla="*/ 244 w 282"/>
                <a:gd name="T9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2" h="118">
                  <a:moveTo>
                    <a:pt x="244" y="0"/>
                  </a:moveTo>
                  <a:cubicBezTo>
                    <a:pt x="154" y="29"/>
                    <a:pt x="72" y="69"/>
                    <a:pt x="0" y="118"/>
                  </a:cubicBezTo>
                  <a:cubicBezTo>
                    <a:pt x="2" y="118"/>
                    <a:pt x="4" y="117"/>
                    <a:pt x="6" y="116"/>
                  </a:cubicBezTo>
                  <a:cubicBezTo>
                    <a:pt x="90" y="76"/>
                    <a:pt x="183" y="47"/>
                    <a:pt x="282" y="32"/>
                  </a:cubicBezTo>
                  <a:cubicBezTo>
                    <a:pt x="270" y="21"/>
                    <a:pt x="257" y="10"/>
                    <a:pt x="244" y="0"/>
                  </a:cubicBezTo>
                </a:path>
              </a:pathLst>
            </a:custGeom>
            <a:solidFill>
              <a:srgbClr val="CC20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0" name="Freeform 26"/>
            <p:cNvSpPr>
              <a:spLocks/>
            </p:cNvSpPr>
            <p:nvPr userDrawn="1"/>
          </p:nvSpPr>
          <p:spPr bwMode="auto">
            <a:xfrm>
              <a:off x="3410" y="472"/>
              <a:ext cx="914" cy="268"/>
            </a:xfrm>
            <a:custGeom>
              <a:avLst/>
              <a:gdLst>
                <a:gd name="T0" fmla="*/ 70 w 157"/>
                <a:gd name="T1" fmla="*/ 0 h 46"/>
                <a:gd name="T2" fmla="*/ 0 w 157"/>
                <a:gd name="T3" fmla="*/ 4 h 46"/>
                <a:gd name="T4" fmla="*/ 50 w 157"/>
                <a:gd name="T5" fmla="*/ 36 h 46"/>
                <a:gd name="T6" fmla="*/ 157 w 157"/>
                <a:gd name="T7" fmla="*/ 46 h 46"/>
                <a:gd name="T8" fmla="*/ 70 w 157"/>
                <a:gd name="T9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46">
                  <a:moveTo>
                    <a:pt x="70" y="0"/>
                  </a:moveTo>
                  <a:cubicBezTo>
                    <a:pt x="47" y="1"/>
                    <a:pt x="23" y="2"/>
                    <a:pt x="0" y="4"/>
                  </a:cubicBezTo>
                  <a:cubicBezTo>
                    <a:pt x="17" y="14"/>
                    <a:pt x="34" y="25"/>
                    <a:pt x="50" y="36"/>
                  </a:cubicBezTo>
                  <a:cubicBezTo>
                    <a:pt x="85" y="37"/>
                    <a:pt x="121" y="40"/>
                    <a:pt x="157" y="46"/>
                  </a:cubicBezTo>
                  <a:cubicBezTo>
                    <a:pt x="129" y="29"/>
                    <a:pt x="100" y="14"/>
                    <a:pt x="70" y="0"/>
                  </a:cubicBezTo>
                </a:path>
              </a:pathLst>
            </a:custGeom>
            <a:solidFill>
              <a:srgbClr val="CC20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2" name="Freeform 28"/>
            <p:cNvSpPr>
              <a:spLocks noEditPoints="1"/>
            </p:cNvSpPr>
            <p:nvPr userDrawn="1"/>
          </p:nvSpPr>
          <p:spPr bwMode="auto">
            <a:xfrm>
              <a:off x="370" y="1072"/>
              <a:ext cx="693" cy="1154"/>
            </a:xfrm>
            <a:custGeom>
              <a:avLst/>
              <a:gdLst>
                <a:gd name="T0" fmla="*/ 60 w 119"/>
                <a:gd name="T1" fmla="*/ 198 h 198"/>
                <a:gd name="T2" fmla="*/ 0 w 119"/>
                <a:gd name="T3" fmla="*/ 158 h 198"/>
                <a:gd name="T4" fmla="*/ 0 w 119"/>
                <a:gd name="T5" fmla="*/ 39 h 198"/>
                <a:gd name="T6" fmla="*/ 60 w 119"/>
                <a:gd name="T7" fmla="*/ 0 h 198"/>
                <a:gd name="T8" fmla="*/ 119 w 119"/>
                <a:gd name="T9" fmla="*/ 39 h 198"/>
                <a:gd name="T10" fmla="*/ 119 w 119"/>
                <a:gd name="T11" fmla="*/ 158 h 198"/>
                <a:gd name="T12" fmla="*/ 60 w 119"/>
                <a:gd name="T13" fmla="*/ 198 h 198"/>
                <a:gd name="T14" fmla="*/ 60 w 119"/>
                <a:gd name="T15" fmla="*/ 18 h 198"/>
                <a:gd name="T16" fmla="*/ 20 w 119"/>
                <a:gd name="T17" fmla="*/ 39 h 198"/>
                <a:gd name="T18" fmla="*/ 20 w 119"/>
                <a:gd name="T19" fmla="*/ 157 h 198"/>
                <a:gd name="T20" fmla="*/ 20 w 119"/>
                <a:gd name="T21" fmla="*/ 163 h 198"/>
                <a:gd name="T22" fmla="*/ 20 w 119"/>
                <a:gd name="T23" fmla="*/ 163 h 198"/>
                <a:gd name="T24" fmla="*/ 60 w 119"/>
                <a:gd name="T25" fmla="*/ 179 h 198"/>
                <a:gd name="T26" fmla="*/ 99 w 119"/>
                <a:gd name="T27" fmla="*/ 163 h 198"/>
                <a:gd name="T28" fmla="*/ 99 w 119"/>
                <a:gd name="T29" fmla="*/ 163 h 198"/>
                <a:gd name="T30" fmla="*/ 100 w 119"/>
                <a:gd name="T31" fmla="*/ 157 h 198"/>
                <a:gd name="T32" fmla="*/ 100 w 119"/>
                <a:gd name="T33" fmla="*/ 39 h 198"/>
                <a:gd name="T34" fmla="*/ 60 w 119"/>
                <a:gd name="T35" fmla="*/ 1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9" h="198">
                  <a:moveTo>
                    <a:pt x="60" y="198"/>
                  </a:moveTo>
                  <a:cubicBezTo>
                    <a:pt x="31" y="198"/>
                    <a:pt x="0" y="186"/>
                    <a:pt x="0" y="158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2"/>
                    <a:pt x="31" y="0"/>
                    <a:pt x="60" y="0"/>
                  </a:cubicBezTo>
                  <a:cubicBezTo>
                    <a:pt x="88" y="0"/>
                    <a:pt x="119" y="12"/>
                    <a:pt x="119" y="39"/>
                  </a:cubicBezTo>
                  <a:cubicBezTo>
                    <a:pt x="119" y="158"/>
                    <a:pt x="119" y="158"/>
                    <a:pt x="119" y="158"/>
                  </a:cubicBezTo>
                  <a:cubicBezTo>
                    <a:pt x="119" y="186"/>
                    <a:pt x="88" y="198"/>
                    <a:pt x="60" y="198"/>
                  </a:cubicBezTo>
                  <a:moveTo>
                    <a:pt x="60" y="18"/>
                  </a:moveTo>
                  <a:cubicBezTo>
                    <a:pt x="40" y="18"/>
                    <a:pt x="20" y="25"/>
                    <a:pt x="20" y="39"/>
                  </a:cubicBezTo>
                  <a:cubicBezTo>
                    <a:pt x="20" y="157"/>
                    <a:pt x="20" y="157"/>
                    <a:pt x="20" y="157"/>
                  </a:cubicBezTo>
                  <a:cubicBezTo>
                    <a:pt x="20" y="162"/>
                    <a:pt x="20" y="163"/>
                    <a:pt x="20" y="163"/>
                  </a:cubicBezTo>
                  <a:cubicBezTo>
                    <a:pt x="20" y="163"/>
                    <a:pt x="20" y="163"/>
                    <a:pt x="20" y="163"/>
                  </a:cubicBezTo>
                  <a:cubicBezTo>
                    <a:pt x="24" y="172"/>
                    <a:pt x="40" y="179"/>
                    <a:pt x="60" y="179"/>
                  </a:cubicBezTo>
                  <a:cubicBezTo>
                    <a:pt x="80" y="179"/>
                    <a:pt x="96" y="172"/>
                    <a:pt x="99" y="163"/>
                  </a:cubicBezTo>
                  <a:cubicBezTo>
                    <a:pt x="99" y="163"/>
                    <a:pt x="99" y="163"/>
                    <a:pt x="99" y="163"/>
                  </a:cubicBezTo>
                  <a:cubicBezTo>
                    <a:pt x="99" y="163"/>
                    <a:pt x="100" y="162"/>
                    <a:pt x="100" y="157"/>
                  </a:cubicBezTo>
                  <a:cubicBezTo>
                    <a:pt x="100" y="39"/>
                    <a:pt x="100" y="39"/>
                    <a:pt x="100" y="39"/>
                  </a:cubicBezTo>
                  <a:cubicBezTo>
                    <a:pt x="100" y="25"/>
                    <a:pt x="80" y="18"/>
                    <a:pt x="60" y="18"/>
                  </a:cubicBezTo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8" name="Freeform 34"/>
            <p:cNvSpPr>
              <a:spLocks/>
            </p:cNvSpPr>
            <p:nvPr userDrawn="1"/>
          </p:nvSpPr>
          <p:spPr bwMode="auto">
            <a:xfrm>
              <a:off x="4779" y="1084"/>
              <a:ext cx="448" cy="1130"/>
            </a:xfrm>
            <a:custGeom>
              <a:avLst/>
              <a:gdLst>
                <a:gd name="T0" fmla="*/ 69 w 77"/>
                <a:gd name="T1" fmla="*/ 194 h 194"/>
                <a:gd name="T2" fmla="*/ 37 w 77"/>
                <a:gd name="T3" fmla="*/ 185 h 194"/>
                <a:gd name="T4" fmla="*/ 23 w 77"/>
                <a:gd name="T5" fmla="*/ 154 h 194"/>
                <a:gd name="T6" fmla="*/ 23 w 77"/>
                <a:gd name="T7" fmla="*/ 74 h 194"/>
                <a:gd name="T8" fmla="*/ 0 w 77"/>
                <a:gd name="T9" fmla="*/ 74 h 194"/>
                <a:gd name="T10" fmla="*/ 0 w 77"/>
                <a:gd name="T11" fmla="*/ 56 h 194"/>
                <a:gd name="T12" fmla="*/ 23 w 77"/>
                <a:gd name="T13" fmla="*/ 56 h 194"/>
                <a:gd name="T14" fmla="*/ 23 w 77"/>
                <a:gd name="T15" fmla="*/ 14 h 194"/>
                <a:gd name="T16" fmla="*/ 42 w 77"/>
                <a:gd name="T17" fmla="*/ 0 h 194"/>
                <a:gd name="T18" fmla="*/ 42 w 77"/>
                <a:gd name="T19" fmla="*/ 56 h 194"/>
                <a:gd name="T20" fmla="*/ 74 w 77"/>
                <a:gd name="T21" fmla="*/ 56 h 194"/>
                <a:gd name="T22" fmla="*/ 74 w 77"/>
                <a:gd name="T23" fmla="*/ 74 h 194"/>
                <a:gd name="T24" fmla="*/ 71 w 77"/>
                <a:gd name="T25" fmla="*/ 74 h 194"/>
                <a:gd name="T26" fmla="*/ 42 w 77"/>
                <a:gd name="T27" fmla="*/ 74 h 194"/>
                <a:gd name="T28" fmla="*/ 42 w 77"/>
                <a:gd name="T29" fmla="*/ 154 h 194"/>
                <a:gd name="T30" fmla="*/ 74 w 77"/>
                <a:gd name="T31" fmla="*/ 176 h 194"/>
                <a:gd name="T32" fmla="*/ 77 w 77"/>
                <a:gd name="T33" fmla="*/ 176 h 194"/>
                <a:gd name="T34" fmla="*/ 77 w 77"/>
                <a:gd name="T35" fmla="*/ 194 h 194"/>
                <a:gd name="T36" fmla="*/ 74 w 77"/>
                <a:gd name="T37" fmla="*/ 194 h 194"/>
                <a:gd name="T38" fmla="*/ 69 w 77"/>
                <a:gd name="T39" fmla="*/ 19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7" h="194">
                  <a:moveTo>
                    <a:pt x="69" y="194"/>
                  </a:moveTo>
                  <a:cubicBezTo>
                    <a:pt x="56" y="194"/>
                    <a:pt x="45" y="191"/>
                    <a:pt x="37" y="185"/>
                  </a:cubicBezTo>
                  <a:cubicBezTo>
                    <a:pt x="28" y="179"/>
                    <a:pt x="23" y="168"/>
                    <a:pt x="23" y="154"/>
                  </a:cubicBezTo>
                  <a:cubicBezTo>
                    <a:pt x="23" y="74"/>
                    <a:pt x="23" y="74"/>
                    <a:pt x="23" y="74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23" y="56"/>
                    <a:pt x="23" y="56"/>
                    <a:pt x="23" y="56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74" y="56"/>
                    <a:pt x="74" y="56"/>
                    <a:pt x="74" y="56"/>
                  </a:cubicBezTo>
                  <a:cubicBezTo>
                    <a:pt x="74" y="74"/>
                    <a:pt x="74" y="74"/>
                    <a:pt x="74" y="74"/>
                  </a:cubicBezTo>
                  <a:cubicBezTo>
                    <a:pt x="71" y="74"/>
                    <a:pt x="71" y="74"/>
                    <a:pt x="71" y="74"/>
                  </a:cubicBezTo>
                  <a:cubicBezTo>
                    <a:pt x="61" y="74"/>
                    <a:pt x="52" y="74"/>
                    <a:pt x="42" y="74"/>
                  </a:cubicBezTo>
                  <a:cubicBezTo>
                    <a:pt x="42" y="154"/>
                    <a:pt x="42" y="154"/>
                    <a:pt x="42" y="154"/>
                  </a:cubicBezTo>
                  <a:cubicBezTo>
                    <a:pt x="42" y="173"/>
                    <a:pt x="56" y="175"/>
                    <a:pt x="74" y="176"/>
                  </a:cubicBezTo>
                  <a:cubicBezTo>
                    <a:pt x="77" y="176"/>
                    <a:pt x="77" y="176"/>
                    <a:pt x="77" y="176"/>
                  </a:cubicBezTo>
                  <a:cubicBezTo>
                    <a:pt x="77" y="194"/>
                    <a:pt x="77" y="194"/>
                    <a:pt x="77" y="194"/>
                  </a:cubicBezTo>
                  <a:cubicBezTo>
                    <a:pt x="74" y="194"/>
                    <a:pt x="74" y="194"/>
                    <a:pt x="74" y="194"/>
                  </a:cubicBezTo>
                  <a:cubicBezTo>
                    <a:pt x="72" y="194"/>
                    <a:pt x="71" y="194"/>
                    <a:pt x="69" y="194"/>
                  </a:cubicBezTo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3" name="Freeform 29"/>
            <p:cNvSpPr>
              <a:spLocks noEditPoints="1"/>
            </p:cNvSpPr>
            <p:nvPr userDrawn="1"/>
          </p:nvSpPr>
          <p:spPr bwMode="auto">
            <a:xfrm>
              <a:off x="1185" y="1399"/>
              <a:ext cx="618" cy="1142"/>
            </a:xfrm>
            <a:custGeom>
              <a:avLst/>
              <a:gdLst>
                <a:gd name="T0" fmla="*/ 0 w 106"/>
                <a:gd name="T1" fmla="*/ 196 h 196"/>
                <a:gd name="T2" fmla="*/ 0 w 106"/>
                <a:gd name="T3" fmla="*/ 3 h 196"/>
                <a:gd name="T4" fmla="*/ 18 w 106"/>
                <a:gd name="T5" fmla="*/ 3 h 196"/>
                <a:gd name="T6" fmla="*/ 18 w 106"/>
                <a:gd name="T7" fmla="*/ 13 h 196"/>
                <a:gd name="T8" fmla="*/ 56 w 106"/>
                <a:gd name="T9" fmla="*/ 0 h 196"/>
                <a:gd name="T10" fmla="*/ 74 w 106"/>
                <a:gd name="T11" fmla="*/ 3 h 196"/>
                <a:gd name="T12" fmla="*/ 106 w 106"/>
                <a:gd name="T13" fmla="*/ 39 h 196"/>
                <a:gd name="T14" fmla="*/ 106 w 106"/>
                <a:gd name="T15" fmla="*/ 100 h 196"/>
                <a:gd name="T16" fmla="*/ 55 w 106"/>
                <a:gd name="T17" fmla="*/ 140 h 196"/>
                <a:gd name="T18" fmla="*/ 55 w 106"/>
                <a:gd name="T19" fmla="*/ 140 h 196"/>
                <a:gd name="T20" fmla="*/ 20 w 106"/>
                <a:gd name="T21" fmla="*/ 129 h 196"/>
                <a:gd name="T22" fmla="*/ 20 w 106"/>
                <a:gd name="T23" fmla="*/ 182 h 196"/>
                <a:gd name="T24" fmla="*/ 0 w 106"/>
                <a:gd name="T25" fmla="*/ 196 h 196"/>
                <a:gd name="T26" fmla="*/ 53 w 106"/>
                <a:gd name="T27" fmla="*/ 19 h 196"/>
                <a:gd name="T28" fmla="*/ 20 w 106"/>
                <a:gd name="T29" fmla="*/ 45 h 196"/>
                <a:gd name="T30" fmla="*/ 20 w 106"/>
                <a:gd name="T31" fmla="*/ 102 h 196"/>
                <a:gd name="T32" fmla="*/ 54 w 106"/>
                <a:gd name="T33" fmla="*/ 122 h 196"/>
                <a:gd name="T34" fmla="*/ 54 w 106"/>
                <a:gd name="T35" fmla="*/ 122 h 196"/>
                <a:gd name="T36" fmla="*/ 77 w 106"/>
                <a:gd name="T37" fmla="*/ 116 h 196"/>
                <a:gd name="T38" fmla="*/ 87 w 106"/>
                <a:gd name="T39" fmla="*/ 100 h 196"/>
                <a:gd name="T40" fmla="*/ 87 w 106"/>
                <a:gd name="T41" fmla="*/ 36 h 196"/>
                <a:gd name="T42" fmla="*/ 68 w 106"/>
                <a:gd name="T43" fmla="*/ 21 h 196"/>
                <a:gd name="T44" fmla="*/ 53 w 106"/>
                <a:gd name="T45" fmla="*/ 1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6" h="196">
                  <a:moveTo>
                    <a:pt x="0" y="196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27" y="5"/>
                    <a:pt x="41" y="0"/>
                    <a:pt x="56" y="0"/>
                  </a:cubicBezTo>
                  <a:cubicBezTo>
                    <a:pt x="63" y="0"/>
                    <a:pt x="68" y="1"/>
                    <a:pt x="74" y="3"/>
                  </a:cubicBezTo>
                  <a:cubicBezTo>
                    <a:pt x="94" y="8"/>
                    <a:pt x="106" y="22"/>
                    <a:pt x="106" y="39"/>
                  </a:cubicBezTo>
                  <a:cubicBezTo>
                    <a:pt x="106" y="100"/>
                    <a:pt x="106" y="100"/>
                    <a:pt x="106" y="100"/>
                  </a:cubicBezTo>
                  <a:cubicBezTo>
                    <a:pt x="106" y="126"/>
                    <a:pt x="80" y="140"/>
                    <a:pt x="55" y="140"/>
                  </a:cubicBezTo>
                  <a:cubicBezTo>
                    <a:pt x="55" y="140"/>
                    <a:pt x="55" y="140"/>
                    <a:pt x="55" y="140"/>
                  </a:cubicBezTo>
                  <a:cubicBezTo>
                    <a:pt x="41" y="140"/>
                    <a:pt x="28" y="136"/>
                    <a:pt x="20" y="129"/>
                  </a:cubicBezTo>
                  <a:cubicBezTo>
                    <a:pt x="20" y="182"/>
                    <a:pt x="20" y="182"/>
                    <a:pt x="20" y="182"/>
                  </a:cubicBezTo>
                  <a:lnTo>
                    <a:pt x="0" y="196"/>
                  </a:lnTo>
                  <a:close/>
                  <a:moveTo>
                    <a:pt x="53" y="19"/>
                  </a:moveTo>
                  <a:cubicBezTo>
                    <a:pt x="41" y="19"/>
                    <a:pt x="20" y="25"/>
                    <a:pt x="20" y="45"/>
                  </a:cubicBezTo>
                  <a:cubicBezTo>
                    <a:pt x="20" y="102"/>
                    <a:pt x="20" y="102"/>
                    <a:pt x="20" y="102"/>
                  </a:cubicBezTo>
                  <a:cubicBezTo>
                    <a:pt x="20" y="115"/>
                    <a:pt x="37" y="122"/>
                    <a:pt x="54" y="122"/>
                  </a:cubicBezTo>
                  <a:cubicBezTo>
                    <a:pt x="54" y="122"/>
                    <a:pt x="54" y="122"/>
                    <a:pt x="54" y="122"/>
                  </a:cubicBezTo>
                  <a:cubicBezTo>
                    <a:pt x="63" y="122"/>
                    <a:pt x="71" y="120"/>
                    <a:pt x="77" y="116"/>
                  </a:cubicBezTo>
                  <a:cubicBezTo>
                    <a:pt x="84" y="112"/>
                    <a:pt x="87" y="107"/>
                    <a:pt x="87" y="100"/>
                  </a:cubicBezTo>
                  <a:cubicBezTo>
                    <a:pt x="87" y="36"/>
                    <a:pt x="87" y="36"/>
                    <a:pt x="87" y="36"/>
                  </a:cubicBezTo>
                  <a:cubicBezTo>
                    <a:pt x="85" y="27"/>
                    <a:pt x="74" y="23"/>
                    <a:pt x="68" y="21"/>
                  </a:cubicBezTo>
                  <a:cubicBezTo>
                    <a:pt x="64" y="20"/>
                    <a:pt x="59" y="19"/>
                    <a:pt x="53" y="19"/>
                  </a:cubicBezTo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4" name="Freeform 30"/>
            <p:cNvSpPr>
              <a:spLocks/>
            </p:cNvSpPr>
            <p:nvPr userDrawn="1"/>
          </p:nvSpPr>
          <p:spPr bwMode="auto">
            <a:xfrm>
              <a:off x="1902" y="1399"/>
              <a:ext cx="629" cy="821"/>
            </a:xfrm>
            <a:custGeom>
              <a:avLst/>
              <a:gdLst>
                <a:gd name="T0" fmla="*/ 53 w 108"/>
                <a:gd name="T1" fmla="*/ 141 h 141"/>
                <a:gd name="T2" fmla="*/ 0 w 108"/>
                <a:gd name="T3" fmla="*/ 112 h 141"/>
                <a:gd name="T4" fmla="*/ 0 w 108"/>
                <a:gd name="T5" fmla="*/ 110 h 141"/>
                <a:gd name="T6" fmla="*/ 16 w 108"/>
                <a:gd name="T7" fmla="*/ 100 h 141"/>
                <a:gd name="T8" fmla="*/ 17 w 108"/>
                <a:gd name="T9" fmla="*/ 103 h 141"/>
                <a:gd name="T10" fmla="*/ 53 w 108"/>
                <a:gd name="T11" fmla="*/ 122 h 141"/>
                <a:gd name="T12" fmla="*/ 70 w 108"/>
                <a:gd name="T13" fmla="*/ 120 h 141"/>
                <a:gd name="T14" fmla="*/ 89 w 108"/>
                <a:gd name="T15" fmla="*/ 101 h 141"/>
                <a:gd name="T16" fmla="*/ 54 w 108"/>
                <a:gd name="T17" fmla="*/ 81 h 141"/>
                <a:gd name="T18" fmla="*/ 53 w 108"/>
                <a:gd name="T19" fmla="*/ 81 h 141"/>
                <a:gd name="T20" fmla="*/ 3 w 108"/>
                <a:gd name="T21" fmla="*/ 41 h 141"/>
                <a:gd name="T22" fmla="*/ 36 w 108"/>
                <a:gd name="T23" fmla="*/ 3 h 141"/>
                <a:gd name="T24" fmla="*/ 57 w 108"/>
                <a:gd name="T25" fmla="*/ 0 h 141"/>
                <a:gd name="T26" fmla="*/ 105 w 108"/>
                <a:gd name="T27" fmla="*/ 24 h 141"/>
                <a:gd name="T28" fmla="*/ 106 w 108"/>
                <a:gd name="T29" fmla="*/ 26 h 141"/>
                <a:gd name="T30" fmla="*/ 90 w 108"/>
                <a:gd name="T31" fmla="*/ 36 h 141"/>
                <a:gd name="T32" fmla="*/ 89 w 108"/>
                <a:gd name="T33" fmla="*/ 34 h 141"/>
                <a:gd name="T34" fmla="*/ 58 w 108"/>
                <a:gd name="T35" fmla="*/ 20 h 141"/>
                <a:gd name="T36" fmla="*/ 41 w 108"/>
                <a:gd name="T37" fmla="*/ 22 h 141"/>
                <a:gd name="T38" fmla="*/ 22 w 108"/>
                <a:gd name="T39" fmla="*/ 41 h 141"/>
                <a:gd name="T40" fmla="*/ 56 w 108"/>
                <a:gd name="T41" fmla="*/ 62 h 141"/>
                <a:gd name="T42" fmla="*/ 108 w 108"/>
                <a:gd name="T43" fmla="*/ 101 h 141"/>
                <a:gd name="T44" fmla="*/ 75 w 108"/>
                <a:gd name="T45" fmla="*/ 138 h 141"/>
                <a:gd name="T46" fmla="*/ 53 w 108"/>
                <a:gd name="T47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8" h="141">
                  <a:moveTo>
                    <a:pt x="53" y="141"/>
                  </a:moveTo>
                  <a:cubicBezTo>
                    <a:pt x="33" y="141"/>
                    <a:pt x="8" y="134"/>
                    <a:pt x="0" y="112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7" y="103"/>
                    <a:pt x="17" y="103"/>
                    <a:pt x="17" y="103"/>
                  </a:cubicBezTo>
                  <a:cubicBezTo>
                    <a:pt x="24" y="120"/>
                    <a:pt x="42" y="122"/>
                    <a:pt x="53" y="122"/>
                  </a:cubicBezTo>
                  <a:cubicBezTo>
                    <a:pt x="58" y="122"/>
                    <a:pt x="65" y="121"/>
                    <a:pt x="70" y="120"/>
                  </a:cubicBezTo>
                  <a:cubicBezTo>
                    <a:pt x="75" y="118"/>
                    <a:pt x="89" y="113"/>
                    <a:pt x="89" y="101"/>
                  </a:cubicBezTo>
                  <a:cubicBezTo>
                    <a:pt x="89" y="86"/>
                    <a:pt x="76" y="84"/>
                    <a:pt x="54" y="81"/>
                  </a:cubicBezTo>
                  <a:cubicBezTo>
                    <a:pt x="53" y="81"/>
                    <a:pt x="53" y="81"/>
                    <a:pt x="53" y="81"/>
                  </a:cubicBezTo>
                  <a:cubicBezTo>
                    <a:pt x="29" y="78"/>
                    <a:pt x="2" y="74"/>
                    <a:pt x="3" y="41"/>
                  </a:cubicBezTo>
                  <a:cubicBezTo>
                    <a:pt x="3" y="23"/>
                    <a:pt x="15" y="9"/>
                    <a:pt x="36" y="3"/>
                  </a:cubicBezTo>
                  <a:cubicBezTo>
                    <a:pt x="42" y="1"/>
                    <a:pt x="50" y="0"/>
                    <a:pt x="57" y="0"/>
                  </a:cubicBezTo>
                  <a:cubicBezTo>
                    <a:pt x="68" y="0"/>
                    <a:pt x="95" y="3"/>
                    <a:pt x="105" y="24"/>
                  </a:cubicBezTo>
                  <a:cubicBezTo>
                    <a:pt x="106" y="26"/>
                    <a:pt x="106" y="26"/>
                    <a:pt x="106" y="26"/>
                  </a:cubicBezTo>
                  <a:cubicBezTo>
                    <a:pt x="90" y="36"/>
                    <a:pt x="90" y="36"/>
                    <a:pt x="90" y="36"/>
                  </a:cubicBezTo>
                  <a:cubicBezTo>
                    <a:pt x="89" y="34"/>
                    <a:pt x="89" y="34"/>
                    <a:pt x="89" y="34"/>
                  </a:cubicBezTo>
                  <a:cubicBezTo>
                    <a:pt x="81" y="21"/>
                    <a:pt x="66" y="20"/>
                    <a:pt x="58" y="20"/>
                  </a:cubicBezTo>
                  <a:cubicBezTo>
                    <a:pt x="52" y="20"/>
                    <a:pt x="46" y="20"/>
                    <a:pt x="41" y="22"/>
                  </a:cubicBezTo>
                  <a:cubicBezTo>
                    <a:pt x="34" y="24"/>
                    <a:pt x="22" y="29"/>
                    <a:pt x="22" y="41"/>
                  </a:cubicBezTo>
                  <a:cubicBezTo>
                    <a:pt x="22" y="56"/>
                    <a:pt x="35" y="59"/>
                    <a:pt x="56" y="62"/>
                  </a:cubicBezTo>
                  <a:cubicBezTo>
                    <a:pt x="81" y="65"/>
                    <a:pt x="108" y="68"/>
                    <a:pt x="108" y="101"/>
                  </a:cubicBezTo>
                  <a:cubicBezTo>
                    <a:pt x="107" y="119"/>
                    <a:pt x="95" y="133"/>
                    <a:pt x="75" y="138"/>
                  </a:cubicBezTo>
                  <a:cubicBezTo>
                    <a:pt x="68" y="140"/>
                    <a:pt x="61" y="141"/>
                    <a:pt x="53" y="141"/>
                  </a:cubicBezTo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6" name="Freeform 32"/>
            <p:cNvSpPr>
              <a:spLocks/>
            </p:cNvSpPr>
            <p:nvPr userDrawn="1"/>
          </p:nvSpPr>
          <p:spPr bwMode="auto">
            <a:xfrm>
              <a:off x="3381" y="1404"/>
              <a:ext cx="1042" cy="810"/>
            </a:xfrm>
            <a:custGeom>
              <a:avLst/>
              <a:gdLst>
                <a:gd name="T0" fmla="*/ 179 w 179"/>
                <a:gd name="T1" fmla="*/ 139 h 139"/>
                <a:gd name="T2" fmla="*/ 160 w 179"/>
                <a:gd name="T3" fmla="*/ 139 h 139"/>
                <a:gd name="T4" fmla="*/ 160 w 179"/>
                <a:gd name="T5" fmla="*/ 40 h 139"/>
                <a:gd name="T6" fmla="*/ 129 w 179"/>
                <a:gd name="T7" fmla="*/ 18 h 139"/>
                <a:gd name="T8" fmla="*/ 99 w 179"/>
                <a:gd name="T9" fmla="*/ 39 h 139"/>
                <a:gd name="T10" fmla="*/ 99 w 179"/>
                <a:gd name="T11" fmla="*/ 139 h 139"/>
                <a:gd name="T12" fmla="*/ 80 w 179"/>
                <a:gd name="T13" fmla="*/ 139 h 139"/>
                <a:gd name="T14" fmla="*/ 80 w 179"/>
                <a:gd name="T15" fmla="*/ 39 h 139"/>
                <a:gd name="T16" fmla="*/ 51 w 179"/>
                <a:gd name="T17" fmla="*/ 18 h 139"/>
                <a:gd name="T18" fmla="*/ 51 w 179"/>
                <a:gd name="T19" fmla="*/ 18 h 139"/>
                <a:gd name="T20" fmla="*/ 19 w 179"/>
                <a:gd name="T21" fmla="*/ 42 h 139"/>
                <a:gd name="T22" fmla="*/ 19 w 179"/>
                <a:gd name="T23" fmla="*/ 139 h 139"/>
                <a:gd name="T24" fmla="*/ 0 w 179"/>
                <a:gd name="T25" fmla="*/ 139 h 139"/>
                <a:gd name="T26" fmla="*/ 0 w 179"/>
                <a:gd name="T27" fmla="*/ 1 h 139"/>
                <a:gd name="T28" fmla="*/ 19 w 179"/>
                <a:gd name="T29" fmla="*/ 1 h 139"/>
                <a:gd name="T30" fmla="*/ 19 w 179"/>
                <a:gd name="T31" fmla="*/ 10 h 139"/>
                <a:gd name="T32" fmla="*/ 53 w 179"/>
                <a:gd name="T33" fmla="*/ 0 h 139"/>
                <a:gd name="T34" fmla="*/ 90 w 179"/>
                <a:gd name="T35" fmla="*/ 16 h 139"/>
                <a:gd name="T36" fmla="*/ 130 w 179"/>
                <a:gd name="T37" fmla="*/ 0 h 139"/>
                <a:gd name="T38" fmla="*/ 179 w 179"/>
                <a:gd name="T39" fmla="*/ 40 h 139"/>
                <a:gd name="T40" fmla="*/ 179 w 179"/>
                <a:gd name="T41" fmla="*/ 13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9" h="139">
                  <a:moveTo>
                    <a:pt x="179" y="139"/>
                  </a:moveTo>
                  <a:cubicBezTo>
                    <a:pt x="160" y="139"/>
                    <a:pt x="160" y="139"/>
                    <a:pt x="160" y="139"/>
                  </a:cubicBezTo>
                  <a:cubicBezTo>
                    <a:pt x="160" y="40"/>
                    <a:pt x="160" y="40"/>
                    <a:pt x="160" y="40"/>
                  </a:cubicBezTo>
                  <a:cubicBezTo>
                    <a:pt x="160" y="24"/>
                    <a:pt x="143" y="18"/>
                    <a:pt x="129" y="18"/>
                  </a:cubicBezTo>
                  <a:cubicBezTo>
                    <a:pt x="116" y="18"/>
                    <a:pt x="100" y="24"/>
                    <a:pt x="99" y="39"/>
                  </a:cubicBezTo>
                  <a:cubicBezTo>
                    <a:pt x="99" y="139"/>
                    <a:pt x="99" y="139"/>
                    <a:pt x="99" y="139"/>
                  </a:cubicBezTo>
                  <a:cubicBezTo>
                    <a:pt x="80" y="139"/>
                    <a:pt x="80" y="139"/>
                    <a:pt x="80" y="139"/>
                  </a:cubicBezTo>
                  <a:cubicBezTo>
                    <a:pt x="80" y="39"/>
                    <a:pt x="80" y="39"/>
                    <a:pt x="80" y="39"/>
                  </a:cubicBezTo>
                  <a:cubicBezTo>
                    <a:pt x="79" y="24"/>
                    <a:pt x="65" y="18"/>
                    <a:pt x="51" y="18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35" y="18"/>
                    <a:pt x="19" y="27"/>
                    <a:pt x="19" y="42"/>
                  </a:cubicBezTo>
                  <a:cubicBezTo>
                    <a:pt x="19" y="139"/>
                    <a:pt x="19" y="139"/>
                    <a:pt x="19" y="139"/>
                  </a:cubicBezTo>
                  <a:cubicBezTo>
                    <a:pt x="0" y="139"/>
                    <a:pt x="0" y="139"/>
                    <a:pt x="0" y="1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28" y="3"/>
                    <a:pt x="39" y="0"/>
                    <a:pt x="53" y="0"/>
                  </a:cubicBezTo>
                  <a:cubicBezTo>
                    <a:pt x="70" y="0"/>
                    <a:pt x="84" y="6"/>
                    <a:pt x="90" y="16"/>
                  </a:cubicBezTo>
                  <a:cubicBezTo>
                    <a:pt x="100" y="5"/>
                    <a:pt x="117" y="0"/>
                    <a:pt x="130" y="0"/>
                  </a:cubicBezTo>
                  <a:cubicBezTo>
                    <a:pt x="154" y="1"/>
                    <a:pt x="179" y="13"/>
                    <a:pt x="179" y="40"/>
                  </a:cubicBezTo>
                  <a:lnTo>
                    <a:pt x="179" y="139"/>
                  </a:lnTo>
                  <a:close/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5" name="Freeform 31"/>
            <p:cNvSpPr>
              <a:spLocks/>
            </p:cNvSpPr>
            <p:nvPr userDrawn="1"/>
          </p:nvSpPr>
          <p:spPr bwMode="auto">
            <a:xfrm>
              <a:off x="2630" y="1416"/>
              <a:ext cx="617" cy="804"/>
            </a:xfrm>
            <a:custGeom>
              <a:avLst/>
              <a:gdLst>
                <a:gd name="T0" fmla="*/ 54 w 106"/>
                <a:gd name="T1" fmla="*/ 138 h 138"/>
                <a:gd name="T2" fmla="*/ 54 w 106"/>
                <a:gd name="T3" fmla="*/ 138 h 138"/>
                <a:gd name="T4" fmla="*/ 0 w 106"/>
                <a:gd name="T5" fmla="*/ 98 h 138"/>
                <a:gd name="T6" fmla="*/ 0 w 106"/>
                <a:gd name="T7" fmla="*/ 15 h 138"/>
                <a:gd name="T8" fmla="*/ 19 w 106"/>
                <a:gd name="T9" fmla="*/ 1 h 138"/>
                <a:gd name="T10" fmla="*/ 19 w 106"/>
                <a:gd name="T11" fmla="*/ 98 h 138"/>
                <a:gd name="T12" fmla="*/ 53 w 106"/>
                <a:gd name="T13" fmla="*/ 119 h 138"/>
                <a:gd name="T14" fmla="*/ 87 w 106"/>
                <a:gd name="T15" fmla="*/ 96 h 138"/>
                <a:gd name="T16" fmla="*/ 87 w 106"/>
                <a:gd name="T17" fmla="*/ 0 h 138"/>
                <a:gd name="T18" fmla="*/ 106 w 106"/>
                <a:gd name="T19" fmla="*/ 0 h 138"/>
                <a:gd name="T20" fmla="*/ 106 w 106"/>
                <a:gd name="T21" fmla="*/ 137 h 138"/>
                <a:gd name="T22" fmla="*/ 87 w 106"/>
                <a:gd name="T23" fmla="*/ 137 h 138"/>
                <a:gd name="T24" fmla="*/ 87 w 106"/>
                <a:gd name="T25" fmla="*/ 128 h 138"/>
                <a:gd name="T26" fmla="*/ 54 w 106"/>
                <a:gd name="T27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6" h="138">
                  <a:moveTo>
                    <a:pt x="54" y="138"/>
                  </a:moveTo>
                  <a:cubicBezTo>
                    <a:pt x="54" y="138"/>
                    <a:pt x="54" y="138"/>
                    <a:pt x="54" y="138"/>
                  </a:cubicBezTo>
                  <a:cubicBezTo>
                    <a:pt x="27" y="138"/>
                    <a:pt x="0" y="126"/>
                    <a:pt x="0" y="9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98"/>
                    <a:pt x="19" y="98"/>
                    <a:pt x="19" y="98"/>
                  </a:cubicBezTo>
                  <a:cubicBezTo>
                    <a:pt x="19" y="112"/>
                    <a:pt x="36" y="119"/>
                    <a:pt x="53" y="119"/>
                  </a:cubicBezTo>
                  <a:cubicBezTo>
                    <a:pt x="70" y="119"/>
                    <a:pt x="87" y="112"/>
                    <a:pt x="87" y="96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6" y="137"/>
                    <a:pt x="106" y="137"/>
                    <a:pt x="106" y="137"/>
                  </a:cubicBezTo>
                  <a:cubicBezTo>
                    <a:pt x="87" y="137"/>
                    <a:pt x="87" y="137"/>
                    <a:pt x="87" y="137"/>
                  </a:cubicBezTo>
                  <a:cubicBezTo>
                    <a:pt x="87" y="128"/>
                    <a:pt x="87" y="128"/>
                    <a:pt x="87" y="128"/>
                  </a:cubicBezTo>
                  <a:cubicBezTo>
                    <a:pt x="79" y="134"/>
                    <a:pt x="68" y="138"/>
                    <a:pt x="54" y="138"/>
                  </a:cubicBezTo>
                  <a:close/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7" name="Freeform 33"/>
            <p:cNvSpPr>
              <a:spLocks/>
            </p:cNvSpPr>
            <p:nvPr userDrawn="1"/>
          </p:nvSpPr>
          <p:spPr bwMode="auto">
            <a:xfrm>
              <a:off x="4563" y="1439"/>
              <a:ext cx="111" cy="775"/>
            </a:xfrm>
            <a:custGeom>
              <a:avLst/>
              <a:gdLst>
                <a:gd name="T0" fmla="*/ 111 w 111"/>
                <a:gd name="T1" fmla="*/ 775 h 775"/>
                <a:gd name="T2" fmla="*/ 0 w 111"/>
                <a:gd name="T3" fmla="*/ 775 h 775"/>
                <a:gd name="T4" fmla="*/ 0 w 111"/>
                <a:gd name="T5" fmla="*/ 82 h 775"/>
                <a:gd name="T6" fmla="*/ 111 w 111"/>
                <a:gd name="T7" fmla="*/ 0 h 775"/>
                <a:gd name="T8" fmla="*/ 111 w 111"/>
                <a:gd name="T9" fmla="*/ 775 h 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775">
                  <a:moveTo>
                    <a:pt x="111" y="775"/>
                  </a:moveTo>
                  <a:lnTo>
                    <a:pt x="0" y="775"/>
                  </a:lnTo>
                  <a:lnTo>
                    <a:pt x="0" y="82"/>
                  </a:lnTo>
                  <a:lnTo>
                    <a:pt x="111" y="0"/>
                  </a:lnTo>
                  <a:lnTo>
                    <a:pt x="111" y="775"/>
                  </a:lnTo>
                  <a:close/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9" name="Freeform 35"/>
            <p:cNvSpPr>
              <a:spLocks noEditPoints="1"/>
            </p:cNvSpPr>
            <p:nvPr userDrawn="1"/>
          </p:nvSpPr>
          <p:spPr bwMode="auto">
            <a:xfrm>
              <a:off x="5262" y="2098"/>
              <a:ext cx="128" cy="128"/>
            </a:xfrm>
            <a:custGeom>
              <a:avLst/>
              <a:gdLst>
                <a:gd name="T0" fmla="*/ 22 w 22"/>
                <a:gd name="T1" fmla="*/ 11 h 22"/>
                <a:gd name="T2" fmla="*/ 11 w 22"/>
                <a:gd name="T3" fmla="*/ 22 h 22"/>
                <a:gd name="T4" fmla="*/ 0 w 22"/>
                <a:gd name="T5" fmla="*/ 11 h 22"/>
                <a:gd name="T6" fmla="*/ 11 w 22"/>
                <a:gd name="T7" fmla="*/ 0 h 22"/>
                <a:gd name="T8" fmla="*/ 22 w 22"/>
                <a:gd name="T9" fmla="*/ 11 h 22"/>
                <a:gd name="T10" fmla="*/ 2 w 22"/>
                <a:gd name="T11" fmla="*/ 11 h 22"/>
                <a:gd name="T12" fmla="*/ 11 w 22"/>
                <a:gd name="T13" fmla="*/ 20 h 22"/>
                <a:gd name="T14" fmla="*/ 19 w 22"/>
                <a:gd name="T15" fmla="*/ 11 h 22"/>
                <a:gd name="T16" fmla="*/ 11 w 22"/>
                <a:gd name="T17" fmla="*/ 2 h 22"/>
                <a:gd name="T18" fmla="*/ 2 w 22"/>
                <a:gd name="T19" fmla="*/ 11 h 22"/>
                <a:gd name="T20" fmla="*/ 9 w 22"/>
                <a:gd name="T21" fmla="*/ 17 h 22"/>
                <a:gd name="T22" fmla="*/ 7 w 22"/>
                <a:gd name="T23" fmla="*/ 17 h 22"/>
                <a:gd name="T24" fmla="*/ 7 w 22"/>
                <a:gd name="T25" fmla="*/ 6 h 22"/>
                <a:gd name="T26" fmla="*/ 11 w 22"/>
                <a:gd name="T27" fmla="*/ 5 h 22"/>
                <a:gd name="T28" fmla="*/ 14 w 22"/>
                <a:gd name="T29" fmla="*/ 6 h 22"/>
                <a:gd name="T30" fmla="*/ 16 w 22"/>
                <a:gd name="T31" fmla="*/ 9 h 22"/>
                <a:gd name="T32" fmla="*/ 13 w 22"/>
                <a:gd name="T33" fmla="*/ 11 h 22"/>
                <a:gd name="T34" fmla="*/ 13 w 22"/>
                <a:gd name="T35" fmla="*/ 11 h 22"/>
                <a:gd name="T36" fmla="*/ 15 w 22"/>
                <a:gd name="T37" fmla="*/ 14 h 22"/>
                <a:gd name="T38" fmla="*/ 16 w 22"/>
                <a:gd name="T39" fmla="*/ 17 h 22"/>
                <a:gd name="T40" fmla="*/ 13 w 22"/>
                <a:gd name="T41" fmla="*/ 17 h 22"/>
                <a:gd name="T42" fmla="*/ 13 w 22"/>
                <a:gd name="T43" fmla="*/ 14 h 22"/>
                <a:gd name="T44" fmla="*/ 10 w 22"/>
                <a:gd name="T45" fmla="*/ 12 h 22"/>
                <a:gd name="T46" fmla="*/ 9 w 22"/>
                <a:gd name="T47" fmla="*/ 12 h 22"/>
                <a:gd name="T48" fmla="*/ 9 w 22"/>
                <a:gd name="T49" fmla="*/ 17 h 22"/>
                <a:gd name="T50" fmla="*/ 9 w 22"/>
                <a:gd name="T51" fmla="*/ 11 h 22"/>
                <a:gd name="T52" fmla="*/ 10 w 22"/>
                <a:gd name="T53" fmla="*/ 11 h 22"/>
                <a:gd name="T54" fmla="*/ 13 w 22"/>
                <a:gd name="T55" fmla="*/ 9 h 22"/>
                <a:gd name="T56" fmla="*/ 11 w 22"/>
                <a:gd name="T57" fmla="*/ 7 h 22"/>
                <a:gd name="T58" fmla="*/ 9 w 22"/>
                <a:gd name="T59" fmla="*/ 7 h 22"/>
                <a:gd name="T60" fmla="*/ 9 w 22"/>
                <a:gd name="T61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2" h="22">
                  <a:moveTo>
                    <a:pt x="22" y="11"/>
                  </a:moveTo>
                  <a:cubicBezTo>
                    <a:pt x="22" y="17"/>
                    <a:pt x="17" y="22"/>
                    <a:pt x="11" y="22"/>
                  </a:cubicBezTo>
                  <a:cubicBezTo>
                    <a:pt x="5" y="22"/>
                    <a:pt x="0" y="17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17" y="0"/>
                    <a:pt x="22" y="5"/>
                    <a:pt x="22" y="11"/>
                  </a:cubicBezTo>
                  <a:moveTo>
                    <a:pt x="2" y="11"/>
                  </a:moveTo>
                  <a:cubicBezTo>
                    <a:pt x="2" y="16"/>
                    <a:pt x="6" y="20"/>
                    <a:pt x="11" y="20"/>
                  </a:cubicBezTo>
                  <a:cubicBezTo>
                    <a:pt x="16" y="20"/>
                    <a:pt x="19" y="16"/>
                    <a:pt x="19" y="11"/>
                  </a:cubicBezTo>
                  <a:cubicBezTo>
                    <a:pt x="19" y="6"/>
                    <a:pt x="16" y="2"/>
                    <a:pt x="11" y="2"/>
                  </a:cubicBezTo>
                  <a:cubicBezTo>
                    <a:pt x="6" y="2"/>
                    <a:pt x="2" y="6"/>
                    <a:pt x="2" y="11"/>
                  </a:cubicBezTo>
                  <a:moveTo>
                    <a:pt x="9" y="17"/>
                  </a:moveTo>
                  <a:cubicBezTo>
                    <a:pt x="7" y="17"/>
                    <a:pt x="7" y="17"/>
                    <a:pt x="7" y="17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8" y="6"/>
                    <a:pt x="9" y="5"/>
                    <a:pt x="11" y="5"/>
                  </a:cubicBezTo>
                  <a:cubicBezTo>
                    <a:pt x="13" y="5"/>
                    <a:pt x="14" y="6"/>
                    <a:pt x="14" y="6"/>
                  </a:cubicBezTo>
                  <a:cubicBezTo>
                    <a:pt x="15" y="7"/>
                    <a:pt x="16" y="8"/>
                    <a:pt x="16" y="9"/>
                  </a:cubicBezTo>
                  <a:cubicBezTo>
                    <a:pt x="16" y="10"/>
                    <a:pt x="14" y="11"/>
                    <a:pt x="13" y="11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4" y="12"/>
                    <a:pt x="15" y="13"/>
                    <a:pt x="15" y="14"/>
                  </a:cubicBezTo>
                  <a:cubicBezTo>
                    <a:pt x="16" y="16"/>
                    <a:pt x="16" y="16"/>
                    <a:pt x="16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16"/>
                    <a:pt x="13" y="15"/>
                    <a:pt x="13" y="14"/>
                  </a:cubicBezTo>
                  <a:cubicBezTo>
                    <a:pt x="12" y="13"/>
                    <a:pt x="12" y="12"/>
                    <a:pt x="10" y="12"/>
                  </a:cubicBezTo>
                  <a:cubicBezTo>
                    <a:pt x="9" y="12"/>
                    <a:pt x="9" y="12"/>
                    <a:pt x="9" y="12"/>
                  </a:cubicBezTo>
                  <a:lnTo>
                    <a:pt x="9" y="17"/>
                  </a:lnTo>
                  <a:close/>
                  <a:moveTo>
                    <a:pt x="9" y="11"/>
                  </a:moveTo>
                  <a:cubicBezTo>
                    <a:pt x="10" y="11"/>
                    <a:pt x="10" y="11"/>
                    <a:pt x="10" y="11"/>
                  </a:cubicBezTo>
                  <a:cubicBezTo>
                    <a:pt x="12" y="11"/>
                    <a:pt x="13" y="10"/>
                    <a:pt x="13" y="9"/>
                  </a:cubicBezTo>
                  <a:cubicBezTo>
                    <a:pt x="13" y="8"/>
                    <a:pt x="12" y="7"/>
                    <a:pt x="11" y="7"/>
                  </a:cubicBezTo>
                  <a:cubicBezTo>
                    <a:pt x="10" y="7"/>
                    <a:pt x="9" y="7"/>
                    <a:pt x="9" y="7"/>
                  </a:cubicBezTo>
                  <a:lnTo>
                    <a:pt x="9" y="11"/>
                  </a:lnTo>
                  <a:close/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3" name="Freeform 39"/>
            <p:cNvSpPr>
              <a:spLocks noEditPoints="1"/>
            </p:cNvSpPr>
            <p:nvPr userDrawn="1"/>
          </p:nvSpPr>
          <p:spPr bwMode="auto">
            <a:xfrm>
              <a:off x="3200" y="2378"/>
              <a:ext cx="41" cy="845"/>
            </a:xfrm>
            <a:custGeom>
              <a:avLst/>
              <a:gdLst>
                <a:gd name="T0" fmla="*/ 0 w 41"/>
                <a:gd name="T1" fmla="*/ 0 h 845"/>
                <a:gd name="T2" fmla="*/ 41 w 41"/>
                <a:gd name="T3" fmla="*/ 0 h 845"/>
                <a:gd name="T4" fmla="*/ 41 w 41"/>
                <a:gd name="T5" fmla="*/ 105 h 845"/>
                <a:gd name="T6" fmla="*/ 0 w 41"/>
                <a:gd name="T7" fmla="*/ 105 h 845"/>
                <a:gd name="T8" fmla="*/ 0 w 41"/>
                <a:gd name="T9" fmla="*/ 0 h 845"/>
                <a:gd name="T10" fmla="*/ 0 w 41"/>
                <a:gd name="T11" fmla="*/ 250 h 845"/>
                <a:gd name="T12" fmla="*/ 41 w 41"/>
                <a:gd name="T13" fmla="*/ 250 h 845"/>
                <a:gd name="T14" fmla="*/ 41 w 41"/>
                <a:gd name="T15" fmla="*/ 845 h 845"/>
                <a:gd name="T16" fmla="*/ 0 w 41"/>
                <a:gd name="T17" fmla="*/ 845 h 845"/>
                <a:gd name="T18" fmla="*/ 0 w 41"/>
                <a:gd name="T19" fmla="*/ 250 h 8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845">
                  <a:moveTo>
                    <a:pt x="0" y="0"/>
                  </a:moveTo>
                  <a:lnTo>
                    <a:pt x="41" y="0"/>
                  </a:lnTo>
                  <a:lnTo>
                    <a:pt x="41" y="105"/>
                  </a:lnTo>
                  <a:lnTo>
                    <a:pt x="0" y="105"/>
                  </a:lnTo>
                  <a:lnTo>
                    <a:pt x="0" y="0"/>
                  </a:lnTo>
                  <a:close/>
                  <a:moveTo>
                    <a:pt x="0" y="250"/>
                  </a:moveTo>
                  <a:lnTo>
                    <a:pt x="41" y="250"/>
                  </a:lnTo>
                  <a:lnTo>
                    <a:pt x="41" y="845"/>
                  </a:lnTo>
                  <a:lnTo>
                    <a:pt x="0" y="845"/>
                  </a:lnTo>
                  <a:lnTo>
                    <a:pt x="0" y="250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4" name="Freeform 40"/>
            <p:cNvSpPr>
              <a:spLocks/>
            </p:cNvSpPr>
            <p:nvPr userDrawn="1"/>
          </p:nvSpPr>
          <p:spPr bwMode="auto">
            <a:xfrm>
              <a:off x="3299" y="2378"/>
              <a:ext cx="210" cy="850"/>
            </a:xfrm>
            <a:custGeom>
              <a:avLst/>
              <a:gdLst>
                <a:gd name="T0" fmla="*/ 18 w 36"/>
                <a:gd name="T1" fmla="*/ 0 h 146"/>
                <a:gd name="T2" fmla="*/ 18 w 36"/>
                <a:gd name="T3" fmla="*/ 43 h 146"/>
                <a:gd name="T4" fmla="*/ 34 w 36"/>
                <a:gd name="T5" fmla="*/ 43 h 146"/>
                <a:gd name="T6" fmla="*/ 34 w 36"/>
                <a:gd name="T7" fmla="*/ 53 h 146"/>
                <a:gd name="T8" fmla="*/ 18 w 36"/>
                <a:gd name="T9" fmla="*/ 53 h 146"/>
                <a:gd name="T10" fmla="*/ 18 w 36"/>
                <a:gd name="T11" fmla="*/ 116 h 146"/>
                <a:gd name="T12" fmla="*/ 36 w 36"/>
                <a:gd name="T13" fmla="*/ 136 h 146"/>
                <a:gd name="T14" fmla="*/ 36 w 36"/>
                <a:gd name="T15" fmla="*/ 145 h 146"/>
                <a:gd name="T16" fmla="*/ 12 w 36"/>
                <a:gd name="T17" fmla="*/ 117 h 146"/>
                <a:gd name="T18" fmla="*/ 12 w 36"/>
                <a:gd name="T19" fmla="*/ 53 h 146"/>
                <a:gd name="T20" fmla="*/ 0 w 36"/>
                <a:gd name="T21" fmla="*/ 53 h 146"/>
                <a:gd name="T22" fmla="*/ 0 w 36"/>
                <a:gd name="T23" fmla="*/ 43 h 146"/>
                <a:gd name="T24" fmla="*/ 12 w 36"/>
                <a:gd name="T25" fmla="*/ 43 h 146"/>
                <a:gd name="T26" fmla="*/ 12 w 36"/>
                <a:gd name="T27" fmla="*/ 0 h 146"/>
                <a:gd name="T28" fmla="*/ 18 w 36"/>
                <a:gd name="T29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146">
                  <a:moveTo>
                    <a:pt x="18" y="0"/>
                  </a:moveTo>
                  <a:cubicBezTo>
                    <a:pt x="18" y="43"/>
                    <a:pt x="18" y="43"/>
                    <a:pt x="18" y="43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29" y="53"/>
                    <a:pt x="24" y="53"/>
                    <a:pt x="18" y="53"/>
                  </a:cubicBezTo>
                  <a:cubicBezTo>
                    <a:pt x="18" y="116"/>
                    <a:pt x="18" y="116"/>
                    <a:pt x="18" y="116"/>
                  </a:cubicBezTo>
                  <a:cubicBezTo>
                    <a:pt x="18" y="134"/>
                    <a:pt x="27" y="135"/>
                    <a:pt x="36" y="136"/>
                  </a:cubicBezTo>
                  <a:cubicBezTo>
                    <a:pt x="36" y="145"/>
                    <a:pt x="36" y="145"/>
                    <a:pt x="36" y="145"/>
                  </a:cubicBezTo>
                  <a:cubicBezTo>
                    <a:pt x="23" y="146"/>
                    <a:pt x="12" y="140"/>
                    <a:pt x="12" y="117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0"/>
                    <a:pt x="12" y="0"/>
                    <a:pt x="12" y="0"/>
                  </a:cubicBezTo>
                  <a:lnTo>
                    <a:pt x="18" y="0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7" name="Freeform 43"/>
            <p:cNvSpPr>
              <a:spLocks/>
            </p:cNvSpPr>
            <p:nvPr userDrawn="1"/>
          </p:nvSpPr>
          <p:spPr bwMode="auto">
            <a:xfrm>
              <a:off x="4295" y="2378"/>
              <a:ext cx="210" cy="850"/>
            </a:xfrm>
            <a:custGeom>
              <a:avLst/>
              <a:gdLst>
                <a:gd name="T0" fmla="*/ 19 w 36"/>
                <a:gd name="T1" fmla="*/ 0 h 146"/>
                <a:gd name="T2" fmla="*/ 19 w 36"/>
                <a:gd name="T3" fmla="*/ 43 h 146"/>
                <a:gd name="T4" fmla="*/ 35 w 36"/>
                <a:gd name="T5" fmla="*/ 43 h 146"/>
                <a:gd name="T6" fmla="*/ 35 w 36"/>
                <a:gd name="T7" fmla="*/ 53 h 146"/>
                <a:gd name="T8" fmla="*/ 19 w 36"/>
                <a:gd name="T9" fmla="*/ 53 h 146"/>
                <a:gd name="T10" fmla="*/ 19 w 36"/>
                <a:gd name="T11" fmla="*/ 116 h 146"/>
                <a:gd name="T12" fmla="*/ 36 w 36"/>
                <a:gd name="T13" fmla="*/ 136 h 146"/>
                <a:gd name="T14" fmla="*/ 36 w 36"/>
                <a:gd name="T15" fmla="*/ 145 h 146"/>
                <a:gd name="T16" fmla="*/ 12 w 36"/>
                <a:gd name="T17" fmla="*/ 117 h 146"/>
                <a:gd name="T18" fmla="*/ 12 w 36"/>
                <a:gd name="T19" fmla="*/ 53 h 146"/>
                <a:gd name="T20" fmla="*/ 0 w 36"/>
                <a:gd name="T21" fmla="*/ 53 h 146"/>
                <a:gd name="T22" fmla="*/ 0 w 36"/>
                <a:gd name="T23" fmla="*/ 43 h 146"/>
                <a:gd name="T24" fmla="*/ 12 w 36"/>
                <a:gd name="T25" fmla="*/ 43 h 146"/>
                <a:gd name="T26" fmla="*/ 12 w 36"/>
                <a:gd name="T27" fmla="*/ 0 h 146"/>
                <a:gd name="T28" fmla="*/ 19 w 36"/>
                <a:gd name="T29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146">
                  <a:moveTo>
                    <a:pt x="19" y="0"/>
                  </a:moveTo>
                  <a:cubicBezTo>
                    <a:pt x="19" y="43"/>
                    <a:pt x="19" y="43"/>
                    <a:pt x="19" y="43"/>
                  </a:cubicBezTo>
                  <a:cubicBezTo>
                    <a:pt x="35" y="43"/>
                    <a:pt x="35" y="43"/>
                    <a:pt x="35" y="43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29" y="53"/>
                    <a:pt x="24" y="53"/>
                    <a:pt x="19" y="53"/>
                  </a:cubicBezTo>
                  <a:cubicBezTo>
                    <a:pt x="19" y="116"/>
                    <a:pt x="19" y="116"/>
                    <a:pt x="19" y="116"/>
                  </a:cubicBezTo>
                  <a:cubicBezTo>
                    <a:pt x="19" y="134"/>
                    <a:pt x="27" y="135"/>
                    <a:pt x="36" y="136"/>
                  </a:cubicBezTo>
                  <a:cubicBezTo>
                    <a:pt x="36" y="145"/>
                    <a:pt x="36" y="145"/>
                    <a:pt x="36" y="145"/>
                  </a:cubicBezTo>
                  <a:cubicBezTo>
                    <a:pt x="24" y="146"/>
                    <a:pt x="12" y="140"/>
                    <a:pt x="12" y="117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0"/>
                    <a:pt x="12" y="0"/>
                    <a:pt x="12" y="0"/>
                  </a:cubicBezTo>
                  <a:lnTo>
                    <a:pt x="19" y="0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1" name="Freeform 37"/>
            <p:cNvSpPr>
              <a:spLocks noEditPoints="1"/>
            </p:cNvSpPr>
            <p:nvPr userDrawn="1"/>
          </p:nvSpPr>
          <p:spPr bwMode="auto">
            <a:xfrm>
              <a:off x="2402" y="2593"/>
              <a:ext cx="362" cy="647"/>
            </a:xfrm>
            <a:custGeom>
              <a:avLst/>
              <a:gdLst>
                <a:gd name="T0" fmla="*/ 49 w 62"/>
                <a:gd name="T1" fmla="*/ 34 h 111"/>
                <a:gd name="T2" fmla="*/ 47 w 62"/>
                <a:gd name="T3" fmla="*/ 25 h 111"/>
                <a:gd name="T4" fmla="*/ 36 w 62"/>
                <a:gd name="T5" fmla="*/ 16 h 111"/>
                <a:gd name="T6" fmla="*/ 25 w 62"/>
                <a:gd name="T7" fmla="*/ 16 h 111"/>
                <a:gd name="T8" fmla="*/ 13 w 62"/>
                <a:gd name="T9" fmla="*/ 27 h 111"/>
                <a:gd name="T10" fmla="*/ 7 w 62"/>
                <a:gd name="T11" fmla="*/ 21 h 111"/>
                <a:gd name="T12" fmla="*/ 53 w 62"/>
                <a:gd name="T13" fmla="*/ 19 h 111"/>
                <a:gd name="T14" fmla="*/ 56 w 62"/>
                <a:gd name="T15" fmla="*/ 35 h 111"/>
                <a:gd name="T16" fmla="*/ 56 w 62"/>
                <a:gd name="T17" fmla="*/ 89 h 111"/>
                <a:gd name="T18" fmla="*/ 62 w 62"/>
                <a:gd name="T19" fmla="*/ 99 h 111"/>
                <a:gd name="T20" fmla="*/ 62 w 62"/>
                <a:gd name="T21" fmla="*/ 108 h 111"/>
                <a:gd name="T22" fmla="*/ 50 w 62"/>
                <a:gd name="T23" fmla="*/ 100 h 111"/>
                <a:gd name="T24" fmla="*/ 30 w 62"/>
                <a:gd name="T25" fmla="*/ 111 h 111"/>
                <a:gd name="T26" fmla="*/ 21 w 62"/>
                <a:gd name="T27" fmla="*/ 109 h 111"/>
                <a:gd name="T28" fmla="*/ 14 w 62"/>
                <a:gd name="T29" fmla="*/ 53 h 111"/>
                <a:gd name="T30" fmla="*/ 49 w 62"/>
                <a:gd name="T31" fmla="*/ 47 h 111"/>
                <a:gd name="T32" fmla="*/ 49 w 62"/>
                <a:gd name="T33" fmla="*/ 34 h 111"/>
                <a:gd name="T34" fmla="*/ 49 w 62"/>
                <a:gd name="T35" fmla="*/ 57 h 111"/>
                <a:gd name="T36" fmla="*/ 18 w 62"/>
                <a:gd name="T37" fmla="*/ 61 h 111"/>
                <a:gd name="T38" fmla="*/ 22 w 62"/>
                <a:gd name="T39" fmla="*/ 99 h 111"/>
                <a:gd name="T40" fmla="*/ 30 w 62"/>
                <a:gd name="T41" fmla="*/ 100 h 111"/>
                <a:gd name="T42" fmla="*/ 49 w 62"/>
                <a:gd name="T43" fmla="*/ 83 h 111"/>
                <a:gd name="T44" fmla="*/ 49 w 62"/>
                <a:gd name="T45" fmla="*/ 57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2" h="111">
                  <a:moveTo>
                    <a:pt x="49" y="34"/>
                  </a:moveTo>
                  <a:cubicBezTo>
                    <a:pt x="49" y="31"/>
                    <a:pt x="49" y="28"/>
                    <a:pt x="47" y="25"/>
                  </a:cubicBezTo>
                  <a:cubicBezTo>
                    <a:pt x="45" y="20"/>
                    <a:pt x="41" y="17"/>
                    <a:pt x="36" y="16"/>
                  </a:cubicBezTo>
                  <a:cubicBezTo>
                    <a:pt x="32" y="15"/>
                    <a:pt x="29" y="15"/>
                    <a:pt x="25" y="16"/>
                  </a:cubicBezTo>
                  <a:cubicBezTo>
                    <a:pt x="20" y="17"/>
                    <a:pt x="16" y="20"/>
                    <a:pt x="13" y="27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15" y="1"/>
                    <a:pt x="44" y="0"/>
                    <a:pt x="53" y="19"/>
                  </a:cubicBezTo>
                  <a:cubicBezTo>
                    <a:pt x="55" y="24"/>
                    <a:pt x="56" y="29"/>
                    <a:pt x="56" y="35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97"/>
                    <a:pt x="59" y="99"/>
                    <a:pt x="62" y="99"/>
                  </a:cubicBezTo>
                  <a:cubicBezTo>
                    <a:pt x="62" y="108"/>
                    <a:pt x="62" y="108"/>
                    <a:pt x="62" y="108"/>
                  </a:cubicBezTo>
                  <a:cubicBezTo>
                    <a:pt x="57" y="109"/>
                    <a:pt x="52" y="106"/>
                    <a:pt x="50" y="100"/>
                  </a:cubicBezTo>
                  <a:cubicBezTo>
                    <a:pt x="44" y="109"/>
                    <a:pt x="37" y="111"/>
                    <a:pt x="30" y="111"/>
                  </a:cubicBezTo>
                  <a:cubicBezTo>
                    <a:pt x="27" y="111"/>
                    <a:pt x="24" y="110"/>
                    <a:pt x="21" y="109"/>
                  </a:cubicBezTo>
                  <a:cubicBezTo>
                    <a:pt x="2" y="101"/>
                    <a:pt x="0" y="67"/>
                    <a:pt x="14" y="53"/>
                  </a:cubicBezTo>
                  <a:cubicBezTo>
                    <a:pt x="22" y="44"/>
                    <a:pt x="36" y="43"/>
                    <a:pt x="49" y="47"/>
                  </a:cubicBezTo>
                  <a:lnTo>
                    <a:pt x="49" y="34"/>
                  </a:lnTo>
                  <a:close/>
                  <a:moveTo>
                    <a:pt x="49" y="57"/>
                  </a:moveTo>
                  <a:cubicBezTo>
                    <a:pt x="39" y="53"/>
                    <a:pt x="26" y="52"/>
                    <a:pt x="18" y="61"/>
                  </a:cubicBezTo>
                  <a:cubicBezTo>
                    <a:pt x="9" y="71"/>
                    <a:pt x="9" y="93"/>
                    <a:pt x="22" y="99"/>
                  </a:cubicBezTo>
                  <a:cubicBezTo>
                    <a:pt x="25" y="100"/>
                    <a:pt x="28" y="100"/>
                    <a:pt x="30" y="100"/>
                  </a:cubicBezTo>
                  <a:cubicBezTo>
                    <a:pt x="38" y="100"/>
                    <a:pt x="49" y="96"/>
                    <a:pt x="49" y="83"/>
                  </a:cubicBezTo>
                  <a:lnTo>
                    <a:pt x="49" y="57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8" name="Freeform 44"/>
            <p:cNvSpPr>
              <a:spLocks noEditPoints="1"/>
            </p:cNvSpPr>
            <p:nvPr userDrawn="1"/>
          </p:nvSpPr>
          <p:spPr bwMode="auto">
            <a:xfrm>
              <a:off x="4516" y="2593"/>
              <a:ext cx="362" cy="647"/>
            </a:xfrm>
            <a:custGeom>
              <a:avLst/>
              <a:gdLst>
                <a:gd name="T0" fmla="*/ 49 w 62"/>
                <a:gd name="T1" fmla="*/ 34 h 111"/>
                <a:gd name="T2" fmla="*/ 47 w 62"/>
                <a:gd name="T3" fmla="*/ 25 h 111"/>
                <a:gd name="T4" fmla="*/ 36 w 62"/>
                <a:gd name="T5" fmla="*/ 16 h 111"/>
                <a:gd name="T6" fmla="*/ 25 w 62"/>
                <a:gd name="T7" fmla="*/ 16 h 111"/>
                <a:gd name="T8" fmla="*/ 13 w 62"/>
                <a:gd name="T9" fmla="*/ 27 h 111"/>
                <a:gd name="T10" fmla="*/ 7 w 62"/>
                <a:gd name="T11" fmla="*/ 21 h 111"/>
                <a:gd name="T12" fmla="*/ 53 w 62"/>
                <a:gd name="T13" fmla="*/ 19 h 111"/>
                <a:gd name="T14" fmla="*/ 56 w 62"/>
                <a:gd name="T15" fmla="*/ 35 h 111"/>
                <a:gd name="T16" fmla="*/ 56 w 62"/>
                <a:gd name="T17" fmla="*/ 89 h 111"/>
                <a:gd name="T18" fmla="*/ 62 w 62"/>
                <a:gd name="T19" fmla="*/ 99 h 111"/>
                <a:gd name="T20" fmla="*/ 62 w 62"/>
                <a:gd name="T21" fmla="*/ 108 h 111"/>
                <a:gd name="T22" fmla="*/ 50 w 62"/>
                <a:gd name="T23" fmla="*/ 100 h 111"/>
                <a:gd name="T24" fmla="*/ 30 w 62"/>
                <a:gd name="T25" fmla="*/ 111 h 111"/>
                <a:gd name="T26" fmla="*/ 21 w 62"/>
                <a:gd name="T27" fmla="*/ 109 h 111"/>
                <a:gd name="T28" fmla="*/ 14 w 62"/>
                <a:gd name="T29" fmla="*/ 53 h 111"/>
                <a:gd name="T30" fmla="*/ 49 w 62"/>
                <a:gd name="T31" fmla="*/ 47 h 111"/>
                <a:gd name="T32" fmla="*/ 49 w 62"/>
                <a:gd name="T33" fmla="*/ 34 h 111"/>
                <a:gd name="T34" fmla="*/ 49 w 62"/>
                <a:gd name="T35" fmla="*/ 57 h 111"/>
                <a:gd name="T36" fmla="*/ 18 w 62"/>
                <a:gd name="T37" fmla="*/ 61 h 111"/>
                <a:gd name="T38" fmla="*/ 23 w 62"/>
                <a:gd name="T39" fmla="*/ 99 h 111"/>
                <a:gd name="T40" fmla="*/ 30 w 62"/>
                <a:gd name="T41" fmla="*/ 100 h 111"/>
                <a:gd name="T42" fmla="*/ 49 w 62"/>
                <a:gd name="T43" fmla="*/ 83 h 111"/>
                <a:gd name="T44" fmla="*/ 49 w 62"/>
                <a:gd name="T45" fmla="*/ 57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2" h="111">
                  <a:moveTo>
                    <a:pt x="49" y="34"/>
                  </a:moveTo>
                  <a:cubicBezTo>
                    <a:pt x="49" y="31"/>
                    <a:pt x="49" y="28"/>
                    <a:pt x="47" y="25"/>
                  </a:cubicBezTo>
                  <a:cubicBezTo>
                    <a:pt x="45" y="20"/>
                    <a:pt x="41" y="17"/>
                    <a:pt x="36" y="16"/>
                  </a:cubicBezTo>
                  <a:cubicBezTo>
                    <a:pt x="32" y="15"/>
                    <a:pt x="29" y="15"/>
                    <a:pt x="25" y="16"/>
                  </a:cubicBezTo>
                  <a:cubicBezTo>
                    <a:pt x="20" y="17"/>
                    <a:pt x="16" y="20"/>
                    <a:pt x="13" y="27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15" y="1"/>
                    <a:pt x="44" y="0"/>
                    <a:pt x="53" y="19"/>
                  </a:cubicBezTo>
                  <a:cubicBezTo>
                    <a:pt x="55" y="24"/>
                    <a:pt x="56" y="29"/>
                    <a:pt x="56" y="35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97"/>
                    <a:pt x="59" y="99"/>
                    <a:pt x="62" y="99"/>
                  </a:cubicBezTo>
                  <a:cubicBezTo>
                    <a:pt x="62" y="108"/>
                    <a:pt x="62" y="108"/>
                    <a:pt x="62" y="108"/>
                  </a:cubicBezTo>
                  <a:cubicBezTo>
                    <a:pt x="57" y="109"/>
                    <a:pt x="52" y="106"/>
                    <a:pt x="50" y="100"/>
                  </a:cubicBezTo>
                  <a:cubicBezTo>
                    <a:pt x="44" y="109"/>
                    <a:pt x="37" y="111"/>
                    <a:pt x="30" y="111"/>
                  </a:cubicBezTo>
                  <a:cubicBezTo>
                    <a:pt x="27" y="111"/>
                    <a:pt x="24" y="110"/>
                    <a:pt x="21" y="109"/>
                  </a:cubicBezTo>
                  <a:cubicBezTo>
                    <a:pt x="2" y="101"/>
                    <a:pt x="0" y="67"/>
                    <a:pt x="14" y="53"/>
                  </a:cubicBezTo>
                  <a:cubicBezTo>
                    <a:pt x="22" y="44"/>
                    <a:pt x="36" y="43"/>
                    <a:pt x="49" y="47"/>
                  </a:cubicBezTo>
                  <a:lnTo>
                    <a:pt x="49" y="34"/>
                  </a:lnTo>
                  <a:close/>
                  <a:moveTo>
                    <a:pt x="49" y="57"/>
                  </a:moveTo>
                  <a:cubicBezTo>
                    <a:pt x="39" y="53"/>
                    <a:pt x="26" y="52"/>
                    <a:pt x="18" y="61"/>
                  </a:cubicBezTo>
                  <a:cubicBezTo>
                    <a:pt x="9" y="71"/>
                    <a:pt x="10" y="93"/>
                    <a:pt x="23" y="99"/>
                  </a:cubicBezTo>
                  <a:cubicBezTo>
                    <a:pt x="25" y="100"/>
                    <a:pt x="28" y="100"/>
                    <a:pt x="30" y="100"/>
                  </a:cubicBezTo>
                  <a:cubicBezTo>
                    <a:pt x="38" y="100"/>
                    <a:pt x="49" y="96"/>
                    <a:pt x="49" y="83"/>
                  </a:cubicBezTo>
                  <a:lnTo>
                    <a:pt x="49" y="57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0" name="Freeform 36"/>
            <p:cNvSpPr>
              <a:spLocks/>
            </p:cNvSpPr>
            <p:nvPr userDrawn="1"/>
          </p:nvSpPr>
          <p:spPr bwMode="auto">
            <a:xfrm>
              <a:off x="1832" y="2622"/>
              <a:ext cx="506" cy="601"/>
            </a:xfrm>
            <a:custGeom>
              <a:avLst/>
              <a:gdLst>
                <a:gd name="T0" fmla="*/ 47 w 87"/>
                <a:gd name="T1" fmla="*/ 103 h 103"/>
                <a:gd name="T2" fmla="*/ 40 w 87"/>
                <a:gd name="T3" fmla="*/ 103 h 103"/>
                <a:gd name="T4" fmla="*/ 40 w 87"/>
                <a:gd name="T5" fmla="*/ 28 h 103"/>
                <a:gd name="T6" fmla="*/ 24 w 87"/>
                <a:gd name="T7" fmla="*/ 9 h 103"/>
                <a:gd name="T8" fmla="*/ 7 w 87"/>
                <a:gd name="T9" fmla="*/ 31 h 103"/>
                <a:gd name="T10" fmla="*/ 7 w 87"/>
                <a:gd name="T11" fmla="*/ 103 h 103"/>
                <a:gd name="T12" fmla="*/ 0 w 87"/>
                <a:gd name="T13" fmla="*/ 103 h 103"/>
                <a:gd name="T14" fmla="*/ 0 w 87"/>
                <a:gd name="T15" fmla="*/ 1 h 103"/>
                <a:gd name="T16" fmla="*/ 7 w 87"/>
                <a:gd name="T17" fmla="*/ 1 h 103"/>
                <a:gd name="T18" fmla="*/ 7 w 87"/>
                <a:gd name="T19" fmla="*/ 11 h 103"/>
                <a:gd name="T20" fmla="*/ 25 w 87"/>
                <a:gd name="T21" fmla="*/ 0 h 103"/>
                <a:gd name="T22" fmla="*/ 44 w 87"/>
                <a:gd name="T23" fmla="*/ 15 h 103"/>
                <a:gd name="T24" fmla="*/ 64 w 87"/>
                <a:gd name="T25" fmla="*/ 1 h 103"/>
                <a:gd name="T26" fmla="*/ 87 w 87"/>
                <a:gd name="T27" fmla="*/ 29 h 103"/>
                <a:gd name="T28" fmla="*/ 87 w 87"/>
                <a:gd name="T29" fmla="*/ 103 h 103"/>
                <a:gd name="T30" fmla="*/ 80 w 87"/>
                <a:gd name="T31" fmla="*/ 103 h 103"/>
                <a:gd name="T32" fmla="*/ 80 w 87"/>
                <a:gd name="T33" fmla="*/ 29 h 103"/>
                <a:gd name="T34" fmla="*/ 64 w 87"/>
                <a:gd name="T35" fmla="*/ 10 h 103"/>
                <a:gd name="T36" fmla="*/ 47 w 87"/>
                <a:gd name="T37" fmla="*/ 28 h 103"/>
                <a:gd name="T38" fmla="*/ 47 w 87"/>
                <a:gd name="T39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7" h="103">
                  <a:moveTo>
                    <a:pt x="47" y="103"/>
                  </a:moveTo>
                  <a:cubicBezTo>
                    <a:pt x="40" y="103"/>
                    <a:pt x="40" y="103"/>
                    <a:pt x="40" y="103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15"/>
                    <a:pt x="32" y="9"/>
                    <a:pt x="24" y="9"/>
                  </a:cubicBezTo>
                  <a:cubicBezTo>
                    <a:pt x="15" y="10"/>
                    <a:pt x="7" y="18"/>
                    <a:pt x="7" y="31"/>
                  </a:cubicBezTo>
                  <a:cubicBezTo>
                    <a:pt x="7" y="103"/>
                    <a:pt x="7" y="103"/>
                    <a:pt x="7" y="103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12" y="3"/>
                    <a:pt x="19" y="0"/>
                    <a:pt x="25" y="0"/>
                  </a:cubicBezTo>
                  <a:cubicBezTo>
                    <a:pt x="33" y="0"/>
                    <a:pt x="41" y="5"/>
                    <a:pt x="44" y="15"/>
                  </a:cubicBezTo>
                  <a:cubicBezTo>
                    <a:pt x="48" y="5"/>
                    <a:pt x="56" y="1"/>
                    <a:pt x="64" y="1"/>
                  </a:cubicBezTo>
                  <a:cubicBezTo>
                    <a:pt x="76" y="1"/>
                    <a:pt x="87" y="10"/>
                    <a:pt x="87" y="29"/>
                  </a:cubicBezTo>
                  <a:cubicBezTo>
                    <a:pt x="87" y="103"/>
                    <a:pt x="87" y="103"/>
                    <a:pt x="87" y="103"/>
                  </a:cubicBezTo>
                  <a:cubicBezTo>
                    <a:pt x="80" y="103"/>
                    <a:pt x="80" y="103"/>
                    <a:pt x="80" y="103"/>
                  </a:cubicBezTo>
                  <a:cubicBezTo>
                    <a:pt x="80" y="29"/>
                    <a:pt x="80" y="29"/>
                    <a:pt x="80" y="29"/>
                  </a:cubicBezTo>
                  <a:cubicBezTo>
                    <a:pt x="80" y="16"/>
                    <a:pt x="72" y="10"/>
                    <a:pt x="64" y="10"/>
                  </a:cubicBezTo>
                  <a:cubicBezTo>
                    <a:pt x="56" y="10"/>
                    <a:pt x="47" y="16"/>
                    <a:pt x="47" y="28"/>
                  </a:cubicBezTo>
                  <a:lnTo>
                    <a:pt x="47" y="103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2" name="Freeform 38"/>
            <p:cNvSpPr>
              <a:spLocks/>
            </p:cNvSpPr>
            <p:nvPr userDrawn="1"/>
          </p:nvSpPr>
          <p:spPr bwMode="auto">
            <a:xfrm>
              <a:off x="2822" y="2622"/>
              <a:ext cx="291" cy="612"/>
            </a:xfrm>
            <a:custGeom>
              <a:avLst/>
              <a:gdLst>
                <a:gd name="T0" fmla="*/ 50 w 50"/>
                <a:gd name="T1" fmla="*/ 76 h 105"/>
                <a:gd name="T2" fmla="*/ 35 w 50"/>
                <a:gd name="T3" fmla="*/ 102 h 105"/>
                <a:gd name="T4" fmla="*/ 35 w 50"/>
                <a:gd name="T5" fmla="*/ 102 h 105"/>
                <a:gd name="T6" fmla="*/ 15 w 50"/>
                <a:gd name="T7" fmla="*/ 102 h 105"/>
                <a:gd name="T8" fmla="*/ 0 w 50"/>
                <a:gd name="T9" fmla="*/ 76 h 105"/>
                <a:gd name="T10" fmla="*/ 0 w 50"/>
                <a:gd name="T11" fmla="*/ 29 h 105"/>
                <a:gd name="T12" fmla="*/ 15 w 50"/>
                <a:gd name="T13" fmla="*/ 2 h 105"/>
                <a:gd name="T14" fmla="*/ 25 w 50"/>
                <a:gd name="T15" fmla="*/ 0 h 105"/>
                <a:gd name="T16" fmla="*/ 35 w 50"/>
                <a:gd name="T17" fmla="*/ 2 h 105"/>
                <a:gd name="T18" fmla="*/ 50 w 50"/>
                <a:gd name="T19" fmla="*/ 29 h 105"/>
                <a:gd name="T20" fmla="*/ 44 w 50"/>
                <a:gd name="T21" fmla="*/ 29 h 105"/>
                <a:gd name="T22" fmla="*/ 33 w 50"/>
                <a:gd name="T23" fmla="*/ 12 h 105"/>
                <a:gd name="T24" fmla="*/ 25 w 50"/>
                <a:gd name="T25" fmla="*/ 11 h 105"/>
                <a:gd name="T26" fmla="*/ 17 w 50"/>
                <a:gd name="T27" fmla="*/ 12 h 105"/>
                <a:gd name="T28" fmla="*/ 7 w 50"/>
                <a:gd name="T29" fmla="*/ 29 h 105"/>
                <a:gd name="T30" fmla="*/ 7 w 50"/>
                <a:gd name="T31" fmla="*/ 76 h 105"/>
                <a:gd name="T32" fmla="*/ 17 w 50"/>
                <a:gd name="T33" fmla="*/ 92 h 105"/>
                <a:gd name="T34" fmla="*/ 33 w 50"/>
                <a:gd name="T35" fmla="*/ 92 h 105"/>
                <a:gd name="T36" fmla="*/ 33 w 50"/>
                <a:gd name="T37" fmla="*/ 92 h 105"/>
                <a:gd name="T38" fmla="*/ 44 w 50"/>
                <a:gd name="T39" fmla="*/ 76 h 105"/>
                <a:gd name="T40" fmla="*/ 50 w 50"/>
                <a:gd name="T41" fmla="*/ 76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0" h="105">
                  <a:moveTo>
                    <a:pt x="50" y="76"/>
                  </a:moveTo>
                  <a:cubicBezTo>
                    <a:pt x="50" y="90"/>
                    <a:pt x="44" y="99"/>
                    <a:pt x="35" y="102"/>
                  </a:cubicBezTo>
                  <a:cubicBezTo>
                    <a:pt x="35" y="102"/>
                    <a:pt x="35" y="102"/>
                    <a:pt x="35" y="102"/>
                  </a:cubicBezTo>
                  <a:cubicBezTo>
                    <a:pt x="29" y="105"/>
                    <a:pt x="22" y="105"/>
                    <a:pt x="15" y="102"/>
                  </a:cubicBezTo>
                  <a:cubicBezTo>
                    <a:pt x="7" y="99"/>
                    <a:pt x="0" y="90"/>
                    <a:pt x="0" y="76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4"/>
                    <a:pt x="7" y="6"/>
                    <a:pt x="15" y="2"/>
                  </a:cubicBezTo>
                  <a:cubicBezTo>
                    <a:pt x="18" y="1"/>
                    <a:pt x="22" y="0"/>
                    <a:pt x="25" y="0"/>
                  </a:cubicBezTo>
                  <a:cubicBezTo>
                    <a:pt x="28" y="0"/>
                    <a:pt x="32" y="1"/>
                    <a:pt x="35" y="2"/>
                  </a:cubicBezTo>
                  <a:cubicBezTo>
                    <a:pt x="44" y="6"/>
                    <a:pt x="50" y="15"/>
                    <a:pt x="50" y="29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0"/>
                    <a:pt x="39" y="15"/>
                    <a:pt x="33" y="12"/>
                  </a:cubicBezTo>
                  <a:cubicBezTo>
                    <a:pt x="31" y="11"/>
                    <a:pt x="28" y="11"/>
                    <a:pt x="25" y="11"/>
                  </a:cubicBezTo>
                  <a:cubicBezTo>
                    <a:pt x="22" y="11"/>
                    <a:pt x="20" y="11"/>
                    <a:pt x="17" y="12"/>
                  </a:cubicBezTo>
                  <a:cubicBezTo>
                    <a:pt x="12" y="14"/>
                    <a:pt x="7" y="19"/>
                    <a:pt x="7" y="29"/>
                  </a:cubicBezTo>
                  <a:cubicBezTo>
                    <a:pt x="7" y="76"/>
                    <a:pt x="7" y="76"/>
                    <a:pt x="7" y="76"/>
                  </a:cubicBezTo>
                  <a:cubicBezTo>
                    <a:pt x="7" y="85"/>
                    <a:pt x="12" y="90"/>
                    <a:pt x="17" y="92"/>
                  </a:cubicBezTo>
                  <a:cubicBezTo>
                    <a:pt x="22" y="95"/>
                    <a:pt x="28" y="95"/>
                    <a:pt x="33" y="92"/>
                  </a:cubicBezTo>
                  <a:cubicBezTo>
                    <a:pt x="33" y="92"/>
                    <a:pt x="33" y="92"/>
                    <a:pt x="33" y="92"/>
                  </a:cubicBezTo>
                  <a:cubicBezTo>
                    <a:pt x="39" y="90"/>
                    <a:pt x="44" y="85"/>
                    <a:pt x="44" y="76"/>
                  </a:cubicBezTo>
                  <a:lnTo>
                    <a:pt x="50" y="76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5" name="Freeform 41"/>
            <p:cNvSpPr>
              <a:spLocks noEditPoints="1"/>
            </p:cNvSpPr>
            <p:nvPr userDrawn="1"/>
          </p:nvSpPr>
          <p:spPr bwMode="auto">
            <a:xfrm>
              <a:off x="3573" y="2622"/>
              <a:ext cx="326" cy="606"/>
            </a:xfrm>
            <a:custGeom>
              <a:avLst/>
              <a:gdLst>
                <a:gd name="T0" fmla="*/ 7 w 56"/>
                <a:gd name="T1" fmla="*/ 75 h 104"/>
                <a:gd name="T2" fmla="*/ 8 w 56"/>
                <a:gd name="T3" fmla="*/ 84 h 104"/>
                <a:gd name="T4" fmla="*/ 20 w 56"/>
                <a:gd name="T5" fmla="*/ 93 h 104"/>
                <a:gd name="T6" fmla="*/ 30 w 56"/>
                <a:gd name="T7" fmla="*/ 93 h 104"/>
                <a:gd name="T8" fmla="*/ 43 w 56"/>
                <a:gd name="T9" fmla="*/ 82 h 104"/>
                <a:gd name="T10" fmla="*/ 49 w 56"/>
                <a:gd name="T11" fmla="*/ 88 h 104"/>
                <a:gd name="T12" fmla="*/ 31 w 56"/>
                <a:gd name="T13" fmla="*/ 103 h 104"/>
                <a:gd name="T14" fmla="*/ 19 w 56"/>
                <a:gd name="T15" fmla="*/ 103 h 104"/>
                <a:gd name="T16" fmla="*/ 3 w 56"/>
                <a:gd name="T17" fmla="*/ 90 h 104"/>
                <a:gd name="T18" fmla="*/ 0 w 56"/>
                <a:gd name="T19" fmla="*/ 74 h 104"/>
                <a:gd name="T20" fmla="*/ 0 w 56"/>
                <a:gd name="T21" fmla="*/ 28 h 104"/>
                <a:gd name="T22" fmla="*/ 15 w 56"/>
                <a:gd name="T23" fmla="*/ 2 h 104"/>
                <a:gd name="T24" fmla="*/ 35 w 56"/>
                <a:gd name="T25" fmla="*/ 2 h 104"/>
                <a:gd name="T26" fmla="*/ 39 w 56"/>
                <a:gd name="T27" fmla="*/ 59 h 104"/>
                <a:gd name="T28" fmla="*/ 7 w 56"/>
                <a:gd name="T29" fmla="*/ 64 h 104"/>
                <a:gd name="T30" fmla="*/ 7 w 56"/>
                <a:gd name="T31" fmla="*/ 75 h 104"/>
                <a:gd name="T32" fmla="*/ 7 w 56"/>
                <a:gd name="T33" fmla="*/ 55 h 104"/>
                <a:gd name="T34" fmla="*/ 36 w 56"/>
                <a:gd name="T35" fmla="*/ 50 h 104"/>
                <a:gd name="T36" fmla="*/ 33 w 56"/>
                <a:gd name="T37" fmla="*/ 12 h 104"/>
                <a:gd name="T38" fmla="*/ 17 w 56"/>
                <a:gd name="T39" fmla="*/ 12 h 104"/>
                <a:gd name="T40" fmla="*/ 7 w 56"/>
                <a:gd name="T41" fmla="*/ 28 h 104"/>
                <a:gd name="T42" fmla="*/ 7 w 56"/>
                <a:gd name="T43" fmla="*/ 55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6" h="104">
                  <a:moveTo>
                    <a:pt x="7" y="75"/>
                  </a:moveTo>
                  <a:cubicBezTo>
                    <a:pt x="7" y="78"/>
                    <a:pt x="7" y="81"/>
                    <a:pt x="8" y="84"/>
                  </a:cubicBezTo>
                  <a:cubicBezTo>
                    <a:pt x="11" y="88"/>
                    <a:pt x="15" y="92"/>
                    <a:pt x="20" y="93"/>
                  </a:cubicBezTo>
                  <a:cubicBezTo>
                    <a:pt x="23" y="94"/>
                    <a:pt x="27" y="94"/>
                    <a:pt x="30" y="93"/>
                  </a:cubicBezTo>
                  <a:cubicBezTo>
                    <a:pt x="35" y="92"/>
                    <a:pt x="40" y="89"/>
                    <a:pt x="43" y="82"/>
                  </a:cubicBezTo>
                  <a:cubicBezTo>
                    <a:pt x="49" y="88"/>
                    <a:pt x="49" y="88"/>
                    <a:pt x="49" y="88"/>
                  </a:cubicBezTo>
                  <a:cubicBezTo>
                    <a:pt x="45" y="97"/>
                    <a:pt x="38" y="102"/>
                    <a:pt x="31" y="103"/>
                  </a:cubicBezTo>
                  <a:cubicBezTo>
                    <a:pt x="27" y="104"/>
                    <a:pt x="23" y="104"/>
                    <a:pt x="19" y="103"/>
                  </a:cubicBezTo>
                  <a:cubicBezTo>
                    <a:pt x="13" y="102"/>
                    <a:pt x="6" y="97"/>
                    <a:pt x="3" y="90"/>
                  </a:cubicBezTo>
                  <a:cubicBezTo>
                    <a:pt x="1" y="85"/>
                    <a:pt x="0" y="80"/>
                    <a:pt x="0" y="74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4"/>
                    <a:pt x="7" y="6"/>
                    <a:pt x="15" y="2"/>
                  </a:cubicBezTo>
                  <a:cubicBezTo>
                    <a:pt x="22" y="0"/>
                    <a:pt x="29" y="0"/>
                    <a:pt x="35" y="2"/>
                  </a:cubicBezTo>
                  <a:cubicBezTo>
                    <a:pt x="53" y="10"/>
                    <a:pt x="56" y="46"/>
                    <a:pt x="39" y="59"/>
                  </a:cubicBezTo>
                  <a:cubicBezTo>
                    <a:pt x="30" y="67"/>
                    <a:pt x="16" y="64"/>
                    <a:pt x="7" y="64"/>
                  </a:cubicBezTo>
                  <a:lnTo>
                    <a:pt x="7" y="75"/>
                  </a:lnTo>
                  <a:close/>
                  <a:moveTo>
                    <a:pt x="7" y="55"/>
                  </a:moveTo>
                  <a:cubicBezTo>
                    <a:pt x="13" y="55"/>
                    <a:pt x="27" y="57"/>
                    <a:pt x="36" y="50"/>
                  </a:cubicBezTo>
                  <a:cubicBezTo>
                    <a:pt x="47" y="42"/>
                    <a:pt x="45" y="17"/>
                    <a:pt x="33" y="12"/>
                  </a:cubicBezTo>
                  <a:cubicBezTo>
                    <a:pt x="28" y="10"/>
                    <a:pt x="22" y="10"/>
                    <a:pt x="17" y="12"/>
                  </a:cubicBezTo>
                  <a:cubicBezTo>
                    <a:pt x="11" y="15"/>
                    <a:pt x="7" y="20"/>
                    <a:pt x="7" y="28"/>
                  </a:cubicBezTo>
                  <a:lnTo>
                    <a:pt x="7" y="55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6" name="Freeform 42"/>
            <p:cNvSpPr>
              <a:spLocks/>
            </p:cNvSpPr>
            <p:nvPr userDrawn="1"/>
          </p:nvSpPr>
          <p:spPr bwMode="auto">
            <a:xfrm>
              <a:off x="3934" y="2622"/>
              <a:ext cx="297" cy="601"/>
            </a:xfrm>
            <a:custGeom>
              <a:avLst/>
              <a:gdLst>
                <a:gd name="T0" fmla="*/ 44 w 51"/>
                <a:gd name="T1" fmla="*/ 103 h 103"/>
                <a:gd name="T2" fmla="*/ 44 w 51"/>
                <a:gd name="T3" fmla="*/ 29 h 103"/>
                <a:gd name="T4" fmla="*/ 26 w 51"/>
                <a:gd name="T5" fmla="*/ 10 h 103"/>
                <a:gd name="T6" fmla="*/ 7 w 51"/>
                <a:gd name="T7" fmla="*/ 31 h 103"/>
                <a:gd name="T8" fmla="*/ 7 w 51"/>
                <a:gd name="T9" fmla="*/ 103 h 103"/>
                <a:gd name="T10" fmla="*/ 0 w 51"/>
                <a:gd name="T11" fmla="*/ 103 h 103"/>
                <a:gd name="T12" fmla="*/ 0 w 51"/>
                <a:gd name="T13" fmla="*/ 1 h 103"/>
                <a:gd name="T14" fmla="*/ 7 w 51"/>
                <a:gd name="T15" fmla="*/ 1 h 103"/>
                <a:gd name="T16" fmla="*/ 7 w 51"/>
                <a:gd name="T17" fmla="*/ 11 h 103"/>
                <a:gd name="T18" fmla="*/ 26 w 51"/>
                <a:gd name="T19" fmla="*/ 0 h 103"/>
                <a:gd name="T20" fmla="*/ 51 w 51"/>
                <a:gd name="T21" fmla="*/ 29 h 103"/>
                <a:gd name="T22" fmla="*/ 51 w 51"/>
                <a:gd name="T23" fmla="*/ 103 h 103"/>
                <a:gd name="T24" fmla="*/ 44 w 51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1" h="103">
                  <a:moveTo>
                    <a:pt x="44" y="103"/>
                  </a:moveTo>
                  <a:cubicBezTo>
                    <a:pt x="44" y="29"/>
                    <a:pt x="44" y="29"/>
                    <a:pt x="44" y="29"/>
                  </a:cubicBezTo>
                  <a:cubicBezTo>
                    <a:pt x="44" y="17"/>
                    <a:pt x="35" y="10"/>
                    <a:pt x="26" y="10"/>
                  </a:cubicBezTo>
                  <a:cubicBezTo>
                    <a:pt x="17" y="10"/>
                    <a:pt x="7" y="17"/>
                    <a:pt x="7" y="31"/>
                  </a:cubicBezTo>
                  <a:cubicBezTo>
                    <a:pt x="7" y="103"/>
                    <a:pt x="7" y="103"/>
                    <a:pt x="7" y="103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12" y="2"/>
                    <a:pt x="19" y="0"/>
                    <a:pt x="26" y="0"/>
                  </a:cubicBezTo>
                  <a:cubicBezTo>
                    <a:pt x="38" y="0"/>
                    <a:pt x="51" y="9"/>
                    <a:pt x="51" y="29"/>
                  </a:cubicBezTo>
                  <a:cubicBezTo>
                    <a:pt x="51" y="103"/>
                    <a:pt x="51" y="103"/>
                    <a:pt x="51" y="103"/>
                  </a:cubicBezTo>
                  <a:lnTo>
                    <a:pt x="44" y="103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9" name="Freeform 45"/>
            <p:cNvSpPr>
              <a:spLocks/>
            </p:cNvSpPr>
            <p:nvPr userDrawn="1"/>
          </p:nvSpPr>
          <p:spPr bwMode="auto">
            <a:xfrm>
              <a:off x="4953" y="2622"/>
              <a:ext cx="291" cy="601"/>
            </a:xfrm>
            <a:custGeom>
              <a:avLst/>
              <a:gdLst>
                <a:gd name="T0" fmla="*/ 44 w 50"/>
                <a:gd name="T1" fmla="*/ 103 h 103"/>
                <a:gd name="T2" fmla="*/ 44 w 50"/>
                <a:gd name="T3" fmla="*/ 29 h 103"/>
                <a:gd name="T4" fmla="*/ 25 w 50"/>
                <a:gd name="T5" fmla="*/ 10 h 103"/>
                <a:gd name="T6" fmla="*/ 7 w 50"/>
                <a:gd name="T7" fmla="*/ 31 h 103"/>
                <a:gd name="T8" fmla="*/ 7 w 50"/>
                <a:gd name="T9" fmla="*/ 103 h 103"/>
                <a:gd name="T10" fmla="*/ 0 w 50"/>
                <a:gd name="T11" fmla="*/ 103 h 103"/>
                <a:gd name="T12" fmla="*/ 0 w 50"/>
                <a:gd name="T13" fmla="*/ 1 h 103"/>
                <a:gd name="T14" fmla="*/ 7 w 50"/>
                <a:gd name="T15" fmla="*/ 1 h 103"/>
                <a:gd name="T16" fmla="*/ 7 w 50"/>
                <a:gd name="T17" fmla="*/ 11 h 103"/>
                <a:gd name="T18" fmla="*/ 25 w 50"/>
                <a:gd name="T19" fmla="*/ 0 h 103"/>
                <a:gd name="T20" fmla="*/ 50 w 50"/>
                <a:gd name="T21" fmla="*/ 29 h 103"/>
                <a:gd name="T22" fmla="*/ 50 w 50"/>
                <a:gd name="T23" fmla="*/ 103 h 103"/>
                <a:gd name="T24" fmla="*/ 44 w 50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103">
                  <a:moveTo>
                    <a:pt x="44" y="103"/>
                  </a:moveTo>
                  <a:cubicBezTo>
                    <a:pt x="44" y="29"/>
                    <a:pt x="44" y="29"/>
                    <a:pt x="44" y="29"/>
                  </a:cubicBezTo>
                  <a:cubicBezTo>
                    <a:pt x="44" y="17"/>
                    <a:pt x="34" y="10"/>
                    <a:pt x="25" y="10"/>
                  </a:cubicBezTo>
                  <a:cubicBezTo>
                    <a:pt x="16" y="10"/>
                    <a:pt x="7" y="17"/>
                    <a:pt x="7" y="31"/>
                  </a:cubicBezTo>
                  <a:cubicBezTo>
                    <a:pt x="7" y="103"/>
                    <a:pt x="7" y="103"/>
                    <a:pt x="7" y="103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12" y="2"/>
                    <a:pt x="19" y="0"/>
                    <a:pt x="25" y="0"/>
                  </a:cubicBezTo>
                  <a:cubicBezTo>
                    <a:pt x="38" y="0"/>
                    <a:pt x="50" y="9"/>
                    <a:pt x="50" y="29"/>
                  </a:cubicBezTo>
                  <a:cubicBezTo>
                    <a:pt x="50" y="103"/>
                    <a:pt x="50" y="103"/>
                    <a:pt x="50" y="103"/>
                  </a:cubicBezTo>
                  <a:lnTo>
                    <a:pt x="44" y="103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</p:grpSp>
      <p:grpSp>
        <p:nvGrpSpPr>
          <p:cNvPr id="2" name="Group 8"/>
          <p:cNvGrpSpPr>
            <a:grpSpLocks noChangeAspect="1"/>
          </p:cNvGrpSpPr>
          <p:nvPr userDrawn="1"/>
        </p:nvGrpSpPr>
        <p:grpSpPr bwMode="auto">
          <a:xfrm>
            <a:off x="10208146" y="5766392"/>
            <a:ext cx="1649421" cy="887653"/>
            <a:chOff x="4458" y="2489"/>
            <a:chExt cx="1022" cy="550"/>
          </a:xfrm>
        </p:grpSpPr>
        <p:sp>
          <p:nvSpPr>
            <p:cNvPr id="8" name="Freeform 12"/>
            <p:cNvSpPr>
              <a:spLocks noEditPoints="1"/>
            </p:cNvSpPr>
            <p:nvPr userDrawn="1"/>
          </p:nvSpPr>
          <p:spPr bwMode="auto">
            <a:xfrm>
              <a:off x="4458" y="2489"/>
              <a:ext cx="517" cy="320"/>
            </a:xfrm>
            <a:custGeom>
              <a:avLst/>
              <a:gdLst>
                <a:gd name="T0" fmla="*/ 1280 w 4081"/>
                <a:gd name="T1" fmla="*/ 2149 h 2517"/>
                <a:gd name="T2" fmla="*/ 1557 w 4081"/>
                <a:gd name="T3" fmla="*/ 2392 h 2517"/>
                <a:gd name="T4" fmla="*/ 1280 w 4081"/>
                <a:gd name="T5" fmla="*/ 2149 h 2517"/>
                <a:gd name="T6" fmla="*/ 1136 w 4081"/>
                <a:gd name="T7" fmla="*/ 2284 h 2517"/>
                <a:gd name="T8" fmla="*/ 1082 w 4081"/>
                <a:gd name="T9" fmla="*/ 2094 h 2517"/>
                <a:gd name="T10" fmla="*/ 948 w 4081"/>
                <a:gd name="T11" fmla="*/ 2190 h 2517"/>
                <a:gd name="T12" fmla="*/ 1136 w 4081"/>
                <a:gd name="T13" fmla="*/ 2284 h 2517"/>
                <a:gd name="T14" fmla="*/ 524 w 4081"/>
                <a:gd name="T15" fmla="*/ 1811 h 2517"/>
                <a:gd name="T16" fmla="*/ 702 w 4081"/>
                <a:gd name="T17" fmla="*/ 2172 h 2517"/>
                <a:gd name="T18" fmla="*/ 524 w 4081"/>
                <a:gd name="T19" fmla="*/ 1811 h 2517"/>
                <a:gd name="T20" fmla="*/ 526 w 4081"/>
                <a:gd name="T21" fmla="*/ 1307 h 2517"/>
                <a:gd name="T22" fmla="*/ 559 w 4081"/>
                <a:gd name="T23" fmla="*/ 1513 h 2517"/>
                <a:gd name="T24" fmla="*/ 653 w 4081"/>
                <a:gd name="T25" fmla="*/ 1160 h 2517"/>
                <a:gd name="T26" fmla="*/ 526 w 4081"/>
                <a:gd name="T27" fmla="*/ 1307 h 2517"/>
                <a:gd name="T28" fmla="*/ 871 w 4081"/>
                <a:gd name="T29" fmla="*/ 1374 h 2517"/>
                <a:gd name="T30" fmla="*/ 882 w 4081"/>
                <a:gd name="T31" fmla="*/ 1723 h 2517"/>
                <a:gd name="T32" fmla="*/ 871 w 4081"/>
                <a:gd name="T33" fmla="*/ 1374 h 2517"/>
                <a:gd name="T34" fmla="*/ 1600 w 4081"/>
                <a:gd name="T35" fmla="*/ 344 h 2517"/>
                <a:gd name="T36" fmla="*/ 1560 w 4081"/>
                <a:gd name="T37" fmla="*/ 379 h 2517"/>
                <a:gd name="T38" fmla="*/ 1837 w 4081"/>
                <a:gd name="T39" fmla="*/ 332 h 2517"/>
                <a:gd name="T40" fmla="*/ 1600 w 4081"/>
                <a:gd name="T41" fmla="*/ 344 h 2517"/>
                <a:gd name="T42" fmla="*/ 1114 w 4081"/>
                <a:gd name="T43" fmla="*/ 561 h 2517"/>
                <a:gd name="T44" fmla="*/ 1418 w 4081"/>
                <a:gd name="T45" fmla="*/ 420 h 2517"/>
                <a:gd name="T46" fmla="*/ 1114 w 4081"/>
                <a:gd name="T47" fmla="*/ 561 h 2517"/>
                <a:gd name="T48" fmla="*/ 1453 w 4081"/>
                <a:gd name="T49" fmla="*/ 582 h 2517"/>
                <a:gd name="T50" fmla="*/ 1259 w 4081"/>
                <a:gd name="T51" fmla="*/ 676 h 2517"/>
                <a:gd name="T52" fmla="*/ 1405 w 4081"/>
                <a:gd name="T53" fmla="*/ 651 h 2517"/>
                <a:gd name="T54" fmla="*/ 1453 w 4081"/>
                <a:gd name="T55" fmla="*/ 582 h 2517"/>
                <a:gd name="T56" fmla="*/ 912 w 4081"/>
                <a:gd name="T57" fmla="*/ 1018 h 2517"/>
                <a:gd name="T58" fmla="*/ 1053 w 4081"/>
                <a:gd name="T59" fmla="*/ 995 h 2517"/>
                <a:gd name="T60" fmla="*/ 912 w 4081"/>
                <a:gd name="T61" fmla="*/ 1018 h 2517"/>
                <a:gd name="T62" fmla="*/ 871 w 4081"/>
                <a:gd name="T63" fmla="*/ 724 h 2517"/>
                <a:gd name="T64" fmla="*/ 777 w 4081"/>
                <a:gd name="T65" fmla="*/ 817 h 2517"/>
                <a:gd name="T66" fmla="*/ 937 w 4081"/>
                <a:gd name="T67" fmla="*/ 825 h 2517"/>
                <a:gd name="T68" fmla="*/ 871 w 4081"/>
                <a:gd name="T69" fmla="*/ 724 h 2517"/>
                <a:gd name="T70" fmla="*/ 1064 w 4081"/>
                <a:gd name="T71" fmla="*/ 1215 h 2517"/>
                <a:gd name="T72" fmla="*/ 1104 w 4081"/>
                <a:gd name="T73" fmla="*/ 1345 h 2517"/>
                <a:gd name="T74" fmla="*/ 1179 w 4081"/>
                <a:gd name="T75" fmla="*/ 1037 h 2517"/>
                <a:gd name="T76" fmla="*/ 1064 w 4081"/>
                <a:gd name="T77" fmla="*/ 1215 h 2517"/>
                <a:gd name="T78" fmla="*/ 1078 w 4081"/>
                <a:gd name="T79" fmla="*/ 1767 h 2517"/>
                <a:gd name="T80" fmla="*/ 1195 w 4081"/>
                <a:gd name="T81" fmla="*/ 1717 h 2517"/>
                <a:gd name="T82" fmla="*/ 1078 w 4081"/>
                <a:gd name="T83" fmla="*/ 1767 h 2517"/>
                <a:gd name="T84" fmla="*/ 339 w 4081"/>
                <a:gd name="T85" fmla="*/ 1073 h 2517"/>
                <a:gd name="T86" fmla="*/ 1357 w 4081"/>
                <a:gd name="T87" fmla="*/ 200 h 2517"/>
                <a:gd name="T88" fmla="*/ 4081 w 4081"/>
                <a:gd name="T89" fmla="*/ 1257 h 2517"/>
                <a:gd name="T90" fmla="*/ 1260 w 4081"/>
                <a:gd name="T91" fmla="*/ 336 h 2517"/>
                <a:gd name="T92" fmla="*/ 497 w 4081"/>
                <a:gd name="T93" fmla="*/ 2517 h 25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081" h="2517">
                  <a:moveTo>
                    <a:pt x="1280" y="2149"/>
                  </a:moveTo>
                  <a:lnTo>
                    <a:pt x="1280" y="2149"/>
                  </a:lnTo>
                  <a:cubicBezTo>
                    <a:pt x="1255" y="2174"/>
                    <a:pt x="1292" y="2247"/>
                    <a:pt x="1359" y="2314"/>
                  </a:cubicBezTo>
                  <a:cubicBezTo>
                    <a:pt x="1419" y="2375"/>
                    <a:pt x="1535" y="2439"/>
                    <a:pt x="1557" y="2392"/>
                  </a:cubicBezTo>
                  <a:cubicBezTo>
                    <a:pt x="1567" y="2369"/>
                    <a:pt x="1536" y="2315"/>
                    <a:pt x="1459" y="2238"/>
                  </a:cubicBezTo>
                  <a:cubicBezTo>
                    <a:pt x="1382" y="2161"/>
                    <a:pt x="1305" y="2124"/>
                    <a:pt x="1280" y="2149"/>
                  </a:cubicBezTo>
                  <a:lnTo>
                    <a:pt x="1280" y="2149"/>
                  </a:lnTo>
                  <a:close/>
                  <a:moveTo>
                    <a:pt x="1136" y="2284"/>
                  </a:moveTo>
                  <a:lnTo>
                    <a:pt x="1136" y="2284"/>
                  </a:lnTo>
                  <a:cubicBezTo>
                    <a:pt x="1173" y="2256"/>
                    <a:pt x="1142" y="2170"/>
                    <a:pt x="1082" y="2094"/>
                  </a:cubicBezTo>
                  <a:cubicBezTo>
                    <a:pt x="1013" y="2005"/>
                    <a:pt x="937" y="1957"/>
                    <a:pt x="900" y="1985"/>
                  </a:cubicBezTo>
                  <a:cubicBezTo>
                    <a:pt x="863" y="2014"/>
                    <a:pt x="885" y="2107"/>
                    <a:pt x="948" y="2190"/>
                  </a:cubicBezTo>
                  <a:cubicBezTo>
                    <a:pt x="1010" y="2272"/>
                    <a:pt x="1095" y="2317"/>
                    <a:pt x="1136" y="2284"/>
                  </a:cubicBezTo>
                  <a:lnTo>
                    <a:pt x="1136" y="2284"/>
                  </a:lnTo>
                  <a:close/>
                  <a:moveTo>
                    <a:pt x="524" y="1811"/>
                  </a:moveTo>
                  <a:lnTo>
                    <a:pt x="524" y="1811"/>
                  </a:lnTo>
                  <a:cubicBezTo>
                    <a:pt x="479" y="1833"/>
                    <a:pt x="487" y="1931"/>
                    <a:pt x="532" y="2034"/>
                  </a:cubicBezTo>
                  <a:cubicBezTo>
                    <a:pt x="583" y="2150"/>
                    <a:pt x="659" y="2189"/>
                    <a:pt x="702" y="2172"/>
                  </a:cubicBezTo>
                  <a:cubicBezTo>
                    <a:pt x="749" y="2154"/>
                    <a:pt x="749" y="2064"/>
                    <a:pt x="695" y="1954"/>
                  </a:cubicBezTo>
                  <a:cubicBezTo>
                    <a:pt x="645" y="1854"/>
                    <a:pt x="569" y="1789"/>
                    <a:pt x="524" y="1811"/>
                  </a:cubicBezTo>
                  <a:lnTo>
                    <a:pt x="524" y="1811"/>
                  </a:lnTo>
                  <a:close/>
                  <a:moveTo>
                    <a:pt x="526" y="1307"/>
                  </a:moveTo>
                  <a:lnTo>
                    <a:pt x="526" y="1307"/>
                  </a:lnTo>
                  <a:cubicBezTo>
                    <a:pt x="496" y="1408"/>
                    <a:pt x="509" y="1499"/>
                    <a:pt x="559" y="1513"/>
                  </a:cubicBezTo>
                  <a:cubicBezTo>
                    <a:pt x="608" y="1526"/>
                    <a:pt x="657" y="1469"/>
                    <a:pt x="683" y="1361"/>
                  </a:cubicBezTo>
                  <a:cubicBezTo>
                    <a:pt x="707" y="1261"/>
                    <a:pt x="696" y="1174"/>
                    <a:pt x="653" y="1160"/>
                  </a:cubicBezTo>
                  <a:cubicBezTo>
                    <a:pt x="610" y="1145"/>
                    <a:pt x="555" y="1209"/>
                    <a:pt x="526" y="1307"/>
                  </a:cubicBezTo>
                  <a:lnTo>
                    <a:pt x="526" y="1307"/>
                  </a:lnTo>
                  <a:close/>
                  <a:moveTo>
                    <a:pt x="871" y="1374"/>
                  </a:moveTo>
                  <a:lnTo>
                    <a:pt x="871" y="1374"/>
                  </a:lnTo>
                  <a:cubicBezTo>
                    <a:pt x="823" y="1382"/>
                    <a:pt x="793" y="1454"/>
                    <a:pt x="795" y="1552"/>
                  </a:cubicBezTo>
                  <a:cubicBezTo>
                    <a:pt x="798" y="1650"/>
                    <a:pt x="840" y="1728"/>
                    <a:pt x="882" y="1723"/>
                  </a:cubicBezTo>
                  <a:cubicBezTo>
                    <a:pt x="927" y="1718"/>
                    <a:pt x="952" y="1645"/>
                    <a:pt x="952" y="1547"/>
                  </a:cubicBezTo>
                  <a:cubicBezTo>
                    <a:pt x="952" y="1454"/>
                    <a:pt x="916" y="1368"/>
                    <a:pt x="871" y="1374"/>
                  </a:cubicBezTo>
                  <a:lnTo>
                    <a:pt x="871" y="1374"/>
                  </a:lnTo>
                  <a:close/>
                  <a:moveTo>
                    <a:pt x="1600" y="344"/>
                  </a:moveTo>
                  <a:lnTo>
                    <a:pt x="1600" y="344"/>
                  </a:lnTo>
                  <a:cubicBezTo>
                    <a:pt x="1574" y="353"/>
                    <a:pt x="1559" y="369"/>
                    <a:pt x="1560" y="379"/>
                  </a:cubicBezTo>
                  <a:cubicBezTo>
                    <a:pt x="1563" y="411"/>
                    <a:pt x="1699" y="395"/>
                    <a:pt x="1778" y="369"/>
                  </a:cubicBezTo>
                  <a:cubicBezTo>
                    <a:pt x="1816" y="357"/>
                    <a:pt x="1836" y="343"/>
                    <a:pt x="1837" y="332"/>
                  </a:cubicBezTo>
                  <a:cubicBezTo>
                    <a:pt x="1840" y="290"/>
                    <a:pt x="1662" y="322"/>
                    <a:pt x="1600" y="344"/>
                  </a:cubicBezTo>
                  <a:lnTo>
                    <a:pt x="1600" y="344"/>
                  </a:lnTo>
                  <a:close/>
                  <a:moveTo>
                    <a:pt x="1114" y="561"/>
                  </a:moveTo>
                  <a:lnTo>
                    <a:pt x="1114" y="561"/>
                  </a:lnTo>
                  <a:cubicBezTo>
                    <a:pt x="1140" y="600"/>
                    <a:pt x="1278" y="534"/>
                    <a:pt x="1350" y="496"/>
                  </a:cubicBezTo>
                  <a:cubicBezTo>
                    <a:pt x="1397" y="471"/>
                    <a:pt x="1437" y="439"/>
                    <a:pt x="1418" y="420"/>
                  </a:cubicBezTo>
                  <a:cubicBezTo>
                    <a:pt x="1394" y="396"/>
                    <a:pt x="1318" y="415"/>
                    <a:pt x="1202" y="473"/>
                  </a:cubicBezTo>
                  <a:cubicBezTo>
                    <a:pt x="1146" y="501"/>
                    <a:pt x="1101" y="541"/>
                    <a:pt x="1114" y="561"/>
                  </a:cubicBezTo>
                  <a:lnTo>
                    <a:pt x="1114" y="561"/>
                  </a:lnTo>
                  <a:close/>
                  <a:moveTo>
                    <a:pt x="1453" y="582"/>
                  </a:moveTo>
                  <a:lnTo>
                    <a:pt x="1453" y="582"/>
                  </a:lnTo>
                  <a:cubicBezTo>
                    <a:pt x="1457" y="540"/>
                    <a:pt x="1358" y="575"/>
                    <a:pt x="1259" y="676"/>
                  </a:cubicBezTo>
                  <a:cubicBezTo>
                    <a:pt x="1241" y="694"/>
                    <a:pt x="1188" y="761"/>
                    <a:pt x="1211" y="776"/>
                  </a:cubicBezTo>
                  <a:cubicBezTo>
                    <a:pt x="1243" y="796"/>
                    <a:pt x="1361" y="696"/>
                    <a:pt x="1405" y="651"/>
                  </a:cubicBezTo>
                  <a:cubicBezTo>
                    <a:pt x="1439" y="617"/>
                    <a:pt x="1452" y="595"/>
                    <a:pt x="1453" y="582"/>
                  </a:cubicBezTo>
                  <a:lnTo>
                    <a:pt x="1453" y="582"/>
                  </a:lnTo>
                  <a:close/>
                  <a:moveTo>
                    <a:pt x="912" y="1018"/>
                  </a:moveTo>
                  <a:lnTo>
                    <a:pt x="912" y="1018"/>
                  </a:lnTo>
                  <a:cubicBezTo>
                    <a:pt x="881" y="1079"/>
                    <a:pt x="871" y="1157"/>
                    <a:pt x="905" y="1166"/>
                  </a:cubicBezTo>
                  <a:cubicBezTo>
                    <a:pt x="942" y="1176"/>
                    <a:pt x="1013" y="1078"/>
                    <a:pt x="1053" y="995"/>
                  </a:cubicBezTo>
                  <a:cubicBezTo>
                    <a:pt x="1074" y="953"/>
                    <a:pt x="1098" y="891"/>
                    <a:pt x="1082" y="871"/>
                  </a:cubicBezTo>
                  <a:cubicBezTo>
                    <a:pt x="1042" y="822"/>
                    <a:pt x="952" y="939"/>
                    <a:pt x="912" y="1018"/>
                  </a:cubicBezTo>
                  <a:lnTo>
                    <a:pt x="912" y="1018"/>
                  </a:lnTo>
                  <a:close/>
                  <a:moveTo>
                    <a:pt x="871" y="724"/>
                  </a:moveTo>
                  <a:lnTo>
                    <a:pt x="871" y="724"/>
                  </a:lnTo>
                  <a:cubicBezTo>
                    <a:pt x="841" y="746"/>
                    <a:pt x="803" y="784"/>
                    <a:pt x="777" y="817"/>
                  </a:cubicBezTo>
                  <a:cubicBezTo>
                    <a:pt x="718" y="891"/>
                    <a:pt x="720" y="943"/>
                    <a:pt x="762" y="950"/>
                  </a:cubicBezTo>
                  <a:cubicBezTo>
                    <a:pt x="798" y="957"/>
                    <a:pt x="880" y="897"/>
                    <a:pt x="937" y="825"/>
                  </a:cubicBezTo>
                  <a:cubicBezTo>
                    <a:pt x="998" y="757"/>
                    <a:pt x="1009" y="704"/>
                    <a:pt x="974" y="687"/>
                  </a:cubicBezTo>
                  <a:cubicBezTo>
                    <a:pt x="952" y="677"/>
                    <a:pt x="929" y="681"/>
                    <a:pt x="871" y="724"/>
                  </a:cubicBezTo>
                  <a:lnTo>
                    <a:pt x="871" y="724"/>
                  </a:lnTo>
                  <a:close/>
                  <a:moveTo>
                    <a:pt x="1064" y="1215"/>
                  </a:moveTo>
                  <a:lnTo>
                    <a:pt x="1064" y="1215"/>
                  </a:lnTo>
                  <a:cubicBezTo>
                    <a:pt x="1051" y="1270"/>
                    <a:pt x="1053" y="1374"/>
                    <a:pt x="1104" y="1345"/>
                  </a:cubicBezTo>
                  <a:cubicBezTo>
                    <a:pt x="1148" y="1320"/>
                    <a:pt x="1177" y="1206"/>
                    <a:pt x="1189" y="1146"/>
                  </a:cubicBezTo>
                  <a:cubicBezTo>
                    <a:pt x="1195" y="1119"/>
                    <a:pt x="1201" y="1046"/>
                    <a:pt x="1179" y="1037"/>
                  </a:cubicBezTo>
                  <a:cubicBezTo>
                    <a:pt x="1128" y="1015"/>
                    <a:pt x="1087" y="1122"/>
                    <a:pt x="1064" y="1215"/>
                  </a:cubicBezTo>
                  <a:lnTo>
                    <a:pt x="1064" y="1215"/>
                  </a:lnTo>
                  <a:close/>
                  <a:moveTo>
                    <a:pt x="1078" y="1767"/>
                  </a:moveTo>
                  <a:lnTo>
                    <a:pt x="1078" y="1767"/>
                  </a:lnTo>
                  <a:cubicBezTo>
                    <a:pt x="1092" y="1831"/>
                    <a:pt x="1151" y="1954"/>
                    <a:pt x="1203" y="1925"/>
                  </a:cubicBezTo>
                  <a:cubicBezTo>
                    <a:pt x="1252" y="1897"/>
                    <a:pt x="1204" y="1744"/>
                    <a:pt x="1195" y="1717"/>
                  </a:cubicBezTo>
                  <a:cubicBezTo>
                    <a:pt x="1177" y="1661"/>
                    <a:pt x="1140" y="1570"/>
                    <a:pt x="1091" y="1585"/>
                  </a:cubicBezTo>
                  <a:cubicBezTo>
                    <a:pt x="1052" y="1596"/>
                    <a:pt x="1064" y="1705"/>
                    <a:pt x="1078" y="1767"/>
                  </a:cubicBezTo>
                  <a:lnTo>
                    <a:pt x="1078" y="1767"/>
                  </a:lnTo>
                  <a:close/>
                  <a:moveTo>
                    <a:pt x="339" y="1073"/>
                  </a:moveTo>
                  <a:lnTo>
                    <a:pt x="339" y="1073"/>
                  </a:lnTo>
                  <a:cubicBezTo>
                    <a:pt x="354" y="1038"/>
                    <a:pt x="633" y="367"/>
                    <a:pt x="1357" y="200"/>
                  </a:cubicBezTo>
                  <a:cubicBezTo>
                    <a:pt x="1575" y="135"/>
                    <a:pt x="2066" y="95"/>
                    <a:pt x="2403" y="125"/>
                  </a:cubicBezTo>
                  <a:cubicBezTo>
                    <a:pt x="3685" y="237"/>
                    <a:pt x="3958" y="852"/>
                    <a:pt x="4081" y="1257"/>
                  </a:cubicBezTo>
                  <a:lnTo>
                    <a:pt x="3095" y="1257"/>
                  </a:lnTo>
                  <a:cubicBezTo>
                    <a:pt x="2847" y="558"/>
                    <a:pt x="2152" y="0"/>
                    <a:pt x="1260" y="336"/>
                  </a:cubicBezTo>
                  <a:cubicBezTo>
                    <a:pt x="416" y="654"/>
                    <a:pt x="10" y="1733"/>
                    <a:pt x="630" y="2517"/>
                  </a:cubicBezTo>
                  <a:lnTo>
                    <a:pt x="497" y="2517"/>
                  </a:lnTo>
                  <a:cubicBezTo>
                    <a:pt x="0" y="1834"/>
                    <a:pt x="323" y="1109"/>
                    <a:pt x="339" y="1073"/>
                  </a:cubicBezTo>
                  <a:close/>
                </a:path>
              </a:pathLst>
            </a:custGeom>
            <a:solidFill>
              <a:srgbClr val="EC114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7" name="Freeform 11"/>
            <p:cNvSpPr>
              <a:spLocks noEditPoints="1"/>
            </p:cNvSpPr>
            <p:nvPr userDrawn="1"/>
          </p:nvSpPr>
          <p:spPr bwMode="auto">
            <a:xfrm>
              <a:off x="4747" y="2731"/>
              <a:ext cx="733" cy="124"/>
            </a:xfrm>
            <a:custGeom>
              <a:avLst/>
              <a:gdLst>
                <a:gd name="T0" fmla="*/ 5032 w 5777"/>
                <a:gd name="T1" fmla="*/ 960 h 975"/>
                <a:gd name="T2" fmla="*/ 5169 w 5777"/>
                <a:gd name="T3" fmla="*/ 0 h 975"/>
                <a:gd name="T4" fmla="*/ 5574 w 5777"/>
                <a:gd name="T5" fmla="*/ 621 h 975"/>
                <a:gd name="T6" fmla="*/ 5578 w 5777"/>
                <a:gd name="T7" fmla="*/ 15 h 975"/>
                <a:gd name="T8" fmla="*/ 5777 w 5777"/>
                <a:gd name="T9" fmla="*/ 839 h 975"/>
                <a:gd name="T10" fmla="*/ 5502 w 5777"/>
                <a:gd name="T11" fmla="*/ 834 h 975"/>
                <a:gd name="T12" fmla="*/ 5231 w 5777"/>
                <a:gd name="T13" fmla="*/ 285 h 975"/>
                <a:gd name="T14" fmla="*/ 5032 w 5777"/>
                <a:gd name="T15" fmla="*/ 960 h 975"/>
                <a:gd name="T16" fmla="*/ 4403 w 5777"/>
                <a:gd name="T17" fmla="*/ 0 h 975"/>
                <a:gd name="T18" fmla="*/ 3921 w 5777"/>
                <a:gd name="T19" fmla="*/ 488 h 975"/>
                <a:gd name="T20" fmla="*/ 4884 w 5777"/>
                <a:gd name="T21" fmla="*/ 488 h 975"/>
                <a:gd name="T22" fmla="*/ 4403 w 5777"/>
                <a:gd name="T23" fmla="*/ 0 h 975"/>
                <a:gd name="T24" fmla="*/ 4403 w 5777"/>
                <a:gd name="T25" fmla="*/ 194 h 975"/>
                <a:gd name="T26" fmla="*/ 4403 w 5777"/>
                <a:gd name="T27" fmla="*/ 780 h 975"/>
                <a:gd name="T28" fmla="*/ 4403 w 5777"/>
                <a:gd name="T29" fmla="*/ 194 h 975"/>
                <a:gd name="T30" fmla="*/ 3577 w 5777"/>
                <a:gd name="T31" fmla="*/ 15 h 975"/>
                <a:gd name="T32" fmla="*/ 3776 w 5777"/>
                <a:gd name="T33" fmla="*/ 15 h 975"/>
                <a:gd name="T34" fmla="*/ 3577 w 5777"/>
                <a:gd name="T35" fmla="*/ 960 h 975"/>
                <a:gd name="T36" fmla="*/ 3158 w 5777"/>
                <a:gd name="T37" fmla="*/ 15 h 975"/>
                <a:gd name="T38" fmla="*/ 3158 w 5777"/>
                <a:gd name="T39" fmla="*/ 650 h 975"/>
                <a:gd name="T40" fmla="*/ 3410 w 5777"/>
                <a:gd name="T41" fmla="*/ 761 h 975"/>
                <a:gd name="T42" fmla="*/ 3212 w 5777"/>
                <a:gd name="T43" fmla="*/ 960 h 975"/>
                <a:gd name="T44" fmla="*/ 2958 w 5777"/>
                <a:gd name="T45" fmla="*/ 15 h 975"/>
                <a:gd name="T46" fmla="*/ 3158 w 5777"/>
                <a:gd name="T47" fmla="*/ 15 h 975"/>
                <a:gd name="T48" fmla="*/ 2718 w 5777"/>
                <a:gd name="T49" fmla="*/ 204 h 975"/>
                <a:gd name="T50" fmla="*/ 2356 w 5777"/>
                <a:gd name="T51" fmla="*/ 400 h 975"/>
                <a:gd name="T52" fmla="*/ 2718 w 5777"/>
                <a:gd name="T53" fmla="*/ 575 h 975"/>
                <a:gd name="T54" fmla="*/ 2597 w 5777"/>
                <a:gd name="T55" fmla="*/ 771 h 975"/>
                <a:gd name="T56" fmla="*/ 2718 w 5777"/>
                <a:gd name="T57" fmla="*/ 960 h 975"/>
                <a:gd name="T58" fmla="*/ 2151 w 5777"/>
                <a:gd name="T59" fmla="*/ 488 h 975"/>
                <a:gd name="T60" fmla="*/ 2718 w 5777"/>
                <a:gd name="T61" fmla="*/ 15 h 975"/>
                <a:gd name="T62" fmla="*/ 2718 w 5777"/>
                <a:gd name="T63" fmla="*/ 204 h 975"/>
                <a:gd name="T64" fmla="*/ 1699 w 5777"/>
                <a:gd name="T65" fmla="*/ 204 h 975"/>
                <a:gd name="T66" fmla="*/ 1494 w 5777"/>
                <a:gd name="T67" fmla="*/ 15 h 975"/>
                <a:gd name="T68" fmla="*/ 2104 w 5777"/>
                <a:gd name="T69" fmla="*/ 204 h 975"/>
                <a:gd name="T70" fmla="*/ 1899 w 5777"/>
                <a:gd name="T71" fmla="*/ 960 h 975"/>
                <a:gd name="T72" fmla="*/ 1699 w 5777"/>
                <a:gd name="T73" fmla="*/ 204 h 975"/>
                <a:gd name="T74" fmla="*/ 1421 w 5777"/>
                <a:gd name="T75" fmla="*/ 204 h 975"/>
                <a:gd name="T76" fmla="*/ 1275 w 5777"/>
                <a:gd name="T77" fmla="*/ 204 h 975"/>
                <a:gd name="T78" fmla="*/ 1275 w 5777"/>
                <a:gd name="T79" fmla="*/ 771 h 975"/>
                <a:gd name="T80" fmla="*/ 1421 w 5777"/>
                <a:gd name="T81" fmla="*/ 960 h 975"/>
                <a:gd name="T82" fmla="*/ 819 w 5777"/>
                <a:gd name="T83" fmla="*/ 488 h 975"/>
                <a:gd name="T84" fmla="*/ 1421 w 5777"/>
                <a:gd name="T85" fmla="*/ 15 h 975"/>
                <a:gd name="T86" fmla="*/ 1421 w 5777"/>
                <a:gd name="T87" fmla="*/ 204 h 975"/>
                <a:gd name="T88" fmla="*/ 0 w 5777"/>
                <a:gd name="T89" fmla="*/ 960 h 975"/>
                <a:gd name="T90" fmla="*/ 338 w 5777"/>
                <a:gd name="T91" fmla="*/ 0 h 975"/>
                <a:gd name="T92" fmla="*/ 678 w 5777"/>
                <a:gd name="T93" fmla="*/ 960 h 975"/>
                <a:gd name="T94" fmla="*/ 467 w 5777"/>
                <a:gd name="T95" fmla="*/ 619 h 975"/>
                <a:gd name="T96" fmla="*/ 262 w 5777"/>
                <a:gd name="T97" fmla="*/ 435 h 975"/>
                <a:gd name="T98" fmla="*/ 467 w 5777"/>
                <a:gd name="T99" fmla="*/ 310 h 975"/>
                <a:gd name="T100" fmla="*/ 210 w 5777"/>
                <a:gd name="T101" fmla="*/ 310 h 975"/>
                <a:gd name="T102" fmla="*/ 0 w 5777"/>
                <a:gd name="T103" fmla="*/ 960 h 9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777" h="975">
                  <a:moveTo>
                    <a:pt x="5032" y="960"/>
                  </a:moveTo>
                  <a:lnTo>
                    <a:pt x="5032" y="960"/>
                  </a:lnTo>
                  <a:lnTo>
                    <a:pt x="5032" y="137"/>
                  </a:lnTo>
                  <a:cubicBezTo>
                    <a:pt x="5032" y="58"/>
                    <a:pt x="5084" y="0"/>
                    <a:pt x="5169" y="0"/>
                  </a:cubicBezTo>
                  <a:cubicBezTo>
                    <a:pt x="5265" y="0"/>
                    <a:pt x="5309" y="72"/>
                    <a:pt x="5342" y="136"/>
                  </a:cubicBezTo>
                  <a:lnTo>
                    <a:pt x="5574" y="621"/>
                  </a:lnTo>
                  <a:lnTo>
                    <a:pt x="5578" y="621"/>
                  </a:lnTo>
                  <a:lnTo>
                    <a:pt x="5578" y="15"/>
                  </a:lnTo>
                  <a:lnTo>
                    <a:pt x="5777" y="15"/>
                  </a:lnTo>
                  <a:lnTo>
                    <a:pt x="5777" y="839"/>
                  </a:lnTo>
                  <a:cubicBezTo>
                    <a:pt x="5777" y="912"/>
                    <a:pt x="5750" y="975"/>
                    <a:pt x="5665" y="975"/>
                  </a:cubicBezTo>
                  <a:cubicBezTo>
                    <a:pt x="5582" y="975"/>
                    <a:pt x="5547" y="924"/>
                    <a:pt x="5502" y="834"/>
                  </a:cubicBezTo>
                  <a:lnTo>
                    <a:pt x="5234" y="282"/>
                  </a:lnTo>
                  <a:lnTo>
                    <a:pt x="5231" y="285"/>
                  </a:lnTo>
                  <a:lnTo>
                    <a:pt x="5231" y="960"/>
                  </a:lnTo>
                  <a:lnTo>
                    <a:pt x="5032" y="960"/>
                  </a:lnTo>
                  <a:lnTo>
                    <a:pt x="5032" y="960"/>
                  </a:lnTo>
                  <a:close/>
                  <a:moveTo>
                    <a:pt x="4403" y="0"/>
                  </a:moveTo>
                  <a:lnTo>
                    <a:pt x="4403" y="0"/>
                  </a:lnTo>
                  <a:cubicBezTo>
                    <a:pt x="4120" y="0"/>
                    <a:pt x="3921" y="223"/>
                    <a:pt x="3921" y="488"/>
                  </a:cubicBezTo>
                  <a:cubicBezTo>
                    <a:pt x="3921" y="752"/>
                    <a:pt x="4120" y="975"/>
                    <a:pt x="4403" y="975"/>
                  </a:cubicBezTo>
                  <a:cubicBezTo>
                    <a:pt x="4685" y="975"/>
                    <a:pt x="4884" y="752"/>
                    <a:pt x="4884" y="488"/>
                  </a:cubicBezTo>
                  <a:cubicBezTo>
                    <a:pt x="4884" y="223"/>
                    <a:pt x="4685" y="0"/>
                    <a:pt x="4403" y="0"/>
                  </a:cubicBezTo>
                  <a:lnTo>
                    <a:pt x="4403" y="0"/>
                  </a:lnTo>
                  <a:close/>
                  <a:moveTo>
                    <a:pt x="4403" y="194"/>
                  </a:moveTo>
                  <a:lnTo>
                    <a:pt x="4403" y="194"/>
                  </a:lnTo>
                  <a:cubicBezTo>
                    <a:pt x="4580" y="194"/>
                    <a:pt x="4685" y="330"/>
                    <a:pt x="4685" y="488"/>
                  </a:cubicBezTo>
                  <a:cubicBezTo>
                    <a:pt x="4685" y="645"/>
                    <a:pt x="4580" y="780"/>
                    <a:pt x="4403" y="780"/>
                  </a:cubicBezTo>
                  <a:cubicBezTo>
                    <a:pt x="4226" y="780"/>
                    <a:pt x="4120" y="645"/>
                    <a:pt x="4120" y="488"/>
                  </a:cubicBezTo>
                  <a:cubicBezTo>
                    <a:pt x="4120" y="330"/>
                    <a:pt x="4226" y="194"/>
                    <a:pt x="4403" y="194"/>
                  </a:cubicBezTo>
                  <a:lnTo>
                    <a:pt x="4403" y="194"/>
                  </a:lnTo>
                  <a:close/>
                  <a:moveTo>
                    <a:pt x="3577" y="15"/>
                  </a:moveTo>
                  <a:lnTo>
                    <a:pt x="3577" y="15"/>
                  </a:lnTo>
                  <a:lnTo>
                    <a:pt x="3776" y="15"/>
                  </a:lnTo>
                  <a:lnTo>
                    <a:pt x="3776" y="960"/>
                  </a:lnTo>
                  <a:lnTo>
                    <a:pt x="3577" y="960"/>
                  </a:lnTo>
                  <a:lnTo>
                    <a:pt x="3577" y="15"/>
                  </a:lnTo>
                  <a:close/>
                  <a:moveTo>
                    <a:pt x="3158" y="15"/>
                  </a:moveTo>
                  <a:lnTo>
                    <a:pt x="3158" y="15"/>
                  </a:lnTo>
                  <a:lnTo>
                    <a:pt x="3158" y="650"/>
                  </a:lnTo>
                  <a:cubicBezTo>
                    <a:pt x="3158" y="736"/>
                    <a:pt x="3193" y="761"/>
                    <a:pt x="3260" y="761"/>
                  </a:cubicBezTo>
                  <a:lnTo>
                    <a:pt x="3410" y="761"/>
                  </a:lnTo>
                  <a:lnTo>
                    <a:pt x="3410" y="960"/>
                  </a:lnTo>
                  <a:lnTo>
                    <a:pt x="3212" y="960"/>
                  </a:lnTo>
                  <a:cubicBezTo>
                    <a:pt x="3061" y="960"/>
                    <a:pt x="2958" y="884"/>
                    <a:pt x="2958" y="677"/>
                  </a:cubicBezTo>
                  <a:lnTo>
                    <a:pt x="2958" y="15"/>
                  </a:lnTo>
                  <a:lnTo>
                    <a:pt x="3158" y="15"/>
                  </a:lnTo>
                  <a:lnTo>
                    <a:pt x="3158" y="15"/>
                  </a:lnTo>
                  <a:close/>
                  <a:moveTo>
                    <a:pt x="2718" y="204"/>
                  </a:moveTo>
                  <a:lnTo>
                    <a:pt x="2718" y="204"/>
                  </a:lnTo>
                  <a:lnTo>
                    <a:pt x="2597" y="204"/>
                  </a:lnTo>
                  <a:cubicBezTo>
                    <a:pt x="2445" y="204"/>
                    <a:pt x="2372" y="309"/>
                    <a:pt x="2356" y="400"/>
                  </a:cubicBezTo>
                  <a:lnTo>
                    <a:pt x="2718" y="400"/>
                  </a:lnTo>
                  <a:lnTo>
                    <a:pt x="2718" y="575"/>
                  </a:lnTo>
                  <a:lnTo>
                    <a:pt x="2356" y="575"/>
                  </a:lnTo>
                  <a:cubicBezTo>
                    <a:pt x="2372" y="666"/>
                    <a:pt x="2445" y="771"/>
                    <a:pt x="2597" y="771"/>
                  </a:cubicBezTo>
                  <a:lnTo>
                    <a:pt x="2718" y="771"/>
                  </a:lnTo>
                  <a:lnTo>
                    <a:pt x="2718" y="960"/>
                  </a:lnTo>
                  <a:lnTo>
                    <a:pt x="2615" y="960"/>
                  </a:lnTo>
                  <a:cubicBezTo>
                    <a:pt x="2291" y="960"/>
                    <a:pt x="2151" y="720"/>
                    <a:pt x="2151" y="488"/>
                  </a:cubicBezTo>
                  <a:cubicBezTo>
                    <a:pt x="2151" y="255"/>
                    <a:pt x="2291" y="15"/>
                    <a:pt x="2615" y="15"/>
                  </a:cubicBezTo>
                  <a:lnTo>
                    <a:pt x="2718" y="15"/>
                  </a:lnTo>
                  <a:lnTo>
                    <a:pt x="2718" y="204"/>
                  </a:lnTo>
                  <a:lnTo>
                    <a:pt x="2718" y="204"/>
                  </a:lnTo>
                  <a:close/>
                  <a:moveTo>
                    <a:pt x="1699" y="204"/>
                  </a:moveTo>
                  <a:lnTo>
                    <a:pt x="1699" y="204"/>
                  </a:lnTo>
                  <a:lnTo>
                    <a:pt x="1494" y="204"/>
                  </a:lnTo>
                  <a:lnTo>
                    <a:pt x="1494" y="15"/>
                  </a:lnTo>
                  <a:lnTo>
                    <a:pt x="2104" y="15"/>
                  </a:lnTo>
                  <a:lnTo>
                    <a:pt x="2104" y="204"/>
                  </a:lnTo>
                  <a:lnTo>
                    <a:pt x="1899" y="204"/>
                  </a:lnTo>
                  <a:lnTo>
                    <a:pt x="1899" y="960"/>
                  </a:lnTo>
                  <a:lnTo>
                    <a:pt x="1699" y="960"/>
                  </a:lnTo>
                  <a:lnTo>
                    <a:pt x="1699" y="204"/>
                  </a:lnTo>
                  <a:lnTo>
                    <a:pt x="1699" y="204"/>
                  </a:lnTo>
                  <a:close/>
                  <a:moveTo>
                    <a:pt x="1421" y="204"/>
                  </a:moveTo>
                  <a:lnTo>
                    <a:pt x="1421" y="204"/>
                  </a:lnTo>
                  <a:lnTo>
                    <a:pt x="1275" y="204"/>
                  </a:lnTo>
                  <a:cubicBezTo>
                    <a:pt x="1137" y="204"/>
                    <a:pt x="1029" y="354"/>
                    <a:pt x="1029" y="488"/>
                  </a:cubicBezTo>
                  <a:cubicBezTo>
                    <a:pt x="1029" y="621"/>
                    <a:pt x="1137" y="771"/>
                    <a:pt x="1275" y="771"/>
                  </a:cubicBezTo>
                  <a:lnTo>
                    <a:pt x="1421" y="771"/>
                  </a:lnTo>
                  <a:lnTo>
                    <a:pt x="1421" y="960"/>
                  </a:lnTo>
                  <a:lnTo>
                    <a:pt x="1264" y="960"/>
                  </a:lnTo>
                  <a:cubicBezTo>
                    <a:pt x="1037" y="960"/>
                    <a:pt x="819" y="774"/>
                    <a:pt x="819" y="488"/>
                  </a:cubicBezTo>
                  <a:cubicBezTo>
                    <a:pt x="819" y="201"/>
                    <a:pt x="1037" y="15"/>
                    <a:pt x="1264" y="15"/>
                  </a:cubicBezTo>
                  <a:lnTo>
                    <a:pt x="1421" y="15"/>
                  </a:lnTo>
                  <a:lnTo>
                    <a:pt x="1421" y="204"/>
                  </a:lnTo>
                  <a:lnTo>
                    <a:pt x="1421" y="204"/>
                  </a:lnTo>
                  <a:close/>
                  <a:moveTo>
                    <a:pt x="0" y="960"/>
                  </a:moveTo>
                  <a:lnTo>
                    <a:pt x="0" y="960"/>
                  </a:lnTo>
                  <a:lnTo>
                    <a:pt x="0" y="344"/>
                  </a:lnTo>
                  <a:cubicBezTo>
                    <a:pt x="0" y="181"/>
                    <a:pt x="93" y="0"/>
                    <a:pt x="338" y="0"/>
                  </a:cubicBezTo>
                  <a:cubicBezTo>
                    <a:pt x="583" y="0"/>
                    <a:pt x="678" y="181"/>
                    <a:pt x="678" y="344"/>
                  </a:cubicBezTo>
                  <a:lnTo>
                    <a:pt x="678" y="960"/>
                  </a:lnTo>
                  <a:lnTo>
                    <a:pt x="467" y="960"/>
                  </a:lnTo>
                  <a:lnTo>
                    <a:pt x="467" y="619"/>
                  </a:lnTo>
                  <a:lnTo>
                    <a:pt x="262" y="619"/>
                  </a:lnTo>
                  <a:lnTo>
                    <a:pt x="262" y="435"/>
                  </a:lnTo>
                  <a:lnTo>
                    <a:pt x="467" y="435"/>
                  </a:lnTo>
                  <a:lnTo>
                    <a:pt x="467" y="310"/>
                  </a:lnTo>
                  <a:cubicBezTo>
                    <a:pt x="467" y="240"/>
                    <a:pt x="435" y="184"/>
                    <a:pt x="338" y="184"/>
                  </a:cubicBezTo>
                  <a:cubicBezTo>
                    <a:pt x="241" y="184"/>
                    <a:pt x="210" y="240"/>
                    <a:pt x="210" y="310"/>
                  </a:cubicBezTo>
                  <a:lnTo>
                    <a:pt x="210" y="960"/>
                  </a:lnTo>
                  <a:lnTo>
                    <a:pt x="0" y="96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5" name="Freeform 10"/>
            <p:cNvSpPr>
              <a:spLocks noEditPoints="1"/>
            </p:cNvSpPr>
            <p:nvPr userDrawn="1"/>
          </p:nvSpPr>
          <p:spPr bwMode="auto">
            <a:xfrm>
              <a:off x="4747" y="2914"/>
              <a:ext cx="733" cy="98"/>
            </a:xfrm>
            <a:custGeom>
              <a:avLst/>
              <a:gdLst>
                <a:gd name="T0" fmla="*/ 277 w 5777"/>
                <a:gd name="T1" fmla="*/ 688 h 773"/>
                <a:gd name="T2" fmla="*/ 97 w 5777"/>
                <a:gd name="T3" fmla="*/ 732 h 773"/>
                <a:gd name="T4" fmla="*/ 97 w 5777"/>
                <a:gd name="T5" fmla="*/ 565 h 773"/>
                <a:gd name="T6" fmla="*/ 5580 w 5777"/>
                <a:gd name="T7" fmla="*/ 6 h 773"/>
                <a:gd name="T8" fmla="*/ 5654 w 5777"/>
                <a:gd name="T9" fmla="*/ 202 h 773"/>
                <a:gd name="T10" fmla="*/ 5515 w 5777"/>
                <a:gd name="T11" fmla="*/ 132 h 773"/>
                <a:gd name="T12" fmla="*/ 5394 w 5777"/>
                <a:gd name="T13" fmla="*/ 202 h 773"/>
                <a:gd name="T14" fmla="*/ 5275 w 5777"/>
                <a:gd name="T15" fmla="*/ 53 h 773"/>
                <a:gd name="T16" fmla="*/ 5229 w 5777"/>
                <a:gd name="T17" fmla="*/ 202 h 773"/>
                <a:gd name="T18" fmla="*/ 5094 w 5777"/>
                <a:gd name="T19" fmla="*/ 102 h 773"/>
                <a:gd name="T20" fmla="*/ 5173 w 5777"/>
                <a:gd name="T21" fmla="*/ 31 h 773"/>
                <a:gd name="T22" fmla="*/ 5016 w 5777"/>
                <a:gd name="T23" fmla="*/ 6 h 773"/>
                <a:gd name="T24" fmla="*/ 4924 w 5777"/>
                <a:gd name="T25" fmla="*/ 70 h 773"/>
                <a:gd name="T26" fmla="*/ 4757 w 5777"/>
                <a:gd name="T27" fmla="*/ 6 h 773"/>
                <a:gd name="T28" fmla="*/ 4660 w 5777"/>
                <a:gd name="T29" fmla="*/ 55 h 773"/>
                <a:gd name="T30" fmla="*/ 4626 w 5777"/>
                <a:gd name="T31" fmla="*/ 208 h 773"/>
                <a:gd name="T32" fmla="*/ 4626 w 5777"/>
                <a:gd name="T33" fmla="*/ 208 h 773"/>
                <a:gd name="T34" fmla="*/ 4515 w 5777"/>
                <a:gd name="T35" fmla="*/ 51 h 773"/>
                <a:gd name="T36" fmla="*/ 4516 w 5777"/>
                <a:gd name="T37" fmla="*/ 158 h 773"/>
                <a:gd name="T38" fmla="*/ 4119 w 5777"/>
                <a:gd name="T39" fmla="*/ 6 h 773"/>
                <a:gd name="T40" fmla="*/ 3999 w 5777"/>
                <a:gd name="T41" fmla="*/ 53 h 773"/>
                <a:gd name="T42" fmla="*/ 3901 w 5777"/>
                <a:gd name="T43" fmla="*/ 202 h 773"/>
                <a:gd name="T44" fmla="*/ 3718 w 5777"/>
                <a:gd name="T45" fmla="*/ 104 h 773"/>
                <a:gd name="T46" fmla="*/ 3815 w 5777"/>
                <a:gd name="T47" fmla="*/ 167 h 773"/>
                <a:gd name="T48" fmla="*/ 3637 w 5777"/>
                <a:gd name="T49" fmla="*/ 202 h 773"/>
                <a:gd name="T50" fmla="*/ 3515 w 5777"/>
                <a:gd name="T51" fmla="*/ 202 h 773"/>
                <a:gd name="T52" fmla="*/ 3432 w 5777"/>
                <a:gd name="T53" fmla="*/ 171 h 773"/>
                <a:gd name="T54" fmla="*/ 3360 w 5777"/>
                <a:gd name="T55" fmla="*/ 166 h 773"/>
                <a:gd name="T56" fmla="*/ 3240 w 5777"/>
                <a:gd name="T57" fmla="*/ 44 h 773"/>
                <a:gd name="T58" fmla="*/ 3249 w 5777"/>
                <a:gd name="T59" fmla="*/ 202 h 773"/>
                <a:gd name="T60" fmla="*/ 2892 w 5777"/>
                <a:gd name="T61" fmla="*/ 104 h 773"/>
                <a:gd name="T62" fmla="*/ 2990 w 5777"/>
                <a:gd name="T63" fmla="*/ 167 h 773"/>
                <a:gd name="T64" fmla="*/ 2815 w 5777"/>
                <a:gd name="T65" fmla="*/ 136 h 773"/>
                <a:gd name="T66" fmla="*/ 2754 w 5777"/>
                <a:gd name="T67" fmla="*/ 171 h 773"/>
                <a:gd name="T68" fmla="*/ 2671 w 5777"/>
                <a:gd name="T69" fmla="*/ 202 h 773"/>
                <a:gd name="T70" fmla="*/ 2506 w 5777"/>
                <a:gd name="T71" fmla="*/ 76 h 773"/>
                <a:gd name="T72" fmla="*/ 2563 w 5777"/>
                <a:gd name="T73" fmla="*/ 148 h 773"/>
                <a:gd name="T74" fmla="*/ 2343 w 5777"/>
                <a:gd name="T75" fmla="*/ 96 h 773"/>
                <a:gd name="T76" fmla="*/ 2406 w 5777"/>
                <a:gd name="T77" fmla="*/ 26 h 773"/>
                <a:gd name="T78" fmla="*/ 2253 w 5777"/>
                <a:gd name="T79" fmla="*/ 202 h 773"/>
                <a:gd name="T80" fmla="*/ 2134 w 5777"/>
                <a:gd name="T81" fmla="*/ 53 h 773"/>
                <a:gd name="T82" fmla="*/ 2088 w 5777"/>
                <a:gd name="T83" fmla="*/ 202 h 773"/>
                <a:gd name="T84" fmla="*/ 1966 w 5777"/>
                <a:gd name="T85" fmla="*/ 202 h 773"/>
                <a:gd name="T86" fmla="*/ 1966 w 5777"/>
                <a:gd name="T87" fmla="*/ 77 h 773"/>
                <a:gd name="T88" fmla="*/ 1771 w 5777"/>
                <a:gd name="T89" fmla="*/ 71 h 773"/>
                <a:gd name="T90" fmla="*/ 1820 w 5777"/>
                <a:gd name="T91" fmla="*/ 71 h 773"/>
                <a:gd name="T92" fmla="*/ 1373 w 5777"/>
                <a:gd name="T93" fmla="*/ 6 h 773"/>
                <a:gd name="T94" fmla="*/ 1490 w 5777"/>
                <a:gd name="T95" fmla="*/ 202 h 773"/>
                <a:gd name="T96" fmla="*/ 1189 w 5777"/>
                <a:gd name="T97" fmla="*/ 6 h 773"/>
                <a:gd name="T98" fmla="*/ 1238 w 5777"/>
                <a:gd name="T99" fmla="*/ 164 h 773"/>
                <a:gd name="T100" fmla="*/ 1036 w 5777"/>
                <a:gd name="T101" fmla="*/ 159 h 773"/>
                <a:gd name="T102" fmla="*/ 1120 w 5777"/>
                <a:gd name="T103" fmla="*/ 64 h 773"/>
                <a:gd name="T104" fmla="*/ 1069 w 5777"/>
                <a:gd name="T105" fmla="*/ 207 h 773"/>
                <a:gd name="T106" fmla="*/ 916 w 5777"/>
                <a:gd name="T107" fmla="*/ 145 h 773"/>
                <a:gd name="T108" fmla="*/ 875 w 5777"/>
                <a:gd name="T109" fmla="*/ 40 h 773"/>
                <a:gd name="T110" fmla="*/ 823 w 5777"/>
                <a:gd name="T111" fmla="*/ 143 h 773"/>
                <a:gd name="T112" fmla="*/ 762 w 5777"/>
                <a:gd name="T113" fmla="*/ 6 h 773"/>
                <a:gd name="T114" fmla="*/ 596 w 5777"/>
                <a:gd name="T115" fmla="*/ 6 h 773"/>
                <a:gd name="T116" fmla="*/ 503 w 5777"/>
                <a:gd name="T117" fmla="*/ 6 h 773"/>
                <a:gd name="T118" fmla="*/ 452 w 5777"/>
                <a:gd name="T119" fmla="*/ 6 h 773"/>
                <a:gd name="T120" fmla="*/ 310 w 5777"/>
                <a:gd name="T121" fmla="*/ 202 h 773"/>
                <a:gd name="T122" fmla="*/ 97 w 5777"/>
                <a:gd name="T123" fmla="*/ 53 h 773"/>
                <a:gd name="T124" fmla="*/ 196 w 5777"/>
                <a:gd name="T125" fmla="*/ 202 h 7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777" h="773">
                  <a:moveTo>
                    <a:pt x="379" y="571"/>
                  </a:moveTo>
                  <a:lnTo>
                    <a:pt x="379" y="571"/>
                  </a:lnTo>
                  <a:lnTo>
                    <a:pt x="379" y="609"/>
                  </a:lnTo>
                  <a:lnTo>
                    <a:pt x="277" y="609"/>
                  </a:lnTo>
                  <a:lnTo>
                    <a:pt x="277" y="650"/>
                  </a:lnTo>
                  <a:lnTo>
                    <a:pt x="371" y="650"/>
                  </a:lnTo>
                  <a:lnTo>
                    <a:pt x="371" y="688"/>
                  </a:lnTo>
                  <a:lnTo>
                    <a:pt x="277" y="688"/>
                  </a:lnTo>
                  <a:lnTo>
                    <a:pt x="277" y="767"/>
                  </a:lnTo>
                  <a:lnTo>
                    <a:pt x="228" y="767"/>
                  </a:lnTo>
                  <a:lnTo>
                    <a:pt x="228" y="571"/>
                  </a:lnTo>
                  <a:lnTo>
                    <a:pt x="379" y="571"/>
                  </a:lnTo>
                  <a:lnTo>
                    <a:pt x="379" y="571"/>
                  </a:lnTo>
                  <a:close/>
                  <a:moveTo>
                    <a:pt x="147" y="674"/>
                  </a:moveTo>
                  <a:lnTo>
                    <a:pt x="147" y="674"/>
                  </a:lnTo>
                  <a:cubicBezTo>
                    <a:pt x="146" y="715"/>
                    <a:pt x="121" y="732"/>
                    <a:pt x="97" y="732"/>
                  </a:cubicBezTo>
                  <a:cubicBezTo>
                    <a:pt x="74" y="732"/>
                    <a:pt x="48" y="714"/>
                    <a:pt x="48" y="667"/>
                  </a:cubicBezTo>
                  <a:cubicBezTo>
                    <a:pt x="48" y="632"/>
                    <a:pt x="67" y="606"/>
                    <a:pt x="97" y="606"/>
                  </a:cubicBezTo>
                  <a:cubicBezTo>
                    <a:pt x="110" y="606"/>
                    <a:pt x="123" y="611"/>
                    <a:pt x="131" y="620"/>
                  </a:cubicBezTo>
                  <a:cubicBezTo>
                    <a:pt x="143" y="632"/>
                    <a:pt x="148" y="653"/>
                    <a:pt x="147" y="674"/>
                  </a:cubicBezTo>
                  <a:lnTo>
                    <a:pt x="147" y="674"/>
                  </a:lnTo>
                  <a:close/>
                  <a:moveTo>
                    <a:pt x="133" y="571"/>
                  </a:moveTo>
                  <a:lnTo>
                    <a:pt x="133" y="571"/>
                  </a:lnTo>
                  <a:cubicBezTo>
                    <a:pt x="121" y="566"/>
                    <a:pt x="108" y="565"/>
                    <a:pt x="97" y="565"/>
                  </a:cubicBezTo>
                  <a:cubicBezTo>
                    <a:pt x="33" y="565"/>
                    <a:pt x="0" y="615"/>
                    <a:pt x="0" y="668"/>
                  </a:cubicBezTo>
                  <a:cubicBezTo>
                    <a:pt x="0" y="725"/>
                    <a:pt x="35" y="773"/>
                    <a:pt x="97" y="773"/>
                  </a:cubicBezTo>
                  <a:cubicBezTo>
                    <a:pt x="118" y="773"/>
                    <a:pt x="140" y="768"/>
                    <a:pt x="159" y="752"/>
                  </a:cubicBezTo>
                  <a:cubicBezTo>
                    <a:pt x="181" y="735"/>
                    <a:pt x="197" y="704"/>
                    <a:pt x="197" y="670"/>
                  </a:cubicBezTo>
                  <a:cubicBezTo>
                    <a:pt x="197" y="657"/>
                    <a:pt x="193" y="591"/>
                    <a:pt x="133" y="571"/>
                  </a:cubicBezTo>
                  <a:lnTo>
                    <a:pt x="133" y="571"/>
                  </a:lnTo>
                  <a:close/>
                  <a:moveTo>
                    <a:pt x="5580" y="6"/>
                  </a:moveTo>
                  <a:lnTo>
                    <a:pt x="5580" y="6"/>
                  </a:lnTo>
                  <a:lnTo>
                    <a:pt x="5637" y="6"/>
                  </a:lnTo>
                  <a:lnTo>
                    <a:pt x="5679" y="73"/>
                  </a:lnTo>
                  <a:cubicBezTo>
                    <a:pt x="5682" y="68"/>
                    <a:pt x="5682" y="67"/>
                    <a:pt x="5687" y="58"/>
                  </a:cubicBezTo>
                  <a:lnTo>
                    <a:pt x="5721" y="6"/>
                  </a:lnTo>
                  <a:lnTo>
                    <a:pt x="5777" y="6"/>
                  </a:lnTo>
                  <a:lnTo>
                    <a:pt x="5703" y="109"/>
                  </a:lnTo>
                  <a:lnTo>
                    <a:pt x="5703" y="202"/>
                  </a:lnTo>
                  <a:lnTo>
                    <a:pt x="5654" y="202"/>
                  </a:lnTo>
                  <a:lnTo>
                    <a:pt x="5654" y="111"/>
                  </a:lnTo>
                  <a:lnTo>
                    <a:pt x="5580" y="6"/>
                  </a:lnTo>
                  <a:lnTo>
                    <a:pt x="5580" y="6"/>
                  </a:lnTo>
                  <a:close/>
                  <a:moveTo>
                    <a:pt x="5394" y="6"/>
                  </a:moveTo>
                  <a:lnTo>
                    <a:pt x="5394" y="6"/>
                  </a:lnTo>
                  <a:lnTo>
                    <a:pt x="5443" y="6"/>
                  </a:lnTo>
                  <a:lnTo>
                    <a:pt x="5485" y="78"/>
                  </a:lnTo>
                  <a:cubicBezTo>
                    <a:pt x="5501" y="106"/>
                    <a:pt x="5506" y="115"/>
                    <a:pt x="5515" y="132"/>
                  </a:cubicBezTo>
                  <a:lnTo>
                    <a:pt x="5513" y="6"/>
                  </a:lnTo>
                  <a:lnTo>
                    <a:pt x="5560" y="6"/>
                  </a:lnTo>
                  <a:lnTo>
                    <a:pt x="5560" y="202"/>
                  </a:lnTo>
                  <a:lnTo>
                    <a:pt x="5511" y="202"/>
                  </a:lnTo>
                  <a:lnTo>
                    <a:pt x="5475" y="140"/>
                  </a:lnTo>
                  <a:cubicBezTo>
                    <a:pt x="5457" y="111"/>
                    <a:pt x="5453" y="105"/>
                    <a:pt x="5440" y="79"/>
                  </a:cubicBezTo>
                  <a:lnTo>
                    <a:pt x="5441" y="202"/>
                  </a:lnTo>
                  <a:lnTo>
                    <a:pt x="5394" y="202"/>
                  </a:lnTo>
                  <a:lnTo>
                    <a:pt x="5394" y="6"/>
                  </a:lnTo>
                  <a:lnTo>
                    <a:pt x="5394" y="6"/>
                  </a:lnTo>
                  <a:close/>
                  <a:moveTo>
                    <a:pt x="5275" y="53"/>
                  </a:moveTo>
                  <a:lnTo>
                    <a:pt x="5275" y="53"/>
                  </a:lnTo>
                  <a:cubicBezTo>
                    <a:pt x="5272" y="63"/>
                    <a:pt x="5270" y="73"/>
                    <a:pt x="5267" y="83"/>
                  </a:cubicBezTo>
                  <a:cubicBezTo>
                    <a:pt x="5263" y="98"/>
                    <a:pt x="5255" y="121"/>
                    <a:pt x="5251" y="136"/>
                  </a:cubicBezTo>
                  <a:lnTo>
                    <a:pt x="5301" y="136"/>
                  </a:lnTo>
                  <a:lnTo>
                    <a:pt x="5275" y="53"/>
                  </a:lnTo>
                  <a:lnTo>
                    <a:pt x="5275" y="53"/>
                  </a:lnTo>
                  <a:close/>
                  <a:moveTo>
                    <a:pt x="5301" y="6"/>
                  </a:moveTo>
                  <a:lnTo>
                    <a:pt x="5301" y="6"/>
                  </a:lnTo>
                  <a:lnTo>
                    <a:pt x="5374" y="202"/>
                  </a:lnTo>
                  <a:lnTo>
                    <a:pt x="5321" y="202"/>
                  </a:lnTo>
                  <a:lnTo>
                    <a:pt x="5312" y="171"/>
                  </a:lnTo>
                  <a:lnTo>
                    <a:pt x="5239" y="171"/>
                  </a:lnTo>
                  <a:lnTo>
                    <a:pt x="5229" y="202"/>
                  </a:lnTo>
                  <a:lnTo>
                    <a:pt x="5177" y="202"/>
                  </a:lnTo>
                  <a:lnTo>
                    <a:pt x="5250" y="6"/>
                  </a:lnTo>
                  <a:lnTo>
                    <a:pt x="5301" y="6"/>
                  </a:lnTo>
                  <a:lnTo>
                    <a:pt x="5301" y="6"/>
                  </a:lnTo>
                  <a:close/>
                  <a:moveTo>
                    <a:pt x="5065" y="42"/>
                  </a:moveTo>
                  <a:lnTo>
                    <a:pt x="5065" y="42"/>
                  </a:lnTo>
                  <a:lnTo>
                    <a:pt x="5065" y="102"/>
                  </a:lnTo>
                  <a:lnTo>
                    <a:pt x="5094" y="102"/>
                  </a:lnTo>
                  <a:cubicBezTo>
                    <a:pt x="5113" y="102"/>
                    <a:pt x="5135" y="101"/>
                    <a:pt x="5135" y="71"/>
                  </a:cubicBezTo>
                  <a:cubicBezTo>
                    <a:pt x="5135" y="42"/>
                    <a:pt x="5110" y="42"/>
                    <a:pt x="5096" y="42"/>
                  </a:cubicBezTo>
                  <a:lnTo>
                    <a:pt x="5065" y="42"/>
                  </a:lnTo>
                  <a:lnTo>
                    <a:pt x="5065" y="42"/>
                  </a:lnTo>
                  <a:close/>
                  <a:moveTo>
                    <a:pt x="5016" y="6"/>
                  </a:moveTo>
                  <a:lnTo>
                    <a:pt x="5016" y="6"/>
                  </a:lnTo>
                  <a:lnTo>
                    <a:pt x="5095" y="6"/>
                  </a:lnTo>
                  <a:cubicBezTo>
                    <a:pt x="5127" y="6"/>
                    <a:pt x="5156" y="6"/>
                    <a:pt x="5173" y="31"/>
                  </a:cubicBezTo>
                  <a:cubicBezTo>
                    <a:pt x="5180" y="42"/>
                    <a:pt x="5184" y="58"/>
                    <a:pt x="5184" y="71"/>
                  </a:cubicBezTo>
                  <a:cubicBezTo>
                    <a:pt x="5184" y="82"/>
                    <a:pt x="5182" y="92"/>
                    <a:pt x="5177" y="102"/>
                  </a:cubicBezTo>
                  <a:cubicBezTo>
                    <a:pt x="5160" y="137"/>
                    <a:pt x="5124" y="138"/>
                    <a:pt x="5097" y="138"/>
                  </a:cubicBezTo>
                  <a:lnTo>
                    <a:pt x="5065" y="138"/>
                  </a:lnTo>
                  <a:lnTo>
                    <a:pt x="5065" y="202"/>
                  </a:lnTo>
                  <a:lnTo>
                    <a:pt x="5016" y="202"/>
                  </a:lnTo>
                  <a:lnTo>
                    <a:pt x="5016" y="6"/>
                  </a:lnTo>
                  <a:lnTo>
                    <a:pt x="5016" y="6"/>
                  </a:lnTo>
                  <a:close/>
                  <a:moveTo>
                    <a:pt x="4974" y="6"/>
                  </a:moveTo>
                  <a:lnTo>
                    <a:pt x="4974" y="6"/>
                  </a:lnTo>
                  <a:lnTo>
                    <a:pt x="4974" y="202"/>
                  </a:lnTo>
                  <a:lnTo>
                    <a:pt x="4927" y="202"/>
                  </a:lnTo>
                  <a:lnTo>
                    <a:pt x="4930" y="62"/>
                  </a:lnTo>
                  <a:lnTo>
                    <a:pt x="4931" y="43"/>
                  </a:lnTo>
                  <a:lnTo>
                    <a:pt x="4929" y="50"/>
                  </a:lnTo>
                  <a:cubicBezTo>
                    <a:pt x="4927" y="61"/>
                    <a:pt x="4927" y="62"/>
                    <a:pt x="4924" y="70"/>
                  </a:cubicBezTo>
                  <a:lnTo>
                    <a:pt x="4887" y="202"/>
                  </a:lnTo>
                  <a:lnTo>
                    <a:pt x="4845" y="202"/>
                  </a:lnTo>
                  <a:lnTo>
                    <a:pt x="4809" y="76"/>
                  </a:lnTo>
                  <a:lnTo>
                    <a:pt x="4801" y="41"/>
                  </a:lnTo>
                  <a:cubicBezTo>
                    <a:pt x="4801" y="56"/>
                    <a:pt x="4801" y="60"/>
                    <a:pt x="4802" y="78"/>
                  </a:cubicBezTo>
                  <a:lnTo>
                    <a:pt x="4805" y="202"/>
                  </a:lnTo>
                  <a:lnTo>
                    <a:pt x="4757" y="202"/>
                  </a:lnTo>
                  <a:lnTo>
                    <a:pt x="4757" y="6"/>
                  </a:lnTo>
                  <a:lnTo>
                    <a:pt x="4829" y="6"/>
                  </a:lnTo>
                  <a:lnTo>
                    <a:pt x="4859" y="116"/>
                  </a:lnTo>
                  <a:lnTo>
                    <a:pt x="4866" y="148"/>
                  </a:lnTo>
                  <a:cubicBezTo>
                    <a:pt x="4869" y="134"/>
                    <a:pt x="4869" y="133"/>
                    <a:pt x="4871" y="123"/>
                  </a:cubicBezTo>
                  <a:lnTo>
                    <a:pt x="4903" y="6"/>
                  </a:lnTo>
                  <a:lnTo>
                    <a:pt x="4974" y="6"/>
                  </a:lnTo>
                  <a:lnTo>
                    <a:pt x="4974" y="6"/>
                  </a:lnTo>
                  <a:close/>
                  <a:moveTo>
                    <a:pt x="4660" y="55"/>
                  </a:moveTo>
                  <a:lnTo>
                    <a:pt x="4660" y="55"/>
                  </a:lnTo>
                  <a:cubicBezTo>
                    <a:pt x="4652" y="46"/>
                    <a:pt x="4639" y="41"/>
                    <a:pt x="4626" y="41"/>
                  </a:cubicBezTo>
                  <a:cubicBezTo>
                    <a:pt x="4596" y="41"/>
                    <a:pt x="4577" y="67"/>
                    <a:pt x="4577" y="102"/>
                  </a:cubicBezTo>
                  <a:cubicBezTo>
                    <a:pt x="4577" y="149"/>
                    <a:pt x="4603" y="167"/>
                    <a:pt x="4626" y="167"/>
                  </a:cubicBezTo>
                  <a:cubicBezTo>
                    <a:pt x="4650" y="167"/>
                    <a:pt x="4675" y="150"/>
                    <a:pt x="4676" y="109"/>
                  </a:cubicBezTo>
                  <a:cubicBezTo>
                    <a:pt x="4677" y="88"/>
                    <a:pt x="4671" y="67"/>
                    <a:pt x="4660" y="55"/>
                  </a:cubicBezTo>
                  <a:lnTo>
                    <a:pt x="4660" y="55"/>
                  </a:lnTo>
                  <a:close/>
                  <a:moveTo>
                    <a:pt x="4626" y="208"/>
                  </a:moveTo>
                  <a:lnTo>
                    <a:pt x="4626" y="208"/>
                  </a:lnTo>
                  <a:cubicBezTo>
                    <a:pt x="4564" y="208"/>
                    <a:pt x="4528" y="160"/>
                    <a:pt x="4528" y="103"/>
                  </a:cubicBezTo>
                  <a:cubicBezTo>
                    <a:pt x="4528" y="50"/>
                    <a:pt x="4562" y="0"/>
                    <a:pt x="4625" y="0"/>
                  </a:cubicBezTo>
                  <a:cubicBezTo>
                    <a:pt x="4637" y="0"/>
                    <a:pt x="4649" y="1"/>
                    <a:pt x="4661" y="6"/>
                  </a:cubicBezTo>
                  <a:cubicBezTo>
                    <a:pt x="4721" y="26"/>
                    <a:pt x="4725" y="92"/>
                    <a:pt x="4725" y="105"/>
                  </a:cubicBezTo>
                  <a:cubicBezTo>
                    <a:pt x="4725" y="139"/>
                    <a:pt x="4710" y="170"/>
                    <a:pt x="4688" y="187"/>
                  </a:cubicBezTo>
                  <a:cubicBezTo>
                    <a:pt x="4669" y="203"/>
                    <a:pt x="4647" y="208"/>
                    <a:pt x="4626" y="208"/>
                  </a:cubicBezTo>
                  <a:lnTo>
                    <a:pt x="4626" y="208"/>
                  </a:lnTo>
                  <a:close/>
                  <a:moveTo>
                    <a:pt x="4516" y="158"/>
                  </a:moveTo>
                  <a:lnTo>
                    <a:pt x="4516" y="158"/>
                  </a:lnTo>
                  <a:cubicBezTo>
                    <a:pt x="4509" y="169"/>
                    <a:pt x="4502" y="180"/>
                    <a:pt x="4486" y="191"/>
                  </a:cubicBezTo>
                  <a:cubicBezTo>
                    <a:pt x="4478" y="197"/>
                    <a:pt x="4458" y="208"/>
                    <a:pt x="4431" y="208"/>
                  </a:cubicBezTo>
                  <a:cubicBezTo>
                    <a:pt x="4379" y="208"/>
                    <a:pt x="4337" y="170"/>
                    <a:pt x="4337" y="104"/>
                  </a:cubicBezTo>
                  <a:cubicBezTo>
                    <a:pt x="4337" y="46"/>
                    <a:pt x="4377" y="0"/>
                    <a:pt x="4432" y="0"/>
                  </a:cubicBezTo>
                  <a:cubicBezTo>
                    <a:pt x="4455" y="0"/>
                    <a:pt x="4475" y="7"/>
                    <a:pt x="4490" y="19"/>
                  </a:cubicBezTo>
                  <a:cubicBezTo>
                    <a:pt x="4503" y="30"/>
                    <a:pt x="4510" y="41"/>
                    <a:pt x="4515" y="51"/>
                  </a:cubicBezTo>
                  <a:lnTo>
                    <a:pt x="4476" y="70"/>
                  </a:lnTo>
                  <a:cubicBezTo>
                    <a:pt x="4473" y="64"/>
                    <a:pt x="4470" y="57"/>
                    <a:pt x="4461" y="50"/>
                  </a:cubicBezTo>
                  <a:cubicBezTo>
                    <a:pt x="4452" y="42"/>
                    <a:pt x="4443" y="40"/>
                    <a:pt x="4434" y="40"/>
                  </a:cubicBezTo>
                  <a:cubicBezTo>
                    <a:pt x="4403" y="40"/>
                    <a:pt x="4386" y="70"/>
                    <a:pt x="4386" y="102"/>
                  </a:cubicBezTo>
                  <a:cubicBezTo>
                    <a:pt x="4386" y="146"/>
                    <a:pt x="4408" y="167"/>
                    <a:pt x="4434" y="167"/>
                  </a:cubicBezTo>
                  <a:cubicBezTo>
                    <a:pt x="4460" y="167"/>
                    <a:pt x="4470" y="149"/>
                    <a:pt x="4477" y="138"/>
                  </a:cubicBezTo>
                  <a:lnTo>
                    <a:pt x="4516" y="158"/>
                  </a:lnTo>
                  <a:lnTo>
                    <a:pt x="4516" y="158"/>
                  </a:lnTo>
                  <a:close/>
                  <a:moveTo>
                    <a:pt x="4119" y="6"/>
                  </a:moveTo>
                  <a:lnTo>
                    <a:pt x="4119" y="6"/>
                  </a:lnTo>
                  <a:lnTo>
                    <a:pt x="4168" y="6"/>
                  </a:lnTo>
                  <a:lnTo>
                    <a:pt x="4168" y="161"/>
                  </a:lnTo>
                  <a:lnTo>
                    <a:pt x="4245" y="161"/>
                  </a:lnTo>
                  <a:lnTo>
                    <a:pt x="4245" y="202"/>
                  </a:lnTo>
                  <a:lnTo>
                    <a:pt x="4119" y="202"/>
                  </a:lnTo>
                  <a:lnTo>
                    <a:pt x="4119" y="6"/>
                  </a:lnTo>
                  <a:lnTo>
                    <a:pt x="4119" y="6"/>
                  </a:lnTo>
                  <a:close/>
                  <a:moveTo>
                    <a:pt x="3999" y="53"/>
                  </a:moveTo>
                  <a:lnTo>
                    <a:pt x="3999" y="53"/>
                  </a:lnTo>
                  <a:cubicBezTo>
                    <a:pt x="3996" y="63"/>
                    <a:pt x="3994" y="73"/>
                    <a:pt x="3991" y="83"/>
                  </a:cubicBezTo>
                  <a:cubicBezTo>
                    <a:pt x="3987" y="98"/>
                    <a:pt x="3979" y="121"/>
                    <a:pt x="3975" y="136"/>
                  </a:cubicBezTo>
                  <a:lnTo>
                    <a:pt x="4025" y="136"/>
                  </a:lnTo>
                  <a:lnTo>
                    <a:pt x="3999" y="53"/>
                  </a:lnTo>
                  <a:lnTo>
                    <a:pt x="3999" y="53"/>
                  </a:lnTo>
                  <a:close/>
                  <a:moveTo>
                    <a:pt x="4025" y="6"/>
                  </a:moveTo>
                  <a:lnTo>
                    <a:pt x="4025" y="6"/>
                  </a:lnTo>
                  <a:lnTo>
                    <a:pt x="4098" y="202"/>
                  </a:lnTo>
                  <a:lnTo>
                    <a:pt x="4045" y="202"/>
                  </a:lnTo>
                  <a:lnTo>
                    <a:pt x="4036" y="171"/>
                  </a:lnTo>
                  <a:lnTo>
                    <a:pt x="3963" y="171"/>
                  </a:lnTo>
                  <a:lnTo>
                    <a:pt x="3954" y="202"/>
                  </a:lnTo>
                  <a:lnTo>
                    <a:pt x="3901" y="202"/>
                  </a:lnTo>
                  <a:lnTo>
                    <a:pt x="3974" y="6"/>
                  </a:lnTo>
                  <a:lnTo>
                    <a:pt x="4025" y="6"/>
                  </a:lnTo>
                  <a:lnTo>
                    <a:pt x="4025" y="6"/>
                  </a:lnTo>
                  <a:close/>
                  <a:moveTo>
                    <a:pt x="3897" y="158"/>
                  </a:moveTo>
                  <a:lnTo>
                    <a:pt x="3897" y="158"/>
                  </a:lnTo>
                  <a:cubicBezTo>
                    <a:pt x="3889" y="169"/>
                    <a:pt x="3882" y="180"/>
                    <a:pt x="3867" y="191"/>
                  </a:cubicBezTo>
                  <a:cubicBezTo>
                    <a:pt x="3858" y="197"/>
                    <a:pt x="3839" y="208"/>
                    <a:pt x="3812" y="208"/>
                  </a:cubicBezTo>
                  <a:cubicBezTo>
                    <a:pt x="3760" y="208"/>
                    <a:pt x="3718" y="170"/>
                    <a:pt x="3718" y="104"/>
                  </a:cubicBezTo>
                  <a:cubicBezTo>
                    <a:pt x="3718" y="46"/>
                    <a:pt x="3757" y="0"/>
                    <a:pt x="3813" y="0"/>
                  </a:cubicBezTo>
                  <a:cubicBezTo>
                    <a:pt x="3836" y="0"/>
                    <a:pt x="3856" y="7"/>
                    <a:pt x="3870" y="19"/>
                  </a:cubicBezTo>
                  <a:cubicBezTo>
                    <a:pt x="3884" y="30"/>
                    <a:pt x="3891" y="41"/>
                    <a:pt x="3896" y="51"/>
                  </a:cubicBezTo>
                  <a:lnTo>
                    <a:pt x="3857" y="70"/>
                  </a:lnTo>
                  <a:cubicBezTo>
                    <a:pt x="3854" y="64"/>
                    <a:pt x="3851" y="57"/>
                    <a:pt x="3842" y="50"/>
                  </a:cubicBezTo>
                  <a:cubicBezTo>
                    <a:pt x="3833" y="42"/>
                    <a:pt x="3823" y="40"/>
                    <a:pt x="3815" y="40"/>
                  </a:cubicBezTo>
                  <a:cubicBezTo>
                    <a:pt x="3784" y="40"/>
                    <a:pt x="3767" y="70"/>
                    <a:pt x="3767" y="102"/>
                  </a:cubicBezTo>
                  <a:cubicBezTo>
                    <a:pt x="3767" y="146"/>
                    <a:pt x="3789" y="167"/>
                    <a:pt x="3815" y="167"/>
                  </a:cubicBezTo>
                  <a:cubicBezTo>
                    <a:pt x="3841" y="167"/>
                    <a:pt x="3851" y="149"/>
                    <a:pt x="3858" y="138"/>
                  </a:cubicBezTo>
                  <a:lnTo>
                    <a:pt x="3897" y="158"/>
                  </a:lnTo>
                  <a:lnTo>
                    <a:pt x="3897" y="158"/>
                  </a:lnTo>
                  <a:close/>
                  <a:moveTo>
                    <a:pt x="3637" y="6"/>
                  </a:moveTo>
                  <a:lnTo>
                    <a:pt x="3637" y="6"/>
                  </a:lnTo>
                  <a:lnTo>
                    <a:pt x="3686" y="6"/>
                  </a:lnTo>
                  <a:lnTo>
                    <a:pt x="3686" y="202"/>
                  </a:lnTo>
                  <a:lnTo>
                    <a:pt x="3637" y="202"/>
                  </a:lnTo>
                  <a:lnTo>
                    <a:pt x="3637" y="6"/>
                  </a:lnTo>
                  <a:close/>
                  <a:moveTo>
                    <a:pt x="3464" y="6"/>
                  </a:moveTo>
                  <a:lnTo>
                    <a:pt x="3464" y="6"/>
                  </a:lnTo>
                  <a:lnTo>
                    <a:pt x="3615" y="6"/>
                  </a:lnTo>
                  <a:lnTo>
                    <a:pt x="3615" y="45"/>
                  </a:lnTo>
                  <a:lnTo>
                    <a:pt x="3564" y="45"/>
                  </a:lnTo>
                  <a:lnTo>
                    <a:pt x="3564" y="202"/>
                  </a:lnTo>
                  <a:lnTo>
                    <a:pt x="3515" y="202"/>
                  </a:lnTo>
                  <a:lnTo>
                    <a:pt x="3515" y="45"/>
                  </a:lnTo>
                  <a:lnTo>
                    <a:pt x="3464" y="45"/>
                  </a:lnTo>
                  <a:lnTo>
                    <a:pt x="3464" y="6"/>
                  </a:lnTo>
                  <a:lnTo>
                    <a:pt x="3464" y="6"/>
                  </a:lnTo>
                  <a:close/>
                  <a:moveTo>
                    <a:pt x="3443" y="6"/>
                  </a:moveTo>
                  <a:lnTo>
                    <a:pt x="3443" y="6"/>
                  </a:lnTo>
                  <a:lnTo>
                    <a:pt x="3443" y="116"/>
                  </a:lnTo>
                  <a:cubicBezTo>
                    <a:pt x="3443" y="134"/>
                    <a:pt x="3442" y="153"/>
                    <a:pt x="3432" y="171"/>
                  </a:cubicBezTo>
                  <a:cubicBezTo>
                    <a:pt x="3410" y="205"/>
                    <a:pt x="3367" y="207"/>
                    <a:pt x="3358" y="207"/>
                  </a:cubicBezTo>
                  <a:cubicBezTo>
                    <a:pt x="3344" y="207"/>
                    <a:pt x="3326" y="203"/>
                    <a:pt x="3313" y="196"/>
                  </a:cubicBezTo>
                  <a:cubicBezTo>
                    <a:pt x="3275" y="177"/>
                    <a:pt x="3275" y="142"/>
                    <a:pt x="3275" y="116"/>
                  </a:cubicBezTo>
                  <a:lnTo>
                    <a:pt x="3275" y="6"/>
                  </a:lnTo>
                  <a:lnTo>
                    <a:pt x="3325" y="6"/>
                  </a:lnTo>
                  <a:lnTo>
                    <a:pt x="3325" y="128"/>
                  </a:lnTo>
                  <a:cubicBezTo>
                    <a:pt x="3325" y="138"/>
                    <a:pt x="3325" y="147"/>
                    <a:pt x="3328" y="153"/>
                  </a:cubicBezTo>
                  <a:cubicBezTo>
                    <a:pt x="3334" y="163"/>
                    <a:pt x="3348" y="166"/>
                    <a:pt x="3360" y="166"/>
                  </a:cubicBezTo>
                  <a:cubicBezTo>
                    <a:pt x="3393" y="166"/>
                    <a:pt x="3393" y="143"/>
                    <a:pt x="3394" y="128"/>
                  </a:cubicBezTo>
                  <a:lnTo>
                    <a:pt x="3394" y="6"/>
                  </a:lnTo>
                  <a:lnTo>
                    <a:pt x="3443" y="6"/>
                  </a:lnTo>
                  <a:lnTo>
                    <a:pt x="3443" y="6"/>
                  </a:lnTo>
                  <a:close/>
                  <a:moveTo>
                    <a:pt x="3095" y="6"/>
                  </a:moveTo>
                  <a:lnTo>
                    <a:pt x="3095" y="6"/>
                  </a:lnTo>
                  <a:lnTo>
                    <a:pt x="3240" y="6"/>
                  </a:lnTo>
                  <a:lnTo>
                    <a:pt x="3240" y="44"/>
                  </a:lnTo>
                  <a:lnTo>
                    <a:pt x="3144" y="44"/>
                  </a:lnTo>
                  <a:lnTo>
                    <a:pt x="3144" y="80"/>
                  </a:lnTo>
                  <a:lnTo>
                    <a:pt x="3234" y="80"/>
                  </a:lnTo>
                  <a:lnTo>
                    <a:pt x="3234" y="117"/>
                  </a:lnTo>
                  <a:lnTo>
                    <a:pt x="3144" y="117"/>
                  </a:lnTo>
                  <a:lnTo>
                    <a:pt x="3144" y="164"/>
                  </a:lnTo>
                  <a:lnTo>
                    <a:pt x="3249" y="164"/>
                  </a:lnTo>
                  <a:lnTo>
                    <a:pt x="3249" y="202"/>
                  </a:lnTo>
                  <a:lnTo>
                    <a:pt x="3095" y="202"/>
                  </a:lnTo>
                  <a:lnTo>
                    <a:pt x="3095" y="6"/>
                  </a:lnTo>
                  <a:lnTo>
                    <a:pt x="3095" y="6"/>
                  </a:lnTo>
                  <a:close/>
                  <a:moveTo>
                    <a:pt x="3071" y="158"/>
                  </a:moveTo>
                  <a:lnTo>
                    <a:pt x="3071" y="158"/>
                  </a:lnTo>
                  <a:cubicBezTo>
                    <a:pt x="3064" y="169"/>
                    <a:pt x="3057" y="180"/>
                    <a:pt x="3042" y="191"/>
                  </a:cubicBezTo>
                  <a:cubicBezTo>
                    <a:pt x="3033" y="197"/>
                    <a:pt x="3014" y="208"/>
                    <a:pt x="2987" y="208"/>
                  </a:cubicBezTo>
                  <a:cubicBezTo>
                    <a:pt x="2935" y="208"/>
                    <a:pt x="2892" y="170"/>
                    <a:pt x="2892" y="104"/>
                  </a:cubicBezTo>
                  <a:cubicBezTo>
                    <a:pt x="2892" y="46"/>
                    <a:pt x="2932" y="0"/>
                    <a:pt x="2988" y="0"/>
                  </a:cubicBezTo>
                  <a:cubicBezTo>
                    <a:pt x="3010" y="0"/>
                    <a:pt x="3030" y="7"/>
                    <a:pt x="3045" y="19"/>
                  </a:cubicBezTo>
                  <a:cubicBezTo>
                    <a:pt x="3059" y="30"/>
                    <a:pt x="3065" y="41"/>
                    <a:pt x="3071" y="51"/>
                  </a:cubicBezTo>
                  <a:lnTo>
                    <a:pt x="3032" y="70"/>
                  </a:lnTo>
                  <a:cubicBezTo>
                    <a:pt x="3029" y="64"/>
                    <a:pt x="3026" y="57"/>
                    <a:pt x="3017" y="50"/>
                  </a:cubicBezTo>
                  <a:cubicBezTo>
                    <a:pt x="3008" y="42"/>
                    <a:pt x="2998" y="40"/>
                    <a:pt x="2990" y="40"/>
                  </a:cubicBezTo>
                  <a:cubicBezTo>
                    <a:pt x="2958" y="40"/>
                    <a:pt x="2942" y="70"/>
                    <a:pt x="2942" y="102"/>
                  </a:cubicBezTo>
                  <a:cubicBezTo>
                    <a:pt x="2942" y="146"/>
                    <a:pt x="2964" y="167"/>
                    <a:pt x="2990" y="167"/>
                  </a:cubicBezTo>
                  <a:cubicBezTo>
                    <a:pt x="3016" y="167"/>
                    <a:pt x="3026" y="149"/>
                    <a:pt x="3033" y="138"/>
                  </a:cubicBezTo>
                  <a:lnTo>
                    <a:pt x="3071" y="158"/>
                  </a:lnTo>
                  <a:lnTo>
                    <a:pt x="3071" y="158"/>
                  </a:lnTo>
                  <a:close/>
                  <a:moveTo>
                    <a:pt x="2790" y="53"/>
                  </a:moveTo>
                  <a:lnTo>
                    <a:pt x="2790" y="53"/>
                  </a:lnTo>
                  <a:cubicBezTo>
                    <a:pt x="2787" y="63"/>
                    <a:pt x="2784" y="73"/>
                    <a:pt x="2781" y="83"/>
                  </a:cubicBezTo>
                  <a:cubicBezTo>
                    <a:pt x="2777" y="98"/>
                    <a:pt x="2770" y="121"/>
                    <a:pt x="2765" y="136"/>
                  </a:cubicBezTo>
                  <a:lnTo>
                    <a:pt x="2815" y="136"/>
                  </a:lnTo>
                  <a:lnTo>
                    <a:pt x="2790" y="53"/>
                  </a:lnTo>
                  <a:lnTo>
                    <a:pt x="2790" y="53"/>
                  </a:lnTo>
                  <a:close/>
                  <a:moveTo>
                    <a:pt x="2816" y="6"/>
                  </a:moveTo>
                  <a:lnTo>
                    <a:pt x="2816" y="6"/>
                  </a:lnTo>
                  <a:lnTo>
                    <a:pt x="2888" y="202"/>
                  </a:lnTo>
                  <a:lnTo>
                    <a:pt x="2836" y="202"/>
                  </a:lnTo>
                  <a:lnTo>
                    <a:pt x="2826" y="171"/>
                  </a:lnTo>
                  <a:lnTo>
                    <a:pt x="2754" y="171"/>
                  </a:lnTo>
                  <a:lnTo>
                    <a:pt x="2744" y="202"/>
                  </a:lnTo>
                  <a:lnTo>
                    <a:pt x="2692" y="202"/>
                  </a:lnTo>
                  <a:lnTo>
                    <a:pt x="2765" y="6"/>
                  </a:lnTo>
                  <a:lnTo>
                    <a:pt x="2816" y="6"/>
                  </a:lnTo>
                  <a:lnTo>
                    <a:pt x="2816" y="6"/>
                  </a:lnTo>
                  <a:close/>
                  <a:moveTo>
                    <a:pt x="2671" y="6"/>
                  </a:moveTo>
                  <a:lnTo>
                    <a:pt x="2671" y="6"/>
                  </a:lnTo>
                  <a:lnTo>
                    <a:pt x="2671" y="202"/>
                  </a:lnTo>
                  <a:lnTo>
                    <a:pt x="2624" y="202"/>
                  </a:lnTo>
                  <a:lnTo>
                    <a:pt x="2627" y="62"/>
                  </a:lnTo>
                  <a:lnTo>
                    <a:pt x="2628" y="43"/>
                  </a:lnTo>
                  <a:lnTo>
                    <a:pt x="2626" y="50"/>
                  </a:lnTo>
                  <a:cubicBezTo>
                    <a:pt x="2623" y="61"/>
                    <a:pt x="2623" y="62"/>
                    <a:pt x="2621" y="70"/>
                  </a:cubicBezTo>
                  <a:lnTo>
                    <a:pt x="2584" y="202"/>
                  </a:lnTo>
                  <a:lnTo>
                    <a:pt x="2541" y="202"/>
                  </a:lnTo>
                  <a:lnTo>
                    <a:pt x="2506" y="76"/>
                  </a:lnTo>
                  <a:lnTo>
                    <a:pt x="2497" y="41"/>
                  </a:lnTo>
                  <a:cubicBezTo>
                    <a:pt x="2498" y="56"/>
                    <a:pt x="2498" y="60"/>
                    <a:pt x="2499" y="78"/>
                  </a:cubicBezTo>
                  <a:lnTo>
                    <a:pt x="2501" y="202"/>
                  </a:lnTo>
                  <a:lnTo>
                    <a:pt x="2454" y="202"/>
                  </a:lnTo>
                  <a:lnTo>
                    <a:pt x="2454" y="6"/>
                  </a:lnTo>
                  <a:lnTo>
                    <a:pt x="2526" y="6"/>
                  </a:lnTo>
                  <a:lnTo>
                    <a:pt x="2556" y="116"/>
                  </a:lnTo>
                  <a:lnTo>
                    <a:pt x="2563" y="148"/>
                  </a:lnTo>
                  <a:cubicBezTo>
                    <a:pt x="2565" y="134"/>
                    <a:pt x="2566" y="133"/>
                    <a:pt x="2568" y="123"/>
                  </a:cubicBezTo>
                  <a:lnTo>
                    <a:pt x="2599" y="6"/>
                  </a:lnTo>
                  <a:lnTo>
                    <a:pt x="2671" y="6"/>
                  </a:lnTo>
                  <a:lnTo>
                    <a:pt x="2671" y="6"/>
                  </a:lnTo>
                  <a:close/>
                  <a:moveTo>
                    <a:pt x="2302" y="43"/>
                  </a:moveTo>
                  <a:lnTo>
                    <a:pt x="2302" y="43"/>
                  </a:lnTo>
                  <a:lnTo>
                    <a:pt x="2302" y="96"/>
                  </a:lnTo>
                  <a:lnTo>
                    <a:pt x="2343" y="96"/>
                  </a:lnTo>
                  <a:cubicBezTo>
                    <a:pt x="2350" y="95"/>
                    <a:pt x="2373" y="95"/>
                    <a:pt x="2373" y="69"/>
                  </a:cubicBezTo>
                  <a:cubicBezTo>
                    <a:pt x="2373" y="44"/>
                    <a:pt x="2354" y="43"/>
                    <a:pt x="2344" y="43"/>
                  </a:cubicBezTo>
                  <a:lnTo>
                    <a:pt x="2302" y="43"/>
                  </a:lnTo>
                  <a:lnTo>
                    <a:pt x="2302" y="43"/>
                  </a:lnTo>
                  <a:close/>
                  <a:moveTo>
                    <a:pt x="2253" y="6"/>
                  </a:moveTo>
                  <a:lnTo>
                    <a:pt x="2253" y="6"/>
                  </a:lnTo>
                  <a:lnTo>
                    <a:pt x="2342" y="6"/>
                  </a:lnTo>
                  <a:cubicBezTo>
                    <a:pt x="2362" y="6"/>
                    <a:pt x="2388" y="6"/>
                    <a:pt x="2406" y="26"/>
                  </a:cubicBezTo>
                  <a:cubicBezTo>
                    <a:pt x="2415" y="36"/>
                    <a:pt x="2422" y="52"/>
                    <a:pt x="2422" y="70"/>
                  </a:cubicBezTo>
                  <a:cubicBezTo>
                    <a:pt x="2422" y="109"/>
                    <a:pt x="2395" y="119"/>
                    <a:pt x="2381" y="124"/>
                  </a:cubicBezTo>
                  <a:lnTo>
                    <a:pt x="2427" y="202"/>
                  </a:lnTo>
                  <a:lnTo>
                    <a:pt x="2372" y="202"/>
                  </a:lnTo>
                  <a:lnTo>
                    <a:pt x="2333" y="132"/>
                  </a:lnTo>
                  <a:lnTo>
                    <a:pt x="2302" y="132"/>
                  </a:lnTo>
                  <a:lnTo>
                    <a:pt x="2302" y="202"/>
                  </a:lnTo>
                  <a:lnTo>
                    <a:pt x="2253" y="202"/>
                  </a:lnTo>
                  <a:lnTo>
                    <a:pt x="2253" y="6"/>
                  </a:lnTo>
                  <a:lnTo>
                    <a:pt x="2253" y="6"/>
                  </a:lnTo>
                  <a:close/>
                  <a:moveTo>
                    <a:pt x="2134" y="53"/>
                  </a:moveTo>
                  <a:lnTo>
                    <a:pt x="2134" y="53"/>
                  </a:lnTo>
                  <a:cubicBezTo>
                    <a:pt x="2131" y="63"/>
                    <a:pt x="2128" y="73"/>
                    <a:pt x="2125" y="83"/>
                  </a:cubicBezTo>
                  <a:cubicBezTo>
                    <a:pt x="2121" y="98"/>
                    <a:pt x="2114" y="121"/>
                    <a:pt x="2109" y="136"/>
                  </a:cubicBezTo>
                  <a:lnTo>
                    <a:pt x="2159" y="136"/>
                  </a:lnTo>
                  <a:lnTo>
                    <a:pt x="2134" y="53"/>
                  </a:lnTo>
                  <a:lnTo>
                    <a:pt x="2134" y="53"/>
                  </a:lnTo>
                  <a:close/>
                  <a:moveTo>
                    <a:pt x="2160" y="6"/>
                  </a:moveTo>
                  <a:lnTo>
                    <a:pt x="2160" y="6"/>
                  </a:lnTo>
                  <a:lnTo>
                    <a:pt x="2232" y="202"/>
                  </a:lnTo>
                  <a:lnTo>
                    <a:pt x="2180" y="202"/>
                  </a:lnTo>
                  <a:lnTo>
                    <a:pt x="2170" y="171"/>
                  </a:lnTo>
                  <a:lnTo>
                    <a:pt x="2098" y="171"/>
                  </a:lnTo>
                  <a:lnTo>
                    <a:pt x="2088" y="202"/>
                  </a:lnTo>
                  <a:lnTo>
                    <a:pt x="2036" y="202"/>
                  </a:lnTo>
                  <a:lnTo>
                    <a:pt x="2109" y="6"/>
                  </a:lnTo>
                  <a:lnTo>
                    <a:pt x="2160" y="6"/>
                  </a:lnTo>
                  <a:lnTo>
                    <a:pt x="2160" y="6"/>
                  </a:lnTo>
                  <a:close/>
                  <a:moveTo>
                    <a:pt x="2015" y="6"/>
                  </a:moveTo>
                  <a:lnTo>
                    <a:pt x="2015" y="6"/>
                  </a:lnTo>
                  <a:lnTo>
                    <a:pt x="2015" y="202"/>
                  </a:lnTo>
                  <a:lnTo>
                    <a:pt x="1966" y="202"/>
                  </a:lnTo>
                  <a:lnTo>
                    <a:pt x="1966" y="119"/>
                  </a:lnTo>
                  <a:lnTo>
                    <a:pt x="1894" y="119"/>
                  </a:lnTo>
                  <a:lnTo>
                    <a:pt x="1894" y="202"/>
                  </a:lnTo>
                  <a:lnTo>
                    <a:pt x="1845" y="202"/>
                  </a:lnTo>
                  <a:lnTo>
                    <a:pt x="1845" y="6"/>
                  </a:lnTo>
                  <a:lnTo>
                    <a:pt x="1894" y="6"/>
                  </a:lnTo>
                  <a:lnTo>
                    <a:pt x="1894" y="77"/>
                  </a:lnTo>
                  <a:lnTo>
                    <a:pt x="1966" y="77"/>
                  </a:lnTo>
                  <a:lnTo>
                    <a:pt x="1966" y="6"/>
                  </a:lnTo>
                  <a:lnTo>
                    <a:pt x="2015" y="6"/>
                  </a:lnTo>
                  <a:lnTo>
                    <a:pt x="2015" y="6"/>
                  </a:lnTo>
                  <a:close/>
                  <a:moveTo>
                    <a:pt x="1701" y="42"/>
                  </a:moveTo>
                  <a:lnTo>
                    <a:pt x="1701" y="42"/>
                  </a:lnTo>
                  <a:lnTo>
                    <a:pt x="1701" y="102"/>
                  </a:lnTo>
                  <a:lnTo>
                    <a:pt x="1731" y="102"/>
                  </a:lnTo>
                  <a:cubicBezTo>
                    <a:pt x="1749" y="102"/>
                    <a:pt x="1771" y="101"/>
                    <a:pt x="1771" y="71"/>
                  </a:cubicBezTo>
                  <a:cubicBezTo>
                    <a:pt x="1771" y="42"/>
                    <a:pt x="1747" y="42"/>
                    <a:pt x="1732" y="42"/>
                  </a:cubicBezTo>
                  <a:lnTo>
                    <a:pt x="1701" y="42"/>
                  </a:lnTo>
                  <a:lnTo>
                    <a:pt x="1701" y="42"/>
                  </a:lnTo>
                  <a:close/>
                  <a:moveTo>
                    <a:pt x="1652" y="6"/>
                  </a:moveTo>
                  <a:lnTo>
                    <a:pt x="1652" y="6"/>
                  </a:lnTo>
                  <a:lnTo>
                    <a:pt x="1731" y="6"/>
                  </a:lnTo>
                  <a:cubicBezTo>
                    <a:pt x="1763" y="6"/>
                    <a:pt x="1792" y="6"/>
                    <a:pt x="1809" y="31"/>
                  </a:cubicBezTo>
                  <a:cubicBezTo>
                    <a:pt x="1817" y="42"/>
                    <a:pt x="1820" y="58"/>
                    <a:pt x="1820" y="71"/>
                  </a:cubicBezTo>
                  <a:cubicBezTo>
                    <a:pt x="1820" y="82"/>
                    <a:pt x="1818" y="92"/>
                    <a:pt x="1814" y="102"/>
                  </a:cubicBezTo>
                  <a:cubicBezTo>
                    <a:pt x="1797" y="137"/>
                    <a:pt x="1761" y="138"/>
                    <a:pt x="1734" y="138"/>
                  </a:cubicBezTo>
                  <a:lnTo>
                    <a:pt x="1701" y="138"/>
                  </a:lnTo>
                  <a:lnTo>
                    <a:pt x="1701" y="202"/>
                  </a:lnTo>
                  <a:lnTo>
                    <a:pt x="1652" y="202"/>
                  </a:lnTo>
                  <a:lnTo>
                    <a:pt x="1652" y="6"/>
                  </a:lnTo>
                  <a:lnTo>
                    <a:pt x="1652" y="6"/>
                  </a:lnTo>
                  <a:close/>
                  <a:moveTo>
                    <a:pt x="1373" y="6"/>
                  </a:moveTo>
                  <a:lnTo>
                    <a:pt x="1373" y="6"/>
                  </a:lnTo>
                  <a:lnTo>
                    <a:pt x="1422" y="6"/>
                  </a:lnTo>
                  <a:lnTo>
                    <a:pt x="1464" y="78"/>
                  </a:lnTo>
                  <a:cubicBezTo>
                    <a:pt x="1480" y="106"/>
                    <a:pt x="1485" y="115"/>
                    <a:pt x="1494" y="132"/>
                  </a:cubicBezTo>
                  <a:lnTo>
                    <a:pt x="1492" y="6"/>
                  </a:lnTo>
                  <a:lnTo>
                    <a:pt x="1539" y="6"/>
                  </a:lnTo>
                  <a:lnTo>
                    <a:pt x="1539" y="202"/>
                  </a:lnTo>
                  <a:lnTo>
                    <a:pt x="1490" y="202"/>
                  </a:lnTo>
                  <a:lnTo>
                    <a:pt x="1454" y="140"/>
                  </a:lnTo>
                  <a:cubicBezTo>
                    <a:pt x="1436" y="111"/>
                    <a:pt x="1432" y="105"/>
                    <a:pt x="1419" y="79"/>
                  </a:cubicBezTo>
                  <a:lnTo>
                    <a:pt x="1420" y="202"/>
                  </a:lnTo>
                  <a:lnTo>
                    <a:pt x="1373" y="202"/>
                  </a:lnTo>
                  <a:lnTo>
                    <a:pt x="1373" y="6"/>
                  </a:lnTo>
                  <a:lnTo>
                    <a:pt x="1373" y="6"/>
                  </a:lnTo>
                  <a:close/>
                  <a:moveTo>
                    <a:pt x="1189" y="6"/>
                  </a:moveTo>
                  <a:lnTo>
                    <a:pt x="1189" y="6"/>
                  </a:lnTo>
                  <a:lnTo>
                    <a:pt x="1335" y="6"/>
                  </a:lnTo>
                  <a:lnTo>
                    <a:pt x="1335" y="44"/>
                  </a:lnTo>
                  <a:lnTo>
                    <a:pt x="1238" y="44"/>
                  </a:lnTo>
                  <a:lnTo>
                    <a:pt x="1238" y="80"/>
                  </a:lnTo>
                  <a:lnTo>
                    <a:pt x="1328" y="80"/>
                  </a:lnTo>
                  <a:lnTo>
                    <a:pt x="1328" y="117"/>
                  </a:lnTo>
                  <a:lnTo>
                    <a:pt x="1238" y="117"/>
                  </a:lnTo>
                  <a:lnTo>
                    <a:pt x="1238" y="164"/>
                  </a:lnTo>
                  <a:lnTo>
                    <a:pt x="1343" y="164"/>
                  </a:lnTo>
                  <a:lnTo>
                    <a:pt x="1343" y="202"/>
                  </a:lnTo>
                  <a:lnTo>
                    <a:pt x="1189" y="202"/>
                  </a:lnTo>
                  <a:lnTo>
                    <a:pt x="1189" y="6"/>
                  </a:lnTo>
                  <a:lnTo>
                    <a:pt x="1189" y="6"/>
                  </a:lnTo>
                  <a:close/>
                  <a:moveTo>
                    <a:pt x="1017" y="143"/>
                  </a:moveTo>
                  <a:lnTo>
                    <a:pt x="1017" y="143"/>
                  </a:lnTo>
                  <a:cubicBezTo>
                    <a:pt x="1022" y="149"/>
                    <a:pt x="1026" y="153"/>
                    <a:pt x="1036" y="159"/>
                  </a:cubicBezTo>
                  <a:cubicBezTo>
                    <a:pt x="1049" y="166"/>
                    <a:pt x="1062" y="168"/>
                    <a:pt x="1074" y="168"/>
                  </a:cubicBezTo>
                  <a:cubicBezTo>
                    <a:pt x="1093" y="168"/>
                    <a:pt x="1110" y="159"/>
                    <a:pt x="1110" y="145"/>
                  </a:cubicBezTo>
                  <a:cubicBezTo>
                    <a:pt x="1110" y="130"/>
                    <a:pt x="1090" y="127"/>
                    <a:pt x="1076" y="125"/>
                  </a:cubicBezTo>
                  <a:cubicBezTo>
                    <a:pt x="1065" y="124"/>
                    <a:pt x="1054" y="123"/>
                    <a:pt x="1043" y="120"/>
                  </a:cubicBezTo>
                  <a:cubicBezTo>
                    <a:pt x="1031" y="118"/>
                    <a:pt x="990" y="109"/>
                    <a:pt x="990" y="67"/>
                  </a:cubicBezTo>
                  <a:cubicBezTo>
                    <a:pt x="990" y="16"/>
                    <a:pt x="1035" y="1"/>
                    <a:pt x="1069" y="1"/>
                  </a:cubicBezTo>
                  <a:cubicBezTo>
                    <a:pt x="1115" y="1"/>
                    <a:pt x="1139" y="23"/>
                    <a:pt x="1156" y="38"/>
                  </a:cubicBezTo>
                  <a:lnTo>
                    <a:pt x="1120" y="64"/>
                  </a:lnTo>
                  <a:cubicBezTo>
                    <a:pt x="1114" y="58"/>
                    <a:pt x="1108" y="53"/>
                    <a:pt x="1101" y="48"/>
                  </a:cubicBezTo>
                  <a:cubicBezTo>
                    <a:pt x="1094" y="45"/>
                    <a:pt x="1081" y="40"/>
                    <a:pt x="1069" y="40"/>
                  </a:cubicBezTo>
                  <a:cubicBezTo>
                    <a:pt x="1049" y="40"/>
                    <a:pt x="1039" y="51"/>
                    <a:pt x="1039" y="60"/>
                  </a:cubicBezTo>
                  <a:cubicBezTo>
                    <a:pt x="1039" y="75"/>
                    <a:pt x="1056" y="78"/>
                    <a:pt x="1064" y="79"/>
                  </a:cubicBezTo>
                  <a:cubicBezTo>
                    <a:pt x="1085" y="81"/>
                    <a:pt x="1113" y="87"/>
                    <a:pt x="1125" y="90"/>
                  </a:cubicBezTo>
                  <a:cubicBezTo>
                    <a:pt x="1147" y="99"/>
                    <a:pt x="1159" y="116"/>
                    <a:pt x="1159" y="139"/>
                  </a:cubicBezTo>
                  <a:cubicBezTo>
                    <a:pt x="1159" y="153"/>
                    <a:pt x="1153" y="168"/>
                    <a:pt x="1143" y="180"/>
                  </a:cubicBezTo>
                  <a:cubicBezTo>
                    <a:pt x="1125" y="201"/>
                    <a:pt x="1097" y="207"/>
                    <a:pt x="1069" y="207"/>
                  </a:cubicBezTo>
                  <a:cubicBezTo>
                    <a:pt x="1014" y="207"/>
                    <a:pt x="992" y="181"/>
                    <a:pt x="979" y="167"/>
                  </a:cubicBezTo>
                  <a:lnTo>
                    <a:pt x="1017" y="143"/>
                  </a:lnTo>
                  <a:lnTo>
                    <a:pt x="1017" y="143"/>
                  </a:lnTo>
                  <a:close/>
                  <a:moveTo>
                    <a:pt x="823" y="143"/>
                  </a:moveTo>
                  <a:lnTo>
                    <a:pt x="823" y="143"/>
                  </a:lnTo>
                  <a:cubicBezTo>
                    <a:pt x="828" y="149"/>
                    <a:pt x="832" y="153"/>
                    <a:pt x="842" y="159"/>
                  </a:cubicBezTo>
                  <a:cubicBezTo>
                    <a:pt x="855" y="166"/>
                    <a:pt x="868" y="168"/>
                    <a:pt x="880" y="168"/>
                  </a:cubicBezTo>
                  <a:cubicBezTo>
                    <a:pt x="899" y="168"/>
                    <a:pt x="916" y="159"/>
                    <a:pt x="916" y="145"/>
                  </a:cubicBezTo>
                  <a:cubicBezTo>
                    <a:pt x="916" y="130"/>
                    <a:pt x="896" y="127"/>
                    <a:pt x="882" y="125"/>
                  </a:cubicBezTo>
                  <a:cubicBezTo>
                    <a:pt x="871" y="124"/>
                    <a:pt x="860" y="123"/>
                    <a:pt x="849" y="120"/>
                  </a:cubicBezTo>
                  <a:cubicBezTo>
                    <a:pt x="837" y="118"/>
                    <a:pt x="796" y="109"/>
                    <a:pt x="796" y="67"/>
                  </a:cubicBezTo>
                  <a:cubicBezTo>
                    <a:pt x="796" y="16"/>
                    <a:pt x="842" y="1"/>
                    <a:pt x="876" y="1"/>
                  </a:cubicBezTo>
                  <a:cubicBezTo>
                    <a:pt x="921" y="1"/>
                    <a:pt x="946" y="23"/>
                    <a:pt x="963" y="38"/>
                  </a:cubicBezTo>
                  <a:lnTo>
                    <a:pt x="926" y="64"/>
                  </a:lnTo>
                  <a:cubicBezTo>
                    <a:pt x="920" y="58"/>
                    <a:pt x="915" y="53"/>
                    <a:pt x="907" y="48"/>
                  </a:cubicBezTo>
                  <a:cubicBezTo>
                    <a:pt x="900" y="45"/>
                    <a:pt x="887" y="40"/>
                    <a:pt x="875" y="40"/>
                  </a:cubicBezTo>
                  <a:cubicBezTo>
                    <a:pt x="855" y="40"/>
                    <a:pt x="846" y="51"/>
                    <a:pt x="846" y="60"/>
                  </a:cubicBezTo>
                  <a:cubicBezTo>
                    <a:pt x="846" y="75"/>
                    <a:pt x="862" y="78"/>
                    <a:pt x="871" y="79"/>
                  </a:cubicBezTo>
                  <a:cubicBezTo>
                    <a:pt x="891" y="81"/>
                    <a:pt x="920" y="87"/>
                    <a:pt x="931" y="90"/>
                  </a:cubicBezTo>
                  <a:cubicBezTo>
                    <a:pt x="953" y="99"/>
                    <a:pt x="965" y="116"/>
                    <a:pt x="965" y="139"/>
                  </a:cubicBezTo>
                  <a:cubicBezTo>
                    <a:pt x="965" y="153"/>
                    <a:pt x="959" y="168"/>
                    <a:pt x="949" y="180"/>
                  </a:cubicBezTo>
                  <a:cubicBezTo>
                    <a:pt x="931" y="201"/>
                    <a:pt x="903" y="207"/>
                    <a:pt x="875" y="207"/>
                  </a:cubicBezTo>
                  <a:cubicBezTo>
                    <a:pt x="820" y="207"/>
                    <a:pt x="798" y="181"/>
                    <a:pt x="786" y="167"/>
                  </a:cubicBezTo>
                  <a:lnTo>
                    <a:pt x="823" y="143"/>
                  </a:lnTo>
                  <a:lnTo>
                    <a:pt x="823" y="143"/>
                  </a:lnTo>
                  <a:close/>
                  <a:moveTo>
                    <a:pt x="596" y="6"/>
                  </a:moveTo>
                  <a:lnTo>
                    <a:pt x="596" y="6"/>
                  </a:lnTo>
                  <a:lnTo>
                    <a:pt x="645" y="6"/>
                  </a:lnTo>
                  <a:lnTo>
                    <a:pt x="687" y="78"/>
                  </a:lnTo>
                  <a:cubicBezTo>
                    <a:pt x="703" y="106"/>
                    <a:pt x="708" y="115"/>
                    <a:pt x="717" y="132"/>
                  </a:cubicBezTo>
                  <a:lnTo>
                    <a:pt x="715" y="6"/>
                  </a:lnTo>
                  <a:lnTo>
                    <a:pt x="762" y="6"/>
                  </a:lnTo>
                  <a:lnTo>
                    <a:pt x="762" y="202"/>
                  </a:lnTo>
                  <a:lnTo>
                    <a:pt x="713" y="202"/>
                  </a:lnTo>
                  <a:lnTo>
                    <a:pt x="677" y="140"/>
                  </a:lnTo>
                  <a:cubicBezTo>
                    <a:pt x="659" y="111"/>
                    <a:pt x="656" y="105"/>
                    <a:pt x="642" y="79"/>
                  </a:cubicBezTo>
                  <a:lnTo>
                    <a:pt x="644" y="202"/>
                  </a:lnTo>
                  <a:lnTo>
                    <a:pt x="596" y="202"/>
                  </a:lnTo>
                  <a:lnTo>
                    <a:pt x="596" y="6"/>
                  </a:lnTo>
                  <a:lnTo>
                    <a:pt x="596" y="6"/>
                  </a:lnTo>
                  <a:close/>
                  <a:moveTo>
                    <a:pt x="477" y="53"/>
                  </a:moveTo>
                  <a:lnTo>
                    <a:pt x="477" y="53"/>
                  </a:lnTo>
                  <a:cubicBezTo>
                    <a:pt x="474" y="63"/>
                    <a:pt x="472" y="73"/>
                    <a:pt x="469" y="83"/>
                  </a:cubicBezTo>
                  <a:cubicBezTo>
                    <a:pt x="465" y="98"/>
                    <a:pt x="457" y="121"/>
                    <a:pt x="453" y="136"/>
                  </a:cubicBezTo>
                  <a:lnTo>
                    <a:pt x="503" y="136"/>
                  </a:lnTo>
                  <a:lnTo>
                    <a:pt x="477" y="53"/>
                  </a:lnTo>
                  <a:lnTo>
                    <a:pt x="477" y="53"/>
                  </a:lnTo>
                  <a:close/>
                  <a:moveTo>
                    <a:pt x="503" y="6"/>
                  </a:moveTo>
                  <a:lnTo>
                    <a:pt x="503" y="6"/>
                  </a:lnTo>
                  <a:lnTo>
                    <a:pt x="576" y="202"/>
                  </a:lnTo>
                  <a:lnTo>
                    <a:pt x="523" y="202"/>
                  </a:lnTo>
                  <a:lnTo>
                    <a:pt x="514" y="171"/>
                  </a:lnTo>
                  <a:lnTo>
                    <a:pt x="441" y="171"/>
                  </a:lnTo>
                  <a:lnTo>
                    <a:pt x="432" y="202"/>
                  </a:lnTo>
                  <a:lnTo>
                    <a:pt x="379" y="202"/>
                  </a:lnTo>
                  <a:lnTo>
                    <a:pt x="452" y="6"/>
                  </a:lnTo>
                  <a:lnTo>
                    <a:pt x="503" y="6"/>
                  </a:lnTo>
                  <a:lnTo>
                    <a:pt x="503" y="6"/>
                  </a:lnTo>
                  <a:close/>
                  <a:moveTo>
                    <a:pt x="315" y="6"/>
                  </a:moveTo>
                  <a:lnTo>
                    <a:pt x="315" y="6"/>
                  </a:lnTo>
                  <a:lnTo>
                    <a:pt x="365" y="6"/>
                  </a:lnTo>
                  <a:lnTo>
                    <a:pt x="365" y="148"/>
                  </a:lnTo>
                  <a:cubicBezTo>
                    <a:pt x="365" y="166"/>
                    <a:pt x="365" y="178"/>
                    <a:pt x="355" y="189"/>
                  </a:cubicBezTo>
                  <a:cubicBezTo>
                    <a:pt x="344" y="201"/>
                    <a:pt x="326" y="202"/>
                    <a:pt x="310" y="202"/>
                  </a:cubicBezTo>
                  <a:lnTo>
                    <a:pt x="277" y="202"/>
                  </a:lnTo>
                  <a:lnTo>
                    <a:pt x="277" y="163"/>
                  </a:lnTo>
                  <a:lnTo>
                    <a:pt x="285" y="163"/>
                  </a:lnTo>
                  <a:cubicBezTo>
                    <a:pt x="312" y="163"/>
                    <a:pt x="315" y="160"/>
                    <a:pt x="315" y="142"/>
                  </a:cubicBezTo>
                  <a:lnTo>
                    <a:pt x="315" y="6"/>
                  </a:lnTo>
                  <a:lnTo>
                    <a:pt x="315" y="6"/>
                  </a:lnTo>
                  <a:close/>
                  <a:moveTo>
                    <a:pt x="97" y="53"/>
                  </a:moveTo>
                  <a:lnTo>
                    <a:pt x="97" y="53"/>
                  </a:lnTo>
                  <a:cubicBezTo>
                    <a:pt x="95" y="63"/>
                    <a:pt x="92" y="73"/>
                    <a:pt x="89" y="83"/>
                  </a:cubicBezTo>
                  <a:cubicBezTo>
                    <a:pt x="85" y="98"/>
                    <a:pt x="78" y="121"/>
                    <a:pt x="73" y="136"/>
                  </a:cubicBezTo>
                  <a:lnTo>
                    <a:pt x="123" y="136"/>
                  </a:lnTo>
                  <a:lnTo>
                    <a:pt x="97" y="53"/>
                  </a:lnTo>
                  <a:lnTo>
                    <a:pt x="97" y="53"/>
                  </a:lnTo>
                  <a:close/>
                  <a:moveTo>
                    <a:pt x="124" y="6"/>
                  </a:moveTo>
                  <a:lnTo>
                    <a:pt x="124" y="6"/>
                  </a:lnTo>
                  <a:lnTo>
                    <a:pt x="196" y="202"/>
                  </a:lnTo>
                  <a:lnTo>
                    <a:pt x="144" y="202"/>
                  </a:lnTo>
                  <a:lnTo>
                    <a:pt x="134" y="171"/>
                  </a:lnTo>
                  <a:lnTo>
                    <a:pt x="62" y="171"/>
                  </a:lnTo>
                  <a:lnTo>
                    <a:pt x="52" y="202"/>
                  </a:lnTo>
                  <a:lnTo>
                    <a:pt x="0" y="202"/>
                  </a:lnTo>
                  <a:lnTo>
                    <a:pt x="73" y="6"/>
                  </a:lnTo>
                  <a:lnTo>
                    <a:pt x="124" y="6"/>
                  </a:lnTo>
                  <a:close/>
                </a:path>
              </a:pathLst>
            </a:custGeom>
            <a:solidFill>
              <a:srgbClr val="8C8C8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" name="Freeform 9"/>
            <p:cNvSpPr>
              <a:spLocks noEditPoints="1"/>
            </p:cNvSpPr>
            <p:nvPr userDrawn="1"/>
          </p:nvSpPr>
          <p:spPr bwMode="auto">
            <a:xfrm>
              <a:off x="4817" y="2964"/>
              <a:ext cx="408" cy="75"/>
            </a:xfrm>
            <a:custGeom>
              <a:avLst/>
              <a:gdLst>
                <a:gd name="T0" fmla="*/ 2879 w 3218"/>
                <a:gd name="T1" fmla="*/ 212 h 584"/>
                <a:gd name="T2" fmla="*/ 2035 w 3218"/>
                <a:gd name="T3" fmla="*/ 212 h 584"/>
                <a:gd name="T4" fmla="*/ 2198 w 3218"/>
                <a:gd name="T5" fmla="*/ 170 h 584"/>
                <a:gd name="T6" fmla="*/ 1787 w 3218"/>
                <a:gd name="T7" fmla="*/ 546 h 584"/>
                <a:gd name="T8" fmla="*/ 2686 w 3218"/>
                <a:gd name="T9" fmla="*/ 327 h 584"/>
                <a:gd name="T10" fmla="*/ 1850 w 3218"/>
                <a:gd name="T11" fmla="*/ 22 h 584"/>
                <a:gd name="T12" fmla="*/ 1848 w 3218"/>
                <a:gd name="T13" fmla="*/ 20 h 584"/>
                <a:gd name="T14" fmla="*/ 1736 w 3218"/>
                <a:gd name="T15" fmla="*/ 517 h 584"/>
                <a:gd name="T16" fmla="*/ 2011 w 3218"/>
                <a:gd name="T17" fmla="*/ 368 h 584"/>
                <a:gd name="T18" fmla="*/ 2201 w 3218"/>
                <a:gd name="T19" fmla="*/ 338 h 584"/>
                <a:gd name="T20" fmla="*/ 2322 w 3218"/>
                <a:gd name="T21" fmla="*/ 352 h 584"/>
                <a:gd name="T22" fmla="*/ 2456 w 3218"/>
                <a:gd name="T23" fmla="*/ 348 h 584"/>
                <a:gd name="T24" fmla="*/ 2590 w 3218"/>
                <a:gd name="T25" fmla="*/ 344 h 584"/>
                <a:gd name="T26" fmla="*/ 2716 w 3218"/>
                <a:gd name="T27" fmla="*/ 265 h 584"/>
                <a:gd name="T28" fmla="*/ 2973 w 3218"/>
                <a:gd name="T29" fmla="*/ 223 h 584"/>
                <a:gd name="T30" fmla="*/ 3104 w 3218"/>
                <a:gd name="T31" fmla="*/ 234 h 584"/>
                <a:gd name="T32" fmla="*/ 3218 w 3218"/>
                <a:gd name="T33" fmla="*/ 297 h 584"/>
                <a:gd name="T34" fmla="*/ 3137 w 3218"/>
                <a:gd name="T35" fmla="*/ 175 h 584"/>
                <a:gd name="T36" fmla="*/ 3017 w 3218"/>
                <a:gd name="T37" fmla="*/ 175 h 584"/>
                <a:gd name="T38" fmla="*/ 2909 w 3218"/>
                <a:gd name="T39" fmla="*/ 250 h 584"/>
                <a:gd name="T40" fmla="*/ 2849 w 3218"/>
                <a:gd name="T41" fmla="*/ 178 h 584"/>
                <a:gd name="T42" fmla="*/ 2661 w 3218"/>
                <a:gd name="T43" fmla="*/ 183 h 584"/>
                <a:gd name="T44" fmla="*/ 2516 w 3218"/>
                <a:gd name="T45" fmla="*/ 197 h 584"/>
                <a:gd name="T46" fmla="*/ 2396 w 3218"/>
                <a:gd name="T47" fmla="*/ 197 h 584"/>
                <a:gd name="T48" fmla="*/ 2251 w 3218"/>
                <a:gd name="T49" fmla="*/ 207 h 584"/>
                <a:gd name="T50" fmla="*/ 2222 w 3218"/>
                <a:gd name="T51" fmla="*/ 6 h 584"/>
                <a:gd name="T52" fmla="*/ 2066 w 3218"/>
                <a:gd name="T53" fmla="*/ 251 h 584"/>
                <a:gd name="T54" fmla="*/ 2005 w 3218"/>
                <a:gd name="T55" fmla="*/ 178 h 584"/>
                <a:gd name="T56" fmla="*/ 1862 w 3218"/>
                <a:gd name="T57" fmla="*/ 0 h 584"/>
                <a:gd name="T58" fmla="*/ 1659 w 3218"/>
                <a:gd name="T59" fmla="*/ 219 h 584"/>
                <a:gd name="T60" fmla="*/ 1572 w 3218"/>
                <a:gd name="T61" fmla="*/ 253 h 584"/>
                <a:gd name="T62" fmla="*/ 1674 w 3218"/>
                <a:gd name="T63" fmla="*/ 320 h 584"/>
                <a:gd name="T64" fmla="*/ 1612 w 3218"/>
                <a:gd name="T65" fmla="*/ 310 h 584"/>
                <a:gd name="T66" fmla="*/ 1168 w 3218"/>
                <a:gd name="T67" fmla="*/ 212 h 584"/>
                <a:gd name="T68" fmla="*/ 324 w 3218"/>
                <a:gd name="T69" fmla="*/ 212 h 584"/>
                <a:gd name="T70" fmla="*/ 487 w 3218"/>
                <a:gd name="T71" fmla="*/ 127 h 584"/>
                <a:gd name="T72" fmla="*/ 487 w 3218"/>
                <a:gd name="T73" fmla="*/ 127 h 584"/>
                <a:gd name="T74" fmla="*/ 1231 w 3218"/>
                <a:gd name="T75" fmla="*/ 243 h 584"/>
                <a:gd name="T76" fmla="*/ 1334 w 3218"/>
                <a:gd name="T77" fmla="*/ 348 h 584"/>
                <a:gd name="T78" fmla="*/ 1505 w 3218"/>
                <a:gd name="T79" fmla="*/ 303 h 584"/>
                <a:gd name="T80" fmla="*/ 1454 w 3218"/>
                <a:gd name="T81" fmla="*/ 214 h 584"/>
                <a:gd name="T82" fmla="*/ 1335 w 3218"/>
                <a:gd name="T83" fmla="*/ 214 h 584"/>
                <a:gd name="T84" fmla="*/ 1169 w 3218"/>
                <a:gd name="T85" fmla="*/ 246 h 584"/>
                <a:gd name="T86" fmla="*/ 1128 w 3218"/>
                <a:gd name="T87" fmla="*/ 194 h 584"/>
                <a:gd name="T88" fmla="*/ 958 w 3218"/>
                <a:gd name="T89" fmla="*/ 171 h 584"/>
                <a:gd name="T90" fmla="*/ 839 w 3218"/>
                <a:gd name="T91" fmla="*/ 175 h 584"/>
                <a:gd name="T92" fmla="*/ 720 w 3218"/>
                <a:gd name="T93" fmla="*/ 175 h 584"/>
                <a:gd name="T94" fmla="*/ 580 w 3218"/>
                <a:gd name="T95" fmla="*/ 175 h 584"/>
                <a:gd name="T96" fmla="*/ 546 w 3218"/>
                <a:gd name="T97" fmla="*/ 55 h 584"/>
                <a:gd name="T98" fmla="*/ 298 w 3218"/>
                <a:gd name="T99" fmla="*/ 207 h 584"/>
                <a:gd name="T100" fmla="*/ 285 w 3218"/>
                <a:gd name="T101" fmla="*/ 194 h 584"/>
                <a:gd name="T102" fmla="*/ 160 w 3218"/>
                <a:gd name="T103" fmla="*/ 7 h 584"/>
                <a:gd name="T104" fmla="*/ 163 w 3218"/>
                <a:gd name="T105" fmla="*/ 372 h 584"/>
                <a:gd name="T106" fmla="*/ 388 w 3218"/>
                <a:gd name="T107" fmla="*/ 248 h 584"/>
                <a:gd name="T108" fmla="*/ 555 w 3218"/>
                <a:gd name="T109" fmla="*/ 225 h 584"/>
                <a:gd name="T110" fmla="*/ 693 w 3218"/>
                <a:gd name="T111" fmla="*/ 228 h 584"/>
                <a:gd name="T112" fmla="*/ 812 w 3218"/>
                <a:gd name="T113" fmla="*/ 225 h 584"/>
                <a:gd name="T114" fmla="*/ 961 w 3218"/>
                <a:gd name="T115" fmla="*/ 277 h 584"/>
                <a:gd name="T116" fmla="*/ 1079 w 3218"/>
                <a:gd name="T117" fmla="*/ 213 h 584"/>
                <a:gd name="T118" fmla="*/ 118 w 3218"/>
                <a:gd name="T119" fmla="*/ 341 h 584"/>
                <a:gd name="T120" fmla="*/ 956 w 3218"/>
                <a:gd name="T121" fmla="*/ 332 h 584"/>
                <a:gd name="T122" fmla="*/ 99 w 3218"/>
                <a:gd name="T123" fmla="*/ 197 h 5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218" h="584">
                  <a:moveTo>
                    <a:pt x="2879" y="212"/>
                  </a:moveTo>
                  <a:lnTo>
                    <a:pt x="2879" y="212"/>
                  </a:lnTo>
                  <a:cubicBezTo>
                    <a:pt x="2879" y="206"/>
                    <a:pt x="2882" y="203"/>
                    <a:pt x="2887" y="203"/>
                  </a:cubicBezTo>
                  <a:cubicBezTo>
                    <a:pt x="2894" y="203"/>
                    <a:pt x="2906" y="212"/>
                    <a:pt x="2912" y="228"/>
                  </a:cubicBezTo>
                  <a:cubicBezTo>
                    <a:pt x="2910" y="228"/>
                    <a:pt x="2907" y="229"/>
                    <a:pt x="2904" y="229"/>
                  </a:cubicBezTo>
                  <a:cubicBezTo>
                    <a:pt x="2890" y="229"/>
                    <a:pt x="2879" y="222"/>
                    <a:pt x="2879" y="212"/>
                  </a:cubicBezTo>
                  <a:lnTo>
                    <a:pt x="2879" y="212"/>
                  </a:lnTo>
                  <a:close/>
                  <a:moveTo>
                    <a:pt x="2035" y="212"/>
                  </a:moveTo>
                  <a:lnTo>
                    <a:pt x="2035" y="212"/>
                  </a:lnTo>
                  <a:cubicBezTo>
                    <a:pt x="2035" y="206"/>
                    <a:pt x="2039" y="203"/>
                    <a:pt x="2043" y="203"/>
                  </a:cubicBezTo>
                  <a:cubicBezTo>
                    <a:pt x="2051" y="203"/>
                    <a:pt x="2062" y="212"/>
                    <a:pt x="2068" y="228"/>
                  </a:cubicBezTo>
                  <a:cubicBezTo>
                    <a:pt x="2047" y="228"/>
                    <a:pt x="2035" y="223"/>
                    <a:pt x="2035" y="212"/>
                  </a:cubicBezTo>
                  <a:lnTo>
                    <a:pt x="2035" y="212"/>
                  </a:lnTo>
                  <a:close/>
                  <a:moveTo>
                    <a:pt x="2198" y="127"/>
                  </a:moveTo>
                  <a:lnTo>
                    <a:pt x="2198" y="127"/>
                  </a:lnTo>
                  <a:cubicBezTo>
                    <a:pt x="2198" y="40"/>
                    <a:pt x="2215" y="27"/>
                    <a:pt x="2220" y="27"/>
                  </a:cubicBezTo>
                  <a:cubicBezTo>
                    <a:pt x="2229" y="27"/>
                    <a:pt x="2230" y="33"/>
                    <a:pt x="2230" y="66"/>
                  </a:cubicBezTo>
                  <a:cubicBezTo>
                    <a:pt x="2230" y="101"/>
                    <a:pt x="2216" y="146"/>
                    <a:pt x="2198" y="170"/>
                  </a:cubicBezTo>
                  <a:lnTo>
                    <a:pt x="2198" y="127"/>
                  </a:lnTo>
                  <a:lnTo>
                    <a:pt x="2198" y="127"/>
                  </a:lnTo>
                  <a:close/>
                  <a:moveTo>
                    <a:pt x="1829" y="341"/>
                  </a:moveTo>
                  <a:lnTo>
                    <a:pt x="1829" y="341"/>
                  </a:lnTo>
                  <a:cubicBezTo>
                    <a:pt x="1834" y="371"/>
                    <a:pt x="1838" y="402"/>
                    <a:pt x="1838" y="426"/>
                  </a:cubicBezTo>
                  <a:cubicBezTo>
                    <a:pt x="1838" y="482"/>
                    <a:pt x="1819" y="547"/>
                    <a:pt x="1787" y="546"/>
                  </a:cubicBezTo>
                  <a:cubicBezTo>
                    <a:pt x="1775" y="546"/>
                    <a:pt x="1764" y="534"/>
                    <a:pt x="1764" y="513"/>
                  </a:cubicBezTo>
                  <a:cubicBezTo>
                    <a:pt x="1763" y="443"/>
                    <a:pt x="1796" y="383"/>
                    <a:pt x="1829" y="341"/>
                  </a:cubicBezTo>
                  <a:lnTo>
                    <a:pt x="1829" y="341"/>
                  </a:lnTo>
                  <a:close/>
                  <a:moveTo>
                    <a:pt x="2681" y="301"/>
                  </a:moveTo>
                  <a:lnTo>
                    <a:pt x="2681" y="301"/>
                  </a:lnTo>
                  <a:cubicBezTo>
                    <a:pt x="2685" y="311"/>
                    <a:pt x="2686" y="319"/>
                    <a:pt x="2686" y="327"/>
                  </a:cubicBezTo>
                  <a:cubicBezTo>
                    <a:pt x="2686" y="336"/>
                    <a:pt x="2683" y="346"/>
                    <a:pt x="2676" y="346"/>
                  </a:cubicBezTo>
                  <a:cubicBezTo>
                    <a:pt x="2672" y="346"/>
                    <a:pt x="2667" y="341"/>
                    <a:pt x="2667" y="332"/>
                  </a:cubicBezTo>
                  <a:cubicBezTo>
                    <a:pt x="2667" y="324"/>
                    <a:pt x="2675" y="310"/>
                    <a:pt x="2681" y="301"/>
                  </a:cubicBezTo>
                  <a:lnTo>
                    <a:pt x="2681" y="301"/>
                  </a:lnTo>
                  <a:close/>
                  <a:moveTo>
                    <a:pt x="1850" y="22"/>
                  </a:moveTo>
                  <a:lnTo>
                    <a:pt x="1850" y="22"/>
                  </a:lnTo>
                  <a:cubicBezTo>
                    <a:pt x="1850" y="26"/>
                    <a:pt x="1842" y="42"/>
                    <a:pt x="1831" y="71"/>
                  </a:cubicBezTo>
                  <a:cubicBezTo>
                    <a:pt x="1820" y="102"/>
                    <a:pt x="1810" y="145"/>
                    <a:pt x="1810" y="197"/>
                  </a:cubicBezTo>
                  <a:cubicBezTo>
                    <a:pt x="1810" y="228"/>
                    <a:pt x="1818" y="269"/>
                    <a:pt x="1824" y="310"/>
                  </a:cubicBezTo>
                  <a:lnTo>
                    <a:pt x="1805" y="335"/>
                  </a:lnTo>
                  <a:cubicBezTo>
                    <a:pt x="1775" y="299"/>
                    <a:pt x="1757" y="258"/>
                    <a:pt x="1757" y="188"/>
                  </a:cubicBezTo>
                  <a:cubicBezTo>
                    <a:pt x="1757" y="89"/>
                    <a:pt x="1817" y="20"/>
                    <a:pt x="1848" y="20"/>
                  </a:cubicBezTo>
                  <a:cubicBezTo>
                    <a:pt x="1850" y="20"/>
                    <a:pt x="1850" y="21"/>
                    <a:pt x="1850" y="22"/>
                  </a:cubicBezTo>
                  <a:lnTo>
                    <a:pt x="1850" y="22"/>
                  </a:lnTo>
                  <a:close/>
                  <a:moveTo>
                    <a:pt x="1753" y="314"/>
                  </a:moveTo>
                  <a:lnTo>
                    <a:pt x="1753" y="314"/>
                  </a:lnTo>
                  <a:cubicBezTo>
                    <a:pt x="1763" y="328"/>
                    <a:pt x="1776" y="341"/>
                    <a:pt x="1791" y="356"/>
                  </a:cubicBezTo>
                  <a:cubicBezTo>
                    <a:pt x="1760" y="406"/>
                    <a:pt x="1736" y="465"/>
                    <a:pt x="1736" y="517"/>
                  </a:cubicBezTo>
                  <a:cubicBezTo>
                    <a:pt x="1736" y="555"/>
                    <a:pt x="1745" y="584"/>
                    <a:pt x="1773" y="584"/>
                  </a:cubicBezTo>
                  <a:cubicBezTo>
                    <a:pt x="1831" y="584"/>
                    <a:pt x="1875" y="462"/>
                    <a:pt x="1875" y="372"/>
                  </a:cubicBezTo>
                  <a:cubicBezTo>
                    <a:pt x="1875" y="346"/>
                    <a:pt x="1874" y="319"/>
                    <a:pt x="1871" y="292"/>
                  </a:cubicBezTo>
                  <a:cubicBezTo>
                    <a:pt x="1893" y="269"/>
                    <a:pt x="1926" y="238"/>
                    <a:pt x="1934" y="235"/>
                  </a:cubicBezTo>
                  <a:cubicBezTo>
                    <a:pt x="1931" y="248"/>
                    <a:pt x="1928" y="261"/>
                    <a:pt x="1928" y="273"/>
                  </a:cubicBezTo>
                  <a:cubicBezTo>
                    <a:pt x="1928" y="322"/>
                    <a:pt x="1956" y="368"/>
                    <a:pt x="2011" y="368"/>
                  </a:cubicBezTo>
                  <a:cubicBezTo>
                    <a:pt x="2061" y="368"/>
                    <a:pt x="2100" y="327"/>
                    <a:pt x="2100" y="269"/>
                  </a:cubicBezTo>
                  <a:cubicBezTo>
                    <a:pt x="2100" y="262"/>
                    <a:pt x="2099" y="255"/>
                    <a:pt x="2099" y="248"/>
                  </a:cubicBezTo>
                  <a:cubicBezTo>
                    <a:pt x="2117" y="245"/>
                    <a:pt x="2134" y="240"/>
                    <a:pt x="2151" y="230"/>
                  </a:cubicBezTo>
                  <a:lnTo>
                    <a:pt x="2151" y="347"/>
                  </a:lnTo>
                  <a:cubicBezTo>
                    <a:pt x="2151" y="363"/>
                    <a:pt x="2161" y="368"/>
                    <a:pt x="2171" y="368"/>
                  </a:cubicBezTo>
                  <a:cubicBezTo>
                    <a:pt x="2185" y="368"/>
                    <a:pt x="2191" y="359"/>
                    <a:pt x="2201" y="338"/>
                  </a:cubicBezTo>
                  <a:cubicBezTo>
                    <a:pt x="2210" y="320"/>
                    <a:pt x="2232" y="280"/>
                    <a:pt x="2245" y="256"/>
                  </a:cubicBezTo>
                  <a:cubicBezTo>
                    <a:pt x="2256" y="237"/>
                    <a:pt x="2261" y="225"/>
                    <a:pt x="2266" y="225"/>
                  </a:cubicBezTo>
                  <a:cubicBezTo>
                    <a:pt x="2267" y="225"/>
                    <a:pt x="2269" y="228"/>
                    <a:pt x="2269" y="235"/>
                  </a:cubicBezTo>
                  <a:lnTo>
                    <a:pt x="2269" y="335"/>
                  </a:lnTo>
                  <a:cubicBezTo>
                    <a:pt x="2269" y="362"/>
                    <a:pt x="2283" y="368"/>
                    <a:pt x="2295" y="368"/>
                  </a:cubicBezTo>
                  <a:cubicBezTo>
                    <a:pt x="2306" y="368"/>
                    <a:pt x="2314" y="362"/>
                    <a:pt x="2322" y="352"/>
                  </a:cubicBezTo>
                  <a:cubicBezTo>
                    <a:pt x="2352" y="308"/>
                    <a:pt x="2384" y="257"/>
                    <a:pt x="2397" y="235"/>
                  </a:cubicBezTo>
                  <a:cubicBezTo>
                    <a:pt x="2399" y="231"/>
                    <a:pt x="2402" y="228"/>
                    <a:pt x="2404" y="228"/>
                  </a:cubicBezTo>
                  <a:cubicBezTo>
                    <a:pt x="2407" y="228"/>
                    <a:pt x="2408" y="229"/>
                    <a:pt x="2408" y="236"/>
                  </a:cubicBezTo>
                  <a:lnTo>
                    <a:pt x="2408" y="341"/>
                  </a:lnTo>
                  <a:cubicBezTo>
                    <a:pt x="2408" y="360"/>
                    <a:pt x="2414" y="368"/>
                    <a:pt x="2428" y="368"/>
                  </a:cubicBezTo>
                  <a:cubicBezTo>
                    <a:pt x="2442" y="368"/>
                    <a:pt x="2450" y="359"/>
                    <a:pt x="2456" y="348"/>
                  </a:cubicBezTo>
                  <a:cubicBezTo>
                    <a:pt x="2475" y="308"/>
                    <a:pt x="2504" y="255"/>
                    <a:pt x="2516" y="234"/>
                  </a:cubicBezTo>
                  <a:cubicBezTo>
                    <a:pt x="2519" y="229"/>
                    <a:pt x="2522" y="225"/>
                    <a:pt x="2524" y="225"/>
                  </a:cubicBezTo>
                  <a:cubicBezTo>
                    <a:pt x="2526" y="225"/>
                    <a:pt x="2526" y="228"/>
                    <a:pt x="2526" y="235"/>
                  </a:cubicBezTo>
                  <a:lnTo>
                    <a:pt x="2526" y="335"/>
                  </a:lnTo>
                  <a:cubicBezTo>
                    <a:pt x="2526" y="362"/>
                    <a:pt x="2540" y="368"/>
                    <a:pt x="2552" y="368"/>
                  </a:cubicBezTo>
                  <a:cubicBezTo>
                    <a:pt x="2569" y="368"/>
                    <a:pt x="2580" y="357"/>
                    <a:pt x="2590" y="344"/>
                  </a:cubicBezTo>
                  <a:cubicBezTo>
                    <a:pt x="2609" y="318"/>
                    <a:pt x="2637" y="273"/>
                    <a:pt x="2654" y="245"/>
                  </a:cubicBezTo>
                  <a:cubicBezTo>
                    <a:pt x="2660" y="254"/>
                    <a:pt x="2666" y="265"/>
                    <a:pt x="2672" y="277"/>
                  </a:cubicBezTo>
                  <a:cubicBezTo>
                    <a:pt x="2657" y="294"/>
                    <a:pt x="2644" y="314"/>
                    <a:pt x="2644" y="334"/>
                  </a:cubicBezTo>
                  <a:cubicBezTo>
                    <a:pt x="2644" y="355"/>
                    <a:pt x="2659" y="368"/>
                    <a:pt x="2675" y="368"/>
                  </a:cubicBezTo>
                  <a:cubicBezTo>
                    <a:pt x="2701" y="368"/>
                    <a:pt x="2726" y="343"/>
                    <a:pt x="2726" y="307"/>
                  </a:cubicBezTo>
                  <a:cubicBezTo>
                    <a:pt x="2726" y="293"/>
                    <a:pt x="2722" y="279"/>
                    <a:pt x="2716" y="265"/>
                  </a:cubicBezTo>
                  <a:cubicBezTo>
                    <a:pt x="2740" y="241"/>
                    <a:pt x="2769" y="219"/>
                    <a:pt x="2790" y="213"/>
                  </a:cubicBezTo>
                  <a:cubicBezTo>
                    <a:pt x="2780" y="227"/>
                    <a:pt x="2772" y="247"/>
                    <a:pt x="2772" y="273"/>
                  </a:cubicBezTo>
                  <a:cubicBezTo>
                    <a:pt x="2772" y="322"/>
                    <a:pt x="2800" y="368"/>
                    <a:pt x="2854" y="368"/>
                  </a:cubicBezTo>
                  <a:cubicBezTo>
                    <a:pt x="2907" y="368"/>
                    <a:pt x="2943" y="327"/>
                    <a:pt x="2943" y="269"/>
                  </a:cubicBezTo>
                  <a:cubicBezTo>
                    <a:pt x="2943" y="252"/>
                    <a:pt x="2943" y="250"/>
                    <a:pt x="2942" y="243"/>
                  </a:cubicBezTo>
                  <a:cubicBezTo>
                    <a:pt x="2954" y="238"/>
                    <a:pt x="2965" y="230"/>
                    <a:pt x="2973" y="223"/>
                  </a:cubicBezTo>
                  <a:cubicBezTo>
                    <a:pt x="2980" y="218"/>
                    <a:pt x="2985" y="215"/>
                    <a:pt x="2989" y="215"/>
                  </a:cubicBezTo>
                  <a:cubicBezTo>
                    <a:pt x="2994" y="215"/>
                    <a:pt x="2997" y="219"/>
                    <a:pt x="2997" y="227"/>
                  </a:cubicBezTo>
                  <a:lnTo>
                    <a:pt x="2997" y="341"/>
                  </a:lnTo>
                  <a:cubicBezTo>
                    <a:pt x="2997" y="360"/>
                    <a:pt x="3002" y="368"/>
                    <a:pt x="3017" y="368"/>
                  </a:cubicBezTo>
                  <a:cubicBezTo>
                    <a:pt x="3030" y="368"/>
                    <a:pt x="3040" y="359"/>
                    <a:pt x="3045" y="348"/>
                  </a:cubicBezTo>
                  <a:cubicBezTo>
                    <a:pt x="3064" y="308"/>
                    <a:pt x="3092" y="254"/>
                    <a:pt x="3104" y="234"/>
                  </a:cubicBezTo>
                  <a:cubicBezTo>
                    <a:pt x="3108" y="229"/>
                    <a:pt x="3110" y="226"/>
                    <a:pt x="3111" y="226"/>
                  </a:cubicBezTo>
                  <a:cubicBezTo>
                    <a:pt x="3114" y="226"/>
                    <a:pt x="3115" y="227"/>
                    <a:pt x="3115" y="235"/>
                  </a:cubicBezTo>
                  <a:lnTo>
                    <a:pt x="3115" y="326"/>
                  </a:lnTo>
                  <a:cubicBezTo>
                    <a:pt x="3115" y="352"/>
                    <a:pt x="3127" y="368"/>
                    <a:pt x="3152" y="368"/>
                  </a:cubicBezTo>
                  <a:cubicBezTo>
                    <a:pt x="3179" y="368"/>
                    <a:pt x="3193" y="343"/>
                    <a:pt x="3216" y="303"/>
                  </a:cubicBezTo>
                  <a:cubicBezTo>
                    <a:pt x="3217" y="301"/>
                    <a:pt x="3218" y="299"/>
                    <a:pt x="3218" y="297"/>
                  </a:cubicBezTo>
                  <a:cubicBezTo>
                    <a:pt x="3218" y="292"/>
                    <a:pt x="3213" y="289"/>
                    <a:pt x="3208" y="289"/>
                  </a:cubicBezTo>
                  <a:cubicBezTo>
                    <a:pt x="3203" y="289"/>
                    <a:pt x="3200" y="294"/>
                    <a:pt x="3183" y="314"/>
                  </a:cubicBezTo>
                  <a:cubicBezTo>
                    <a:pt x="3179" y="317"/>
                    <a:pt x="3176" y="322"/>
                    <a:pt x="3169" y="322"/>
                  </a:cubicBezTo>
                  <a:cubicBezTo>
                    <a:pt x="3167" y="322"/>
                    <a:pt x="3165" y="320"/>
                    <a:pt x="3165" y="316"/>
                  </a:cubicBezTo>
                  <a:lnTo>
                    <a:pt x="3165" y="214"/>
                  </a:lnTo>
                  <a:cubicBezTo>
                    <a:pt x="3165" y="186"/>
                    <a:pt x="3153" y="175"/>
                    <a:pt x="3137" y="175"/>
                  </a:cubicBezTo>
                  <a:cubicBezTo>
                    <a:pt x="3124" y="175"/>
                    <a:pt x="3114" y="180"/>
                    <a:pt x="3103" y="197"/>
                  </a:cubicBezTo>
                  <a:cubicBezTo>
                    <a:pt x="3083" y="226"/>
                    <a:pt x="3063" y="267"/>
                    <a:pt x="3052" y="289"/>
                  </a:cubicBezTo>
                  <a:cubicBezTo>
                    <a:pt x="3050" y="291"/>
                    <a:pt x="3049" y="294"/>
                    <a:pt x="3047" y="294"/>
                  </a:cubicBezTo>
                  <a:cubicBezTo>
                    <a:pt x="3046" y="294"/>
                    <a:pt x="3046" y="292"/>
                    <a:pt x="3046" y="289"/>
                  </a:cubicBezTo>
                  <a:lnTo>
                    <a:pt x="3046" y="214"/>
                  </a:lnTo>
                  <a:cubicBezTo>
                    <a:pt x="3046" y="192"/>
                    <a:pt x="3040" y="175"/>
                    <a:pt x="3017" y="175"/>
                  </a:cubicBezTo>
                  <a:cubicBezTo>
                    <a:pt x="2993" y="175"/>
                    <a:pt x="2981" y="192"/>
                    <a:pt x="2963" y="204"/>
                  </a:cubicBezTo>
                  <a:cubicBezTo>
                    <a:pt x="2952" y="212"/>
                    <a:pt x="2942" y="218"/>
                    <a:pt x="2935" y="221"/>
                  </a:cubicBezTo>
                  <a:cubicBezTo>
                    <a:pt x="2923" y="192"/>
                    <a:pt x="2901" y="177"/>
                    <a:pt x="2883" y="177"/>
                  </a:cubicBezTo>
                  <a:cubicBezTo>
                    <a:pt x="2865" y="178"/>
                    <a:pt x="2853" y="188"/>
                    <a:pt x="2853" y="207"/>
                  </a:cubicBezTo>
                  <a:cubicBezTo>
                    <a:pt x="2853" y="227"/>
                    <a:pt x="2864" y="240"/>
                    <a:pt x="2880" y="246"/>
                  </a:cubicBezTo>
                  <a:cubicBezTo>
                    <a:pt x="2889" y="249"/>
                    <a:pt x="2897" y="250"/>
                    <a:pt x="2909" y="250"/>
                  </a:cubicBezTo>
                  <a:cubicBezTo>
                    <a:pt x="2912" y="250"/>
                    <a:pt x="2915" y="250"/>
                    <a:pt x="2918" y="249"/>
                  </a:cubicBezTo>
                  <a:cubicBezTo>
                    <a:pt x="2919" y="255"/>
                    <a:pt x="2918" y="263"/>
                    <a:pt x="2918" y="270"/>
                  </a:cubicBezTo>
                  <a:cubicBezTo>
                    <a:pt x="2918" y="298"/>
                    <a:pt x="2901" y="327"/>
                    <a:pt x="2870" y="327"/>
                  </a:cubicBezTo>
                  <a:cubicBezTo>
                    <a:pt x="2837" y="327"/>
                    <a:pt x="2818" y="295"/>
                    <a:pt x="2818" y="259"/>
                  </a:cubicBezTo>
                  <a:cubicBezTo>
                    <a:pt x="2818" y="232"/>
                    <a:pt x="2826" y="209"/>
                    <a:pt x="2840" y="194"/>
                  </a:cubicBezTo>
                  <a:cubicBezTo>
                    <a:pt x="2845" y="188"/>
                    <a:pt x="2849" y="184"/>
                    <a:pt x="2849" y="178"/>
                  </a:cubicBezTo>
                  <a:cubicBezTo>
                    <a:pt x="2849" y="176"/>
                    <a:pt x="2845" y="175"/>
                    <a:pt x="2842" y="175"/>
                  </a:cubicBezTo>
                  <a:cubicBezTo>
                    <a:pt x="2819" y="175"/>
                    <a:pt x="2795" y="185"/>
                    <a:pt x="2778" y="194"/>
                  </a:cubicBezTo>
                  <a:cubicBezTo>
                    <a:pt x="2756" y="206"/>
                    <a:pt x="2729" y="225"/>
                    <a:pt x="2708" y="244"/>
                  </a:cubicBezTo>
                  <a:cubicBezTo>
                    <a:pt x="2697" y="221"/>
                    <a:pt x="2685" y="200"/>
                    <a:pt x="2678" y="184"/>
                  </a:cubicBezTo>
                  <a:cubicBezTo>
                    <a:pt x="2676" y="178"/>
                    <a:pt x="2674" y="171"/>
                    <a:pt x="2669" y="171"/>
                  </a:cubicBezTo>
                  <a:cubicBezTo>
                    <a:pt x="2665" y="171"/>
                    <a:pt x="2663" y="175"/>
                    <a:pt x="2661" y="183"/>
                  </a:cubicBezTo>
                  <a:cubicBezTo>
                    <a:pt x="2650" y="214"/>
                    <a:pt x="2594" y="304"/>
                    <a:pt x="2582" y="316"/>
                  </a:cubicBezTo>
                  <a:cubicBezTo>
                    <a:pt x="2581" y="318"/>
                    <a:pt x="2579" y="320"/>
                    <a:pt x="2578" y="320"/>
                  </a:cubicBezTo>
                  <a:cubicBezTo>
                    <a:pt x="2577" y="320"/>
                    <a:pt x="2577" y="320"/>
                    <a:pt x="2577" y="316"/>
                  </a:cubicBezTo>
                  <a:lnTo>
                    <a:pt x="2577" y="214"/>
                  </a:lnTo>
                  <a:cubicBezTo>
                    <a:pt x="2577" y="186"/>
                    <a:pt x="2565" y="175"/>
                    <a:pt x="2550" y="175"/>
                  </a:cubicBezTo>
                  <a:cubicBezTo>
                    <a:pt x="2537" y="175"/>
                    <a:pt x="2526" y="180"/>
                    <a:pt x="2516" y="197"/>
                  </a:cubicBezTo>
                  <a:cubicBezTo>
                    <a:pt x="2497" y="226"/>
                    <a:pt x="2473" y="269"/>
                    <a:pt x="2462" y="290"/>
                  </a:cubicBezTo>
                  <a:cubicBezTo>
                    <a:pt x="2460" y="293"/>
                    <a:pt x="2459" y="294"/>
                    <a:pt x="2458" y="294"/>
                  </a:cubicBezTo>
                  <a:cubicBezTo>
                    <a:pt x="2457" y="294"/>
                    <a:pt x="2457" y="292"/>
                    <a:pt x="2457" y="289"/>
                  </a:cubicBezTo>
                  <a:lnTo>
                    <a:pt x="2457" y="214"/>
                  </a:lnTo>
                  <a:cubicBezTo>
                    <a:pt x="2457" y="186"/>
                    <a:pt x="2446" y="175"/>
                    <a:pt x="2431" y="175"/>
                  </a:cubicBezTo>
                  <a:cubicBezTo>
                    <a:pt x="2418" y="175"/>
                    <a:pt x="2405" y="180"/>
                    <a:pt x="2396" y="197"/>
                  </a:cubicBezTo>
                  <a:cubicBezTo>
                    <a:pt x="2371" y="238"/>
                    <a:pt x="2330" y="302"/>
                    <a:pt x="2323" y="312"/>
                  </a:cubicBezTo>
                  <a:cubicBezTo>
                    <a:pt x="2322" y="314"/>
                    <a:pt x="2321" y="316"/>
                    <a:pt x="2319" y="316"/>
                  </a:cubicBezTo>
                  <a:cubicBezTo>
                    <a:pt x="2318" y="316"/>
                    <a:pt x="2317" y="315"/>
                    <a:pt x="2317" y="312"/>
                  </a:cubicBezTo>
                  <a:lnTo>
                    <a:pt x="2317" y="214"/>
                  </a:lnTo>
                  <a:cubicBezTo>
                    <a:pt x="2317" y="186"/>
                    <a:pt x="2306" y="175"/>
                    <a:pt x="2291" y="175"/>
                  </a:cubicBezTo>
                  <a:cubicBezTo>
                    <a:pt x="2270" y="175"/>
                    <a:pt x="2258" y="195"/>
                    <a:pt x="2251" y="207"/>
                  </a:cubicBezTo>
                  <a:cubicBezTo>
                    <a:pt x="2241" y="224"/>
                    <a:pt x="2227" y="247"/>
                    <a:pt x="2215" y="267"/>
                  </a:cubicBezTo>
                  <a:cubicBezTo>
                    <a:pt x="2208" y="281"/>
                    <a:pt x="2201" y="294"/>
                    <a:pt x="2199" y="294"/>
                  </a:cubicBezTo>
                  <a:cubicBezTo>
                    <a:pt x="2198" y="294"/>
                    <a:pt x="2198" y="289"/>
                    <a:pt x="2198" y="279"/>
                  </a:cubicBezTo>
                  <a:lnTo>
                    <a:pt x="2198" y="201"/>
                  </a:lnTo>
                  <a:cubicBezTo>
                    <a:pt x="2235" y="160"/>
                    <a:pt x="2257" y="110"/>
                    <a:pt x="2257" y="55"/>
                  </a:cubicBezTo>
                  <a:cubicBezTo>
                    <a:pt x="2257" y="23"/>
                    <a:pt x="2243" y="6"/>
                    <a:pt x="2222" y="6"/>
                  </a:cubicBezTo>
                  <a:cubicBezTo>
                    <a:pt x="2181" y="6"/>
                    <a:pt x="2151" y="69"/>
                    <a:pt x="2151" y="144"/>
                  </a:cubicBezTo>
                  <a:lnTo>
                    <a:pt x="2151" y="204"/>
                  </a:lnTo>
                  <a:cubicBezTo>
                    <a:pt x="2132" y="216"/>
                    <a:pt x="2114" y="222"/>
                    <a:pt x="2093" y="226"/>
                  </a:cubicBezTo>
                  <a:cubicBezTo>
                    <a:pt x="2082" y="194"/>
                    <a:pt x="2058" y="177"/>
                    <a:pt x="2040" y="177"/>
                  </a:cubicBezTo>
                  <a:cubicBezTo>
                    <a:pt x="2022" y="178"/>
                    <a:pt x="2009" y="188"/>
                    <a:pt x="2009" y="207"/>
                  </a:cubicBezTo>
                  <a:cubicBezTo>
                    <a:pt x="2009" y="238"/>
                    <a:pt x="2039" y="251"/>
                    <a:pt x="2066" y="251"/>
                  </a:cubicBezTo>
                  <a:lnTo>
                    <a:pt x="2073" y="251"/>
                  </a:lnTo>
                  <a:cubicBezTo>
                    <a:pt x="2075" y="257"/>
                    <a:pt x="2075" y="263"/>
                    <a:pt x="2075" y="270"/>
                  </a:cubicBezTo>
                  <a:cubicBezTo>
                    <a:pt x="2075" y="298"/>
                    <a:pt x="2058" y="327"/>
                    <a:pt x="2026" y="327"/>
                  </a:cubicBezTo>
                  <a:cubicBezTo>
                    <a:pt x="1994" y="327"/>
                    <a:pt x="1974" y="295"/>
                    <a:pt x="1974" y="259"/>
                  </a:cubicBezTo>
                  <a:cubicBezTo>
                    <a:pt x="1974" y="232"/>
                    <a:pt x="1983" y="209"/>
                    <a:pt x="1996" y="194"/>
                  </a:cubicBezTo>
                  <a:cubicBezTo>
                    <a:pt x="2001" y="188"/>
                    <a:pt x="2005" y="183"/>
                    <a:pt x="2005" y="178"/>
                  </a:cubicBezTo>
                  <a:cubicBezTo>
                    <a:pt x="2005" y="176"/>
                    <a:pt x="2001" y="175"/>
                    <a:pt x="1998" y="175"/>
                  </a:cubicBezTo>
                  <a:cubicBezTo>
                    <a:pt x="1976" y="175"/>
                    <a:pt x="1927" y="205"/>
                    <a:pt x="1868" y="263"/>
                  </a:cubicBezTo>
                  <a:cubicBezTo>
                    <a:pt x="1863" y="217"/>
                    <a:pt x="1857" y="171"/>
                    <a:pt x="1857" y="127"/>
                  </a:cubicBezTo>
                  <a:cubicBezTo>
                    <a:pt x="1857" y="77"/>
                    <a:pt x="1867" y="35"/>
                    <a:pt x="1869" y="23"/>
                  </a:cubicBezTo>
                  <a:cubicBezTo>
                    <a:pt x="1871" y="16"/>
                    <a:pt x="1871" y="11"/>
                    <a:pt x="1871" y="7"/>
                  </a:cubicBezTo>
                  <a:cubicBezTo>
                    <a:pt x="1871" y="3"/>
                    <a:pt x="1869" y="0"/>
                    <a:pt x="1862" y="0"/>
                  </a:cubicBezTo>
                  <a:cubicBezTo>
                    <a:pt x="1815" y="0"/>
                    <a:pt x="1711" y="75"/>
                    <a:pt x="1711" y="188"/>
                  </a:cubicBezTo>
                  <a:cubicBezTo>
                    <a:pt x="1711" y="234"/>
                    <a:pt x="1721" y="267"/>
                    <a:pt x="1739" y="295"/>
                  </a:cubicBezTo>
                  <a:cubicBezTo>
                    <a:pt x="1732" y="294"/>
                    <a:pt x="1727" y="294"/>
                    <a:pt x="1722" y="294"/>
                  </a:cubicBezTo>
                  <a:cubicBezTo>
                    <a:pt x="1704" y="294"/>
                    <a:pt x="1686" y="299"/>
                    <a:pt x="1675" y="302"/>
                  </a:cubicBezTo>
                  <a:lnTo>
                    <a:pt x="1675" y="290"/>
                  </a:lnTo>
                  <a:cubicBezTo>
                    <a:pt x="1675" y="265"/>
                    <a:pt x="1669" y="230"/>
                    <a:pt x="1659" y="219"/>
                  </a:cubicBezTo>
                  <a:cubicBezTo>
                    <a:pt x="1657" y="217"/>
                    <a:pt x="1656" y="217"/>
                    <a:pt x="1654" y="217"/>
                  </a:cubicBezTo>
                  <a:cubicBezTo>
                    <a:pt x="1649" y="217"/>
                    <a:pt x="1644" y="219"/>
                    <a:pt x="1637" y="223"/>
                  </a:cubicBezTo>
                  <a:cubicBezTo>
                    <a:pt x="1630" y="226"/>
                    <a:pt x="1623" y="230"/>
                    <a:pt x="1623" y="232"/>
                  </a:cubicBezTo>
                  <a:cubicBezTo>
                    <a:pt x="1623" y="233"/>
                    <a:pt x="1623" y="234"/>
                    <a:pt x="1625" y="237"/>
                  </a:cubicBezTo>
                  <a:cubicBezTo>
                    <a:pt x="1629" y="243"/>
                    <a:pt x="1640" y="255"/>
                    <a:pt x="1644" y="282"/>
                  </a:cubicBezTo>
                  <a:cubicBezTo>
                    <a:pt x="1624" y="262"/>
                    <a:pt x="1602" y="253"/>
                    <a:pt x="1572" y="253"/>
                  </a:cubicBezTo>
                  <a:cubicBezTo>
                    <a:pt x="1537" y="253"/>
                    <a:pt x="1526" y="269"/>
                    <a:pt x="1526" y="285"/>
                  </a:cubicBezTo>
                  <a:cubicBezTo>
                    <a:pt x="1526" y="316"/>
                    <a:pt x="1567" y="331"/>
                    <a:pt x="1618" y="331"/>
                  </a:cubicBezTo>
                  <a:cubicBezTo>
                    <a:pt x="1627" y="331"/>
                    <a:pt x="1637" y="329"/>
                    <a:pt x="1648" y="326"/>
                  </a:cubicBezTo>
                  <a:cubicBezTo>
                    <a:pt x="1648" y="336"/>
                    <a:pt x="1649" y="344"/>
                    <a:pt x="1649" y="351"/>
                  </a:cubicBezTo>
                  <a:cubicBezTo>
                    <a:pt x="1649" y="361"/>
                    <a:pt x="1650" y="368"/>
                    <a:pt x="1657" y="368"/>
                  </a:cubicBezTo>
                  <a:cubicBezTo>
                    <a:pt x="1667" y="368"/>
                    <a:pt x="1673" y="349"/>
                    <a:pt x="1674" y="320"/>
                  </a:cubicBezTo>
                  <a:cubicBezTo>
                    <a:pt x="1692" y="316"/>
                    <a:pt x="1711" y="311"/>
                    <a:pt x="1727" y="311"/>
                  </a:cubicBezTo>
                  <a:cubicBezTo>
                    <a:pt x="1734" y="311"/>
                    <a:pt x="1743" y="312"/>
                    <a:pt x="1753" y="314"/>
                  </a:cubicBezTo>
                  <a:lnTo>
                    <a:pt x="1753" y="314"/>
                  </a:lnTo>
                  <a:close/>
                  <a:moveTo>
                    <a:pt x="1638" y="308"/>
                  </a:moveTo>
                  <a:lnTo>
                    <a:pt x="1638" y="308"/>
                  </a:lnTo>
                  <a:cubicBezTo>
                    <a:pt x="1628" y="310"/>
                    <a:pt x="1622" y="310"/>
                    <a:pt x="1612" y="310"/>
                  </a:cubicBezTo>
                  <a:cubicBezTo>
                    <a:pt x="1589" y="310"/>
                    <a:pt x="1572" y="301"/>
                    <a:pt x="1572" y="288"/>
                  </a:cubicBezTo>
                  <a:cubicBezTo>
                    <a:pt x="1572" y="280"/>
                    <a:pt x="1576" y="275"/>
                    <a:pt x="1588" y="275"/>
                  </a:cubicBezTo>
                  <a:cubicBezTo>
                    <a:pt x="1606" y="275"/>
                    <a:pt x="1621" y="288"/>
                    <a:pt x="1638" y="308"/>
                  </a:cubicBezTo>
                  <a:lnTo>
                    <a:pt x="1638" y="308"/>
                  </a:lnTo>
                  <a:close/>
                  <a:moveTo>
                    <a:pt x="1168" y="212"/>
                  </a:moveTo>
                  <a:lnTo>
                    <a:pt x="1168" y="212"/>
                  </a:lnTo>
                  <a:cubicBezTo>
                    <a:pt x="1168" y="206"/>
                    <a:pt x="1171" y="203"/>
                    <a:pt x="1176" y="203"/>
                  </a:cubicBezTo>
                  <a:cubicBezTo>
                    <a:pt x="1183" y="203"/>
                    <a:pt x="1195" y="212"/>
                    <a:pt x="1201" y="228"/>
                  </a:cubicBezTo>
                  <a:cubicBezTo>
                    <a:pt x="1199" y="228"/>
                    <a:pt x="1195" y="229"/>
                    <a:pt x="1193" y="229"/>
                  </a:cubicBezTo>
                  <a:cubicBezTo>
                    <a:pt x="1179" y="229"/>
                    <a:pt x="1168" y="222"/>
                    <a:pt x="1168" y="212"/>
                  </a:cubicBezTo>
                  <a:lnTo>
                    <a:pt x="1168" y="212"/>
                  </a:lnTo>
                  <a:close/>
                  <a:moveTo>
                    <a:pt x="324" y="212"/>
                  </a:moveTo>
                  <a:lnTo>
                    <a:pt x="324" y="212"/>
                  </a:lnTo>
                  <a:cubicBezTo>
                    <a:pt x="324" y="206"/>
                    <a:pt x="328" y="203"/>
                    <a:pt x="332" y="203"/>
                  </a:cubicBezTo>
                  <a:cubicBezTo>
                    <a:pt x="339" y="203"/>
                    <a:pt x="351" y="212"/>
                    <a:pt x="357" y="228"/>
                  </a:cubicBezTo>
                  <a:cubicBezTo>
                    <a:pt x="336" y="228"/>
                    <a:pt x="324" y="223"/>
                    <a:pt x="324" y="212"/>
                  </a:cubicBezTo>
                  <a:lnTo>
                    <a:pt x="324" y="212"/>
                  </a:lnTo>
                  <a:close/>
                  <a:moveTo>
                    <a:pt x="487" y="127"/>
                  </a:moveTo>
                  <a:lnTo>
                    <a:pt x="487" y="127"/>
                  </a:lnTo>
                  <a:cubicBezTo>
                    <a:pt x="487" y="40"/>
                    <a:pt x="504" y="27"/>
                    <a:pt x="509" y="27"/>
                  </a:cubicBezTo>
                  <a:cubicBezTo>
                    <a:pt x="518" y="27"/>
                    <a:pt x="519" y="33"/>
                    <a:pt x="519" y="66"/>
                  </a:cubicBezTo>
                  <a:cubicBezTo>
                    <a:pt x="519" y="101"/>
                    <a:pt x="505" y="146"/>
                    <a:pt x="487" y="170"/>
                  </a:cubicBezTo>
                  <a:lnTo>
                    <a:pt x="487" y="127"/>
                  </a:lnTo>
                  <a:lnTo>
                    <a:pt x="487" y="127"/>
                  </a:lnTo>
                  <a:close/>
                  <a:moveTo>
                    <a:pt x="1079" y="213"/>
                  </a:moveTo>
                  <a:lnTo>
                    <a:pt x="1079" y="213"/>
                  </a:lnTo>
                  <a:cubicBezTo>
                    <a:pt x="1069" y="227"/>
                    <a:pt x="1061" y="247"/>
                    <a:pt x="1061" y="273"/>
                  </a:cubicBezTo>
                  <a:cubicBezTo>
                    <a:pt x="1061" y="322"/>
                    <a:pt x="1089" y="368"/>
                    <a:pt x="1143" y="368"/>
                  </a:cubicBezTo>
                  <a:cubicBezTo>
                    <a:pt x="1195" y="368"/>
                    <a:pt x="1233" y="327"/>
                    <a:pt x="1233" y="269"/>
                  </a:cubicBezTo>
                  <a:cubicBezTo>
                    <a:pt x="1233" y="252"/>
                    <a:pt x="1232" y="250"/>
                    <a:pt x="1231" y="243"/>
                  </a:cubicBezTo>
                  <a:cubicBezTo>
                    <a:pt x="1243" y="238"/>
                    <a:pt x="1253" y="230"/>
                    <a:pt x="1262" y="223"/>
                  </a:cubicBezTo>
                  <a:cubicBezTo>
                    <a:pt x="1269" y="218"/>
                    <a:pt x="1274" y="215"/>
                    <a:pt x="1278" y="215"/>
                  </a:cubicBezTo>
                  <a:cubicBezTo>
                    <a:pt x="1283" y="215"/>
                    <a:pt x="1285" y="219"/>
                    <a:pt x="1285" y="227"/>
                  </a:cubicBezTo>
                  <a:lnTo>
                    <a:pt x="1285" y="341"/>
                  </a:lnTo>
                  <a:cubicBezTo>
                    <a:pt x="1285" y="360"/>
                    <a:pt x="1291" y="368"/>
                    <a:pt x="1306" y="368"/>
                  </a:cubicBezTo>
                  <a:cubicBezTo>
                    <a:pt x="1319" y="368"/>
                    <a:pt x="1329" y="359"/>
                    <a:pt x="1334" y="348"/>
                  </a:cubicBezTo>
                  <a:cubicBezTo>
                    <a:pt x="1353" y="308"/>
                    <a:pt x="1381" y="254"/>
                    <a:pt x="1393" y="234"/>
                  </a:cubicBezTo>
                  <a:cubicBezTo>
                    <a:pt x="1396" y="229"/>
                    <a:pt x="1398" y="226"/>
                    <a:pt x="1400" y="226"/>
                  </a:cubicBezTo>
                  <a:cubicBezTo>
                    <a:pt x="1403" y="226"/>
                    <a:pt x="1404" y="227"/>
                    <a:pt x="1404" y="235"/>
                  </a:cubicBezTo>
                  <a:lnTo>
                    <a:pt x="1404" y="326"/>
                  </a:lnTo>
                  <a:cubicBezTo>
                    <a:pt x="1404" y="352"/>
                    <a:pt x="1416" y="368"/>
                    <a:pt x="1441" y="368"/>
                  </a:cubicBezTo>
                  <a:cubicBezTo>
                    <a:pt x="1468" y="368"/>
                    <a:pt x="1482" y="343"/>
                    <a:pt x="1505" y="303"/>
                  </a:cubicBezTo>
                  <a:cubicBezTo>
                    <a:pt x="1506" y="301"/>
                    <a:pt x="1506" y="299"/>
                    <a:pt x="1506" y="297"/>
                  </a:cubicBezTo>
                  <a:cubicBezTo>
                    <a:pt x="1506" y="292"/>
                    <a:pt x="1502" y="289"/>
                    <a:pt x="1497" y="289"/>
                  </a:cubicBezTo>
                  <a:cubicBezTo>
                    <a:pt x="1492" y="289"/>
                    <a:pt x="1489" y="294"/>
                    <a:pt x="1472" y="314"/>
                  </a:cubicBezTo>
                  <a:cubicBezTo>
                    <a:pt x="1468" y="317"/>
                    <a:pt x="1464" y="322"/>
                    <a:pt x="1458" y="322"/>
                  </a:cubicBezTo>
                  <a:cubicBezTo>
                    <a:pt x="1456" y="322"/>
                    <a:pt x="1454" y="320"/>
                    <a:pt x="1454" y="316"/>
                  </a:cubicBezTo>
                  <a:lnTo>
                    <a:pt x="1454" y="214"/>
                  </a:lnTo>
                  <a:cubicBezTo>
                    <a:pt x="1454" y="186"/>
                    <a:pt x="1442" y="175"/>
                    <a:pt x="1426" y="175"/>
                  </a:cubicBezTo>
                  <a:cubicBezTo>
                    <a:pt x="1413" y="175"/>
                    <a:pt x="1403" y="180"/>
                    <a:pt x="1392" y="197"/>
                  </a:cubicBezTo>
                  <a:cubicBezTo>
                    <a:pt x="1372" y="226"/>
                    <a:pt x="1352" y="267"/>
                    <a:pt x="1340" y="289"/>
                  </a:cubicBezTo>
                  <a:cubicBezTo>
                    <a:pt x="1339" y="291"/>
                    <a:pt x="1337" y="294"/>
                    <a:pt x="1336" y="294"/>
                  </a:cubicBezTo>
                  <a:cubicBezTo>
                    <a:pt x="1335" y="294"/>
                    <a:pt x="1335" y="292"/>
                    <a:pt x="1335" y="289"/>
                  </a:cubicBezTo>
                  <a:lnTo>
                    <a:pt x="1335" y="214"/>
                  </a:lnTo>
                  <a:cubicBezTo>
                    <a:pt x="1335" y="192"/>
                    <a:pt x="1329" y="175"/>
                    <a:pt x="1306" y="175"/>
                  </a:cubicBezTo>
                  <a:cubicBezTo>
                    <a:pt x="1282" y="175"/>
                    <a:pt x="1270" y="192"/>
                    <a:pt x="1252" y="204"/>
                  </a:cubicBezTo>
                  <a:cubicBezTo>
                    <a:pt x="1241" y="212"/>
                    <a:pt x="1231" y="218"/>
                    <a:pt x="1224" y="221"/>
                  </a:cubicBezTo>
                  <a:cubicBezTo>
                    <a:pt x="1212" y="192"/>
                    <a:pt x="1190" y="177"/>
                    <a:pt x="1173" y="177"/>
                  </a:cubicBezTo>
                  <a:cubicBezTo>
                    <a:pt x="1154" y="178"/>
                    <a:pt x="1141" y="188"/>
                    <a:pt x="1141" y="207"/>
                  </a:cubicBezTo>
                  <a:cubicBezTo>
                    <a:pt x="1141" y="227"/>
                    <a:pt x="1153" y="240"/>
                    <a:pt x="1169" y="246"/>
                  </a:cubicBezTo>
                  <a:cubicBezTo>
                    <a:pt x="1178" y="249"/>
                    <a:pt x="1186" y="250"/>
                    <a:pt x="1197" y="250"/>
                  </a:cubicBezTo>
                  <a:cubicBezTo>
                    <a:pt x="1201" y="250"/>
                    <a:pt x="1204" y="250"/>
                    <a:pt x="1206" y="249"/>
                  </a:cubicBezTo>
                  <a:cubicBezTo>
                    <a:pt x="1208" y="255"/>
                    <a:pt x="1207" y="263"/>
                    <a:pt x="1207" y="270"/>
                  </a:cubicBezTo>
                  <a:cubicBezTo>
                    <a:pt x="1207" y="298"/>
                    <a:pt x="1190" y="327"/>
                    <a:pt x="1159" y="327"/>
                  </a:cubicBezTo>
                  <a:cubicBezTo>
                    <a:pt x="1126" y="327"/>
                    <a:pt x="1107" y="295"/>
                    <a:pt x="1107" y="259"/>
                  </a:cubicBezTo>
                  <a:cubicBezTo>
                    <a:pt x="1107" y="232"/>
                    <a:pt x="1115" y="209"/>
                    <a:pt x="1128" y="194"/>
                  </a:cubicBezTo>
                  <a:cubicBezTo>
                    <a:pt x="1134" y="188"/>
                    <a:pt x="1138" y="184"/>
                    <a:pt x="1138" y="178"/>
                  </a:cubicBezTo>
                  <a:cubicBezTo>
                    <a:pt x="1138" y="176"/>
                    <a:pt x="1134" y="175"/>
                    <a:pt x="1130" y="175"/>
                  </a:cubicBezTo>
                  <a:cubicBezTo>
                    <a:pt x="1108" y="175"/>
                    <a:pt x="1084" y="185"/>
                    <a:pt x="1067" y="194"/>
                  </a:cubicBezTo>
                  <a:cubicBezTo>
                    <a:pt x="1045" y="206"/>
                    <a:pt x="1018" y="225"/>
                    <a:pt x="997" y="244"/>
                  </a:cubicBezTo>
                  <a:cubicBezTo>
                    <a:pt x="986" y="221"/>
                    <a:pt x="973" y="200"/>
                    <a:pt x="967" y="184"/>
                  </a:cubicBezTo>
                  <a:cubicBezTo>
                    <a:pt x="964" y="178"/>
                    <a:pt x="963" y="171"/>
                    <a:pt x="958" y="171"/>
                  </a:cubicBezTo>
                  <a:cubicBezTo>
                    <a:pt x="954" y="171"/>
                    <a:pt x="952" y="175"/>
                    <a:pt x="949" y="183"/>
                  </a:cubicBezTo>
                  <a:cubicBezTo>
                    <a:pt x="939" y="214"/>
                    <a:pt x="883" y="304"/>
                    <a:pt x="871" y="316"/>
                  </a:cubicBezTo>
                  <a:cubicBezTo>
                    <a:pt x="869" y="318"/>
                    <a:pt x="868" y="320"/>
                    <a:pt x="867" y="320"/>
                  </a:cubicBezTo>
                  <a:cubicBezTo>
                    <a:pt x="866" y="320"/>
                    <a:pt x="865" y="320"/>
                    <a:pt x="865" y="316"/>
                  </a:cubicBezTo>
                  <a:lnTo>
                    <a:pt x="865" y="214"/>
                  </a:lnTo>
                  <a:cubicBezTo>
                    <a:pt x="865" y="186"/>
                    <a:pt x="854" y="175"/>
                    <a:pt x="839" y="175"/>
                  </a:cubicBezTo>
                  <a:cubicBezTo>
                    <a:pt x="826" y="175"/>
                    <a:pt x="815" y="180"/>
                    <a:pt x="805" y="197"/>
                  </a:cubicBezTo>
                  <a:cubicBezTo>
                    <a:pt x="786" y="226"/>
                    <a:pt x="762" y="269"/>
                    <a:pt x="751" y="290"/>
                  </a:cubicBezTo>
                  <a:cubicBezTo>
                    <a:pt x="749" y="293"/>
                    <a:pt x="748" y="294"/>
                    <a:pt x="747" y="294"/>
                  </a:cubicBezTo>
                  <a:cubicBezTo>
                    <a:pt x="746" y="294"/>
                    <a:pt x="746" y="292"/>
                    <a:pt x="746" y="289"/>
                  </a:cubicBezTo>
                  <a:lnTo>
                    <a:pt x="746" y="214"/>
                  </a:lnTo>
                  <a:cubicBezTo>
                    <a:pt x="746" y="186"/>
                    <a:pt x="735" y="175"/>
                    <a:pt x="720" y="175"/>
                  </a:cubicBezTo>
                  <a:cubicBezTo>
                    <a:pt x="707" y="175"/>
                    <a:pt x="694" y="180"/>
                    <a:pt x="684" y="197"/>
                  </a:cubicBezTo>
                  <a:cubicBezTo>
                    <a:pt x="660" y="238"/>
                    <a:pt x="619" y="302"/>
                    <a:pt x="611" y="312"/>
                  </a:cubicBezTo>
                  <a:cubicBezTo>
                    <a:pt x="610" y="314"/>
                    <a:pt x="609" y="316"/>
                    <a:pt x="608" y="316"/>
                  </a:cubicBezTo>
                  <a:cubicBezTo>
                    <a:pt x="607" y="316"/>
                    <a:pt x="606" y="315"/>
                    <a:pt x="606" y="312"/>
                  </a:cubicBezTo>
                  <a:lnTo>
                    <a:pt x="606" y="214"/>
                  </a:lnTo>
                  <a:cubicBezTo>
                    <a:pt x="606" y="186"/>
                    <a:pt x="595" y="175"/>
                    <a:pt x="580" y="175"/>
                  </a:cubicBezTo>
                  <a:cubicBezTo>
                    <a:pt x="559" y="175"/>
                    <a:pt x="548" y="195"/>
                    <a:pt x="540" y="207"/>
                  </a:cubicBezTo>
                  <a:cubicBezTo>
                    <a:pt x="529" y="224"/>
                    <a:pt x="515" y="247"/>
                    <a:pt x="504" y="267"/>
                  </a:cubicBezTo>
                  <a:cubicBezTo>
                    <a:pt x="497" y="281"/>
                    <a:pt x="490" y="294"/>
                    <a:pt x="488" y="294"/>
                  </a:cubicBezTo>
                  <a:cubicBezTo>
                    <a:pt x="487" y="294"/>
                    <a:pt x="487" y="289"/>
                    <a:pt x="487" y="279"/>
                  </a:cubicBezTo>
                  <a:lnTo>
                    <a:pt x="487" y="201"/>
                  </a:lnTo>
                  <a:cubicBezTo>
                    <a:pt x="524" y="160"/>
                    <a:pt x="546" y="110"/>
                    <a:pt x="546" y="55"/>
                  </a:cubicBezTo>
                  <a:cubicBezTo>
                    <a:pt x="546" y="23"/>
                    <a:pt x="532" y="6"/>
                    <a:pt x="511" y="6"/>
                  </a:cubicBezTo>
                  <a:cubicBezTo>
                    <a:pt x="470" y="6"/>
                    <a:pt x="440" y="69"/>
                    <a:pt x="440" y="144"/>
                  </a:cubicBezTo>
                  <a:lnTo>
                    <a:pt x="440" y="204"/>
                  </a:lnTo>
                  <a:cubicBezTo>
                    <a:pt x="421" y="216"/>
                    <a:pt x="403" y="222"/>
                    <a:pt x="382" y="226"/>
                  </a:cubicBezTo>
                  <a:cubicBezTo>
                    <a:pt x="371" y="194"/>
                    <a:pt x="347" y="177"/>
                    <a:pt x="329" y="177"/>
                  </a:cubicBezTo>
                  <a:cubicBezTo>
                    <a:pt x="311" y="178"/>
                    <a:pt x="298" y="188"/>
                    <a:pt x="298" y="207"/>
                  </a:cubicBezTo>
                  <a:cubicBezTo>
                    <a:pt x="298" y="238"/>
                    <a:pt x="328" y="251"/>
                    <a:pt x="355" y="251"/>
                  </a:cubicBezTo>
                  <a:lnTo>
                    <a:pt x="362" y="251"/>
                  </a:lnTo>
                  <a:cubicBezTo>
                    <a:pt x="364" y="257"/>
                    <a:pt x="364" y="263"/>
                    <a:pt x="364" y="270"/>
                  </a:cubicBezTo>
                  <a:cubicBezTo>
                    <a:pt x="364" y="298"/>
                    <a:pt x="347" y="327"/>
                    <a:pt x="315" y="327"/>
                  </a:cubicBezTo>
                  <a:cubicBezTo>
                    <a:pt x="283" y="327"/>
                    <a:pt x="263" y="295"/>
                    <a:pt x="263" y="259"/>
                  </a:cubicBezTo>
                  <a:cubicBezTo>
                    <a:pt x="263" y="232"/>
                    <a:pt x="271" y="209"/>
                    <a:pt x="285" y="194"/>
                  </a:cubicBezTo>
                  <a:cubicBezTo>
                    <a:pt x="290" y="188"/>
                    <a:pt x="294" y="183"/>
                    <a:pt x="294" y="178"/>
                  </a:cubicBezTo>
                  <a:cubicBezTo>
                    <a:pt x="294" y="176"/>
                    <a:pt x="290" y="175"/>
                    <a:pt x="286" y="175"/>
                  </a:cubicBezTo>
                  <a:cubicBezTo>
                    <a:pt x="265" y="175"/>
                    <a:pt x="215" y="205"/>
                    <a:pt x="157" y="263"/>
                  </a:cubicBezTo>
                  <a:cubicBezTo>
                    <a:pt x="152" y="217"/>
                    <a:pt x="146" y="171"/>
                    <a:pt x="146" y="127"/>
                  </a:cubicBezTo>
                  <a:cubicBezTo>
                    <a:pt x="146" y="77"/>
                    <a:pt x="156" y="35"/>
                    <a:pt x="158" y="23"/>
                  </a:cubicBezTo>
                  <a:cubicBezTo>
                    <a:pt x="159" y="16"/>
                    <a:pt x="160" y="11"/>
                    <a:pt x="160" y="7"/>
                  </a:cubicBezTo>
                  <a:cubicBezTo>
                    <a:pt x="160" y="3"/>
                    <a:pt x="158" y="0"/>
                    <a:pt x="151" y="0"/>
                  </a:cubicBezTo>
                  <a:cubicBezTo>
                    <a:pt x="104" y="0"/>
                    <a:pt x="0" y="75"/>
                    <a:pt x="0" y="188"/>
                  </a:cubicBezTo>
                  <a:cubicBezTo>
                    <a:pt x="0" y="268"/>
                    <a:pt x="29" y="306"/>
                    <a:pt x="80" y="356"/>
                  </a:cubicBezTo>
                  <a:cubicBezTo>
                    <a:pt x="49" y="406"/>
                    <a:pt x="25" y="465"/>
                    <a:pt x="25" y="517"/>
                  </a:cubicBezTo>
                  <a:cubicBezTo>
                    <a:pt x="25" y="555"/>
                    <a:pt x="34" y="584"/>
                    <a:pt x="61" y="584"/>
                  </a:cubicBezTo>
                  <a:cubicBezTo>
                    <a:pt x="120" y="584"/>
                    <a:pt x="163" y="462"/>
                    <a:pt x="163" y="372"/>
                  </a:cubicBezTo>
                  <a:cubicBezTo>
                    <a:pt x="163" y="346"/>
                    <a:pt x="162" y="319"/>
                    <a:pt x="160" y="292"/>
                  </a:cubicBezTo>
                  <a:cubicBezTo>
                    <a:pt x="182" y="269"/>
                    <a:pt x="215" y="238"/>
                    <a:pt x="223" y="235"/>
                  </a:cubicBezTo>
                  <a:cubicBezTo>
                    <a:pt x="220" y="248"/>
                    <a:pt x="217" y="261"/>
                    <a:pt x="217" y="273"/>
                  </a:cubicBezTo>
                  <a:cubicBezTo>
                    <a:pt x="217" y="322"/>
                    <a:pt x="245" y="368"/>
                    <a:pt x="299" y="368"/>
                  </a:cubicBezTo>
                  <a:cubicBezTo>
                    <a:pt x="350" y="368"/>
                    <a:pt x="389" y="327"/>
                    <a:pt x="389" y="269"/>
                  </a:cubicBezTo>
                  <a:cubicBezTo>
                    <a:pt x="389" y="262"/>
                    <a:pt x="388" y="255"/>
                    <a:pt x="388" y="248"/>
                  </a:cubicBezTo>
                  <a:cubicBezTo>
                    <a:pt x="406" y="245"/>
                    <a:pt x="423" y="240"/>
                    <a:pt x="440" y="230"/>
                  </a:cubicBezTo>
                  <a:lnTo>
                    <a:pt x="440" y="347"/>
                  </a:lnTo>
                  <a:cubicBezTo>
                    <a:pt x="440" y="363"/>
                    <a:pt x="450" y="368"/>
                    <a:pt x="460" y="368"/>
                  </a:cubicBezTo>
                  <a:cubicBezTo>
                    <a:pt x="473" y="368"/>
                    <a:pt x="480" y="359"/>
                    <a:pt x="490" y="338"/>
                  </a:cubicBezTo>
                  <a:cubicBezTo>
                    <a:pt x="499" y="320"/>
                    <a:pt x="521" y="280"/>
                    <a:pt x="534" y="256"/>
                  </a:cubicBezTo>
                  <a:cubicBezTo>
                    <a:pt x="544" y="237"/>
                    <a:pt x="550" y="225"/>
                    <a:pt x="555" y="225"/>
                  </a:cubicBezTo>
                  <a:cubicBezTo>
                    <a:pt x="556" y="225"/>
                    <a:pt x="558" y="228"/>
                    <a:pt x="558" y="235"/>
                  </a:cubicBezTo>
                  <a:lnTo>
                    <a:pt x="558" y="335"/>
                  </a:lnTo>
                  <a:cubicBezTo>
                    <a:pt x="558" y="362"/>
                    <a:pt x="571" y="368"/>
                    <a:pt x="584" y="368"/>
                  </a:cubicBezTo>
                  <a:cubicBezTo>
                    <a:pt x="595" y="368"/>
                    <a:pt x="603" y="362"/>
                    <a:pt x="610" y="352"/>
                  </a:cubicBezTo>
                  <a:cubicBezTo>
                    <a:pt x="641" y="308"/>
                    <a:pt x="673" y="257"/>
                    <a:pt x="686" y="235"/>
                  </a:cubicBezTo>
                  <a:cubicBezTo>
                    <a:pt x="688" y="231"/>
                    <a:pt x="691" y="228"/>
                    <a:pt x="693" y="228"/>
                  </a:cubicBezTo>
                  <a:cubicBezTo>
                    <a:pt x="696" y="228"/>
                    <a:pt x="697" y="229"/>
                    <a:pt x="697" y="236"/>
                  </a:cubicBezTo>
                  <a:lnTo>
                    <a:pt x="697" y="341"/>
                  </a:lnTo>
                  <a:cubicBezTo>
                    <a:pt x="697" y="360"/>
                    <a:pt x="703" y="368"/>
                    <a:pt x="717" y="368"/>
                  </a:cubicBezTo>
                  <a:cubicBezTo>
                    <a:pt x="731" y="368"/>
                    <a:pt x="739" y="359"/>
                    <a:pt x="745" y="348"/>
                  </a:cubicBezTo>
                  <a:cubicBezTo>
                    <a:pt x="764" y="308"/>
                    <a:pt x="793" y="255"/>
                    <a:pt x="805" y="234"/>
                  </a:cubicBezTo>
                  <a:cubicBezTo>
                    <a:pt x="807" y="229"/>
                    <a:pt x="811" y="225"/>
                    <a:pt x="812" y="225"/>
                  </a:cubicBezTo>
                  <a:cubicBezTo>
                    <a:pt x="815" y="225"/>
                    <a:pt x="815" y="228"/>
                    <a:pt x="815" y="235"/>
                  </a:cubicBezTo>
                  <a:lnTo>
                    <a:pt x="815" y="335"/>
                  </a:lnTo>
                  <a:cubicBezTo>
                    <a:pt x="815" y="362"/>
                    <a:pt x="829" y="368"/>
                    <a:pt x="842" y="368"/>
                  </a:cubicBezTo>
                  <a:cubicBezTo>
                    <a:pt x="858" y="368"/>
                    <a:pt x="868" y="357"/>
                    <a:pt x="879" y="344"/>
                  </a:cubicBezTo>
                  <a:cubicBezTo>
                    <a:pt x="898" y="318"/>
                    <a:pt x="926" y="273"/>
                    <a:pt x="943" y="245"/>
                  </a:cubicBezTo>
                  <a:cubicBezTo>
                    <a:pt x="949" y="254"/>
                    <a:pt x="955" y="265"/>
                    <a:pt x="961" y="277"/>
                  </a:cubicBezTo>
                  <a:cubicBezTo>
                    <a:pt x="947" y="294"/>
                    <a:pt x="933" y="314"/>
                    <a:pt x="933" y="334"/>
                  </a:cubicBezTo>
                  <a:cubicBezTo>
                    <a:pt x="933" y="355"/>
                    <a:pt x="948" y="368"/>
                    <a:pt x="963" y="368"/>
                  </a:cubicBezTo>
                  <a:cubicBezTo>
                    <a:pt x="990" y="368"/>
                    <a:pt x="1015" y="343"/>
                    <a:pt x="1015" y="307"/>
                  </a:cubicBezTo>
                  <a:cubicBezTo>
                    <a:pt x="1015" y="293"/>
                    <a:pt x="1011" y="279"/>
                    <a:pt x="1005" y="265"/>
                  </a:cubicBezTo>
                  <a:cubicBezTo>
                    <a:pt x="1029" y="241"/>
                    <a:pt x="1058" y="219"/>
                    <a:pt x="1079" y="213"/>
                  </a:cubicBezTo>
                  <a:lnTo>
                    <a:pt x="1079" y="213"/>
                  </a:lnTo>
                  <a:close/>
                  <a:moveTo>
                    <a:pt x="118" y="341"/>
                  </a:moveTo>
                  <a:lnTo>
                    <a:pt x="118" y="341"/>
                  </a:lnTo>
                  <a:cubicBezTo>
                    <a:pt x="123" y="371"/>
                    <a:pt x="127" y="402"/>
                    <a:pt x="127" y="426"/>
                  </a:cubicBezTo>
                  <a:cubicBezTo>
                    <a:pt x="127" y="482"/>
                    <a:pt x="108" y="547"/>
                    <a:pt x="76" y="546"/>
                  </a:cubicBezTo>
                  <a:cubicBezTo>
                    <a:pt x="64" y="546"/>
                    <a:pt x="53" y="534"/>
                    <a:pt x="53" y="513"/>
                  </a:cubicBezTo>
                  <a:cubicBezTo>
                    <a:pt x="52" y="443"/>
                    <a:pt x="85" y="383"/>
                    <a:pt x="118" y="341"/>
                  </a:cubicBezTo>
                  <a:lnTo>
                    <a:pt x="118" y="341"/>
                  </a:lnTo>
                  <a:close/>
                  <a:moveTo>
                    <a:pt x="970" y="301"/>
                  </a:moveTo>
                  <a:lnTo>
                    <a:pt x="970" y="301"/>
                  </a:lnTo>
                  <a:cubicBezTo>
                    <a:pt x="973" y="311"/>
                    <a:pt x="975" y="319"/>
                    <a:pt x="975" y="327"/>
                  </a:cubicBezTo>
                  <a:cubicBezTo>
                    <a:pt x="975" y="336"/>
                    <a:pt x="972" y="346"/>
                    <a:pt x="965" y="346"/>
                  </a:cubicBezTo>
                  <a:cubicBezTo>
                    <a:pt x="961" y="346"/>
                    <a:pt x="956" y="341"/>
                    <a:pt x="956" y="332"/>
                  </a:cubicBezTo>
                  <a:cubicBezTo>
                    <a:pt x="956" y="324"/>
                    <a:pt x="963" y="310"/>
                    <a:pt x="970" y="301"/>
                  </a:cubicBezTo>
                  <a:lnTo>
                    <a:pt x="970" y="301"/>
                  </a:lnTo>
                  <a:close/>
                  <a:moveTo>
                    <a:pt x="139" y="22"/>
                  </a:moveTo>
                  <a:lnTo>
                    <a:pt x="139" y="22"/>
                  </a:lnTo>
                  <a:cubicBezTo>
                    <a:pt x="139" y="26"/>
                    <a:pt x="131" y="42"/>
                    <a:pt x="120" y="71"/>
                  </a:cubicBezTo>
                  <a:cubicBezTo>
                    <a:pt x="109" y="102"/>
                    <a:pt x="99" y="145"/>
                    <a:pt x="99" y="197"/>
                  </a:cubicBezTo>
                  <a:cubicBezTo>
                    <a:pt x="99" y="228"/>
                    <a:pt x="106" y="269"/>
                    <a:pt x="113" y="310"/>
                  </a:cubicBezTo>
                  <a:lnTo>
                    <a:pt x="94" y="335"/>
                  </a:lnTo>
                  <a:cubicBezTo>
                    <a:pt x="64" y="299"/>
                    <a:pt x="46" y="258"/>
                    <a:pt x="46" y="188"/>
                  </a:cubicBezTo>
                  <a:cubicBezTo>
                    <a:pt x="46" y="89"/>
                    <a:pt x="106" y="20"/>
                    <a:pt x="137" y="20"/>
                  </a:cubicBezTo>
                  <a:cubicBezTo>
                    <a:pt x="139" y="20"/>
                    <a:pt x="139" y="21"/>
                    <a:pt x="139" y="22"/>
                  </a:cubicBezTo>
                  <a:close/>
                </a:path>
              </a:pathLst>
            </a:custGeom>
            <a:solidFill>
              <a:srgbClr val="EC1C2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</p:grpSp>
      <p:sp>
        <p:nvSpPr>
          <p:cNvPr id="23" name="Freeform 22"/>
          <p:cNvSpPr>
            <a:spLocks/>
          </p:cNvSpPr>
          <p:nvPr userDrawn="1"/>
        </p:nvSpPr>
        <p:spPr bwMode="auto">
          <a:xfrm>
            <a:off x="4876802" y="5836245"/>
            <a:ext cx="5447271" cy="1045633"/>
          </a:xfrm>
          <a:custGeom>
            <a:avLst/>
            <a:gdLst>
              <a:gd name="connsiteX0" fmla="*/ 1543994 w 4085453"/>
              <a:gd name="connsiteY0" fmla="*/ 0 h 784225"/>
              <a:gd name="connsiteX1" fmla="*/ 4083688 w 4085453"/>
              <a:gd name="connsiteY1" fmla="*/ 783468 h 784225"/>
              <a:gd name="connsiteX2" fmla="*/ 4085453 w 4085453"/>
              <a:gd name="connsiteY2" fmla="*/ 784225 h 784225"/>
              <a:gd name="connsiteX3" fmla="*/ 2975528 w 4085453"/>
              <a:gd name="connsiteY3" fmla="*/ 784225 h 784225"/>
              <a:gd name="connsiteX4" fmla="*/ 2752683 w 4085453"/>
              <a:gd name="connsiteY4" fmla="*/ 732482 h 784225"/>
              <a:gd name="connsiteX5" fmla="*/ 0 w 4085453"/>
              <a:gd name="connsiteY5" fmla="*/ 579981 h 784225"/>
              <a:gd name="connsiteX6" fmla="*/ 1543994 w 4085453"/>
              <a:gd name="connsiteY6" fmla="*/ 0 h 784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85453" h="784225">
                <a:moveTo>
                  <a:pt x="1543994" y="0"/>
                </a:moveTo>
                <a:cubicBezTo>
                  <a:pt x="2377399" y="92270"/>
                  <a:pt x="3549650" y="556913"/>
                  <a:pt x="4083688" y="783468"/>
                </a:cubicBezTo>
                <a:lnTo>
                  <a:pt x="4085453" y="784225"/>
                </a:lnTo>
                <a:lnTo>
                  <a:pt x="2975528" y="784225"/>
                </a:lnTo>
                <a:lnTo>
                  <a:pt x="2752683" y="732482"/>
                </a:lnTo>
                <a:cubicBezTo>
                  <a:pt x="1186598" y="400568"/>
                  <a:pt x="0" y="579981"/>
                  <a:pt x="0" y="579981"/>
                </a:cubicBezTo>
                <a:cubicBezTo>
                  <a:pt x="614089" y="322212"/>
                  <a:pt x="1543994" y="0"/>
                  <a:pt x="1543994" y="0"/>
                </a:cubicBezTo>
                <a:close/>
              </a:path>
            </a:pathLst>
          </a:custGeom>
          <a:solidFill>
            <a:srgbClr val="5261AC">
              <a:alpha val="4000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sz="3200" dirty="0"/>
          </a:p>
        </p:txBody>
      </p:sp>
    </p:spTree>
    <p:extLst>
      <p:ext uri="{BB962C8B-B14F-4D97-AF65-F5344CB8AC3E}">
        <p14:creationId xmlns:p14="http://schemas.microsoft.com/office/powerpoint/2010/main" val="19801161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1133582"/>
              </p:ext>
            </p:extLst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7D85FFF-9F26-4CCE-AD83-A4A737C6B0B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>
              <a:solidFill>
                <a:schemeClr val="tx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A1E97ED-CFE7-4EC8-AC8B-7CD08378B9E7}"/>
              </a:ext>
            </a:extLst>
          </p:cNvPr>
          <p:cNvSpPr/>
          <p:nvPr userDrawn="1"/>
        </p:nvSpPr>
        <p:spPr>
          <a:xfrm>
            <a:off x="0" y="3352801"/>
            <a:ext cx="12192000" cy="144779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2400"/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 lang="x-none"/>
            </a:pPr>
            <a:endParaRPr lang="x-none" sz="1088" baseline="0" noProof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526085" y="3768924"/>
            <a:ext cx="8478152" cy="615553"/>
          </a:xfrm>
          <a:prstGeom prst="rect">
            <a:avLst/>
          </a:prstGeom>
        </p:spPr>
        <p:txBody>
          <a:bodyPr anchor="ctr" anchorCtr="0">
            <a:spAutoFit/>
          </a:bodyPr>
          <a:lstStyle>
            <a:lvl1pPr>
              <a:defRPr lang="x-none" sz="40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526085" y="5262804"/>
            <a:ext cx="8478152" cy="28725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x-none" sz="1867" cap="none" noProof="0" dirty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526085" y="6186760"/>
            <a:ext cx="7283568" cy="2873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en-US" sz="1867" baseline="0" noProof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176E8AE-720D-4DD2-9238-1E1BB46E01D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07452" y="5736108"/>
            <a:ext cx="3492448" cy="1104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821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6678387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5FA910F-3277-4B3E-A9EE-D900AE3E1F5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67" b="1" i="0" baseline="0">
              <a:solidFill>
                <a:schemeClr val="tx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619690" y="540024"/>
            <a:ext cx="10990479" cy="41036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x-none" dirty="0"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3" y="51835"/>
            <a:ext cx="123156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26"/>
            <a:endParaRPr lang="x-none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221396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26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FB6407-2D4D-43D7-9273-156A27D977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FC2A80F-5455-4047-92FA-4B0C584BE0E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474880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804113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42B5EA-8D5D-4279-829C-45AE7418D5A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24"/>
          </a:p>
        </p:txBody>
      </p:sp>
    </p:spTree>
    <p:extLst>
      <p:ext uri="{BB962C8B-B14F-4D97-AF65-F5344CB8AC3E}">
        <p14:creationId xmlns:p14="http://schemas.microsoft.com/office/powerpoint/2010/main" val="426465803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 content">
  <p:cSld name="Basic content"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1" name="Google Shape;101;p20"/>
          <p:cNvPicPr preferRelativeResize="0"/>
          <p:nvPr/>
        </p:nvPicPr>
        <p:blipFill rotWithShape="1">
          <a:blip r:embed="rId2" cstate="print">
            <a:alphaModFix/>
          </a:blip>
          <a:srcRect/>
          <a:stretch/>
        </p:blipFill>
        <p:spPr>
          <a:xfrm>
            <a:off x="7881773" y="0"/>
            <a:ext cx="4310227" cy="2313709"/>
          </a:xfrm>
          <a:prstGeom prst="rect">
            <a:avLst/>
          </a:prstGeom>
          <a:noFill/>
          <a:ln>
            <a:noFill/>
          </a:ln>
        </p:spPr>
      </p:pic>
      <p:sp>
        <p:nvSpPr>
          <p:cNvPr id="102" name="Google Shape;102;p20"/>
          <p:cNvSpPr/>
          <p:nvPr/>
        </p:nvSpPr>
        <p:spPr>
          <a:xfrm>
            <a:off x="7876800" y="0"/>
            <a:ext cx="4315200" cy="2318400"/>
          </a:xfrm>
          <a:prstGeom prst="rect">
            <a:avLst/>
          </a:prstGeom>
          <a:gradFill>
            <a:gsLst>
              <a:gs pos="0">
                <a:schemeClr val="lt1"/>
              </a:gs>
              <a:gs pos="76000">
                <a:srgbClr val="FFFFFF">
                  <a:alpha val="64705"/>
                </a:srgbClr>
              </a:gs>
              <a:gs pos="100000">
                <a:srgbClr val="FFFFFF">
                  <a:alpha val="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" name="Google Shape;103;p20"/>
          <p:cNvSpPr txBox="1">
            <a:spLocks noGrp="1"/>
          </p:cNvSpPr>
          <p:nvPr>
            <p:ph type="sldNum" idx="12"/>
          </p:nvPr>
        </p:nvSpPr>
        <p:spPr>
          <a:xfrm>
            <a:off x="11010555" y="6365828"/>
            <a:ext cx="60043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  <p:sp>
        <p:nvSpPr>
          <p:cNvPr id="104" name="Google Shape;104;p20"/>
          <p:cNvSpPr txBox="1">
            <a:spLocks noGrp="1"/>
          </p:cNvSpPr>
          <p:nvPr>
            <p:ph type="body" idx="1"/>
          </p:nvPr>
        </p:nvSpPr>
        <p:spPr>
          <a:xfrm>
            <a:off x="554568" y="1706880"/>
            <a:ext cx="11056424" cy="41976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5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2133"/>
              <a:buFont typeface="Noto Sans Symbols"/>
              <a:buNone/>
              <a:defRPr sz="2133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marR="0" lvl="1" indent="-355600" algn="l" rtl="0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marR="0" lvl="2" indent="-347154" algn="l" rtl="0">
              <a:lnSpc>
                <a:spcPct val="150000"/>
              </a:lnSpc>
              <a:spcBef>
                <a:spcPts val="373"/>
              </a:spcBef>
              <a:spcAft>
                <a:spcPts val="0"/>
              </a:spcAft>
              <a:buClr>
                <a:schemeClr val="accent2"/>
              </a:buClr>
              <a:buSzPts val="1867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marR="0" lvl="3" indent="-338645" algn="l" rtl="0">
              <a:lnSpc>
                <a:spcPct val="150000"/>
              </a:lnSpc>
              <a:spcBef>
                <a:spcPts val="347"/>
              </a:spcBef>
              <a:spcAft>
                <a:spcPts val="0"/>
              </a:spcAft>
              <a:buClr>
                <a:schemeClr val="accent2"/>
              </a:buClr>
              <a:buSzPts val="1733"/>
              <a:buFont typeface="Arial"/>
              <a:buChar char="•"/>
              <a:defRPr sz="1733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marR="0" lvl="4" indent="-330200" algn="l" rtl="0">
              <a:lnSpc>
                <a:spcPct val="150000"/>
              </a:lnSpc>
              <a:spcBef>
                <a:spcPts val="32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marR="0" lvl="5" indent="-397954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667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97954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667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97954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667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97954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667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5" name="Google Shape;105;p20"/>
          <p:cNvSpPr txBox="1">
            <a:spLocks noGrp="1"/>
          </p:cNvSpPr>
          <p:nvPr>
            <p:ph type="title"/>
          </p:nvPr>
        </p:nvSpPr>
        <p:spPr>
          <a:xfrm>
            <a:off x="554196" y="151638"/>
            <a:ext cx="11056800" cy="8493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933"/>
              <a:buFont typeface="Verdana"/>
              <a:buNone/>
              <a:defRPr sz="2933" b="1" i="0" u="none" strike="noStrike" cap="none">
                <a:solidFill>
                  <a:schemeClr val="accent2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06" name="Google Shape;106;p20"/>
          <p:cNvSpPr txBox="1">
            <a:spLocks noGrp="1"/>
          </p:cNvSpPr>
          <p:nvPr>
            <p:ph type="body" idx="2"/>
          </p:nvPr>
        </p:nvSpPr>
        <p:spPr>
          <a:xfrm>
            <a:off x="554567" y="1109479"/>
            <a:ext cx="11055351" cy="4889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marR="0" lvl="0" indent="-228600" algn="l" rtl="0">
              <a:spcBef>
                <a:spcPts val="427"/>
              </a:spcBef>
              <a:spcAft>
                <a:spcPts val="0"/>
              </a:spcAft>
              <a:buClr>
                <a:schemeClr val="accent1"/>
              </a:buClr>
              <a:buSzPts val="2133"/>
              <a:buFont typeface="Noto Sans Symbols"/>
              <a:buNone/>
              <a:defRPr sz="2133" b="1" i="0" u="none" strike="noStrike" cap="none">
                <a:solidFill>
                  <a:schemeClr val="accent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marR="0" lvl="1" indent="-601154" algn="l" rtl="0">
              <a:spcBef>
                <a:spcPts val="1173"/>
              </a:spcBef>
              <a:spcAft>
                <a:spcPts val="0"/>
              </a:spcAft>
              <a:buClr>
                <a:srgbClr val="282828"/>
              </a:buClr>
              <a:buSzPts val="5867"/>
              <a:buFont typeface="Arial"/>
              <a:buChar char="–"/>
              <a:defRPr sz="5867" b="0" i="0" u="none" strike="noStrike" cap="none">
                <a:solidFill>
                  <a:srgbClr val="282828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marR="0" lvl="2" indent="-601154" algn="l" rtl="0">
              <a:spcBef>
                <a:spcPts val="1173"/>
              </a:spcBef>
              <a:spcAft>
                <a:spcPts val="0"/>
              </a:spcAft>
              <a:buClr>
                <a:srgbClr val="282828"/>
              </a:buClr>
              <a:buSzPts val="5867"/>
              <a:buFont typeface="Noto Sans Symbols"/>
              <a:buChar char="▪"/>
              <a:defRPr sz="5867" b="0" i="0" u="none" strike="noStrike" cap="none">
                <a:solidFill>
                  <a:srgbClr val="282828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marR="0" lvl="3" indent="-601154" algn="l" rtl="0">
              <a:spcBef>
                <a:spcPts val="1173"/>
              </a:spcBef>
              <a:spcAft>
                <a:spcPts val="0"/>
              </a:spcAft>
              <a:buClr>
                <a:srgbClr val="282828"/>
              </a:buClr>
              <a:buSzPts val="5867"/>
              <a:buFont typeface="Arial"/>
              <a:buChar char="–"/>
              <a:defRPr sz="5867" b="0" i="0" u="none" strike="noStrike" cap="none">
                <a:solidFill>
                  <a:srgbClr val="282828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marR="0" lvl="4" indent="-397954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667"/>
              <a:buFont typeface="Arial"/>
              <a:buChar char="»"/>
              <a:defRPr sz="2667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marR="0" lvl="5" indent="-397954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667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97954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667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97954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667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97954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667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07" name="Google Shape;107;p20"/>
          <p:cNvPicPr preferRelativeResize="0"/>
          <p:nvPr/>
        </p:nvPicPr>
        <p:blipFill rotWithShape="1">
          <a:blip r:embed="rId3" cstate="print">
            <a:alphaModFix/>
          </a:blip>
          <a:srcRect/>
          <a:stretch/>
        </p:blipFill>
        <p:spPr>
          <a:xfrm>
            <a:off x="507971" y="6280906"/>
            <a:ext cx="1001500" cy="58287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190908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1800" cap="none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4"/>
          </p:nvPr>
        </p:nvSpPr>
        <p:spPr>
          <a:xfrm>
            <a:off x="442800" y="940751"/>
            <a:ext cx="11235796" cy="3718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de-CH" sz="1867" dirty="0">
                <a:solidFill>
                  <a:schemeClr val="accent3"/>
                </a:solidFill>
              </a:defRPr>
            </a:lvl1pPr>
          </a:lstStyle>
          <a:p>
            <a:pPr lvl="0">
              <a:lnSpc>
                <a:spcPts val="2880"/>
              </a:lnSpc>
              <a:spcAft>
                <a:spcPts val="0"/>
              </a:spcAft>
            </a:pP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42913" y="1916113"/>
            <a:ext cx="11306175" cy="400843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948940" y="6000750"/>
            <a:ext cx="7164000" cy="727098"/>
          </a:xfrm>
        </p:spPr>
        <p:txBody>
          <a:bodyPr anchor="b" anchorCtr="0"/>
          <a:lstStyle>
            <a:lvl1pPr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insert references…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5614719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mall image mas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010555" y="6365828"/>
            <a:ext cx="600437" cy="365125"/>
          </a:xfr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81BF0B4E-CE60-AB48-9D7E-4434414A7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5858C469-6A21-2B42-8DA3-5016CF6ED2E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94003" y="-6417"/>
            <a:ext cx="1897997" cy="6220800"/>
          </a:xfrm>
          <a:prstGeom prst="rect">
            <a:avLst/>
          </a:prstGeom>
        </p:spPr>
        <p:txBody>
          <a:bodyPr anchor="ctr" anchorCtr="0"/>
          <a:lstStyle>
            <a:lvl1pPr algn="ctr">
              <a:defRPr sz="2933"/>
            </a:lvl1pPr>
          </a:lstStyle>
          <a:p>
            <a:endParaRPr lang="en-US"/>
          </a:p>
        </p:txBody>
      </p:sp>
      <p:sp>
        <p:nvSpPr>
          <p:cNvPr id="13" name="Title 11">
            <a:extLst>
              <a:ext uri="{FF2B5EF4-FFF2-40B4-BE49-F238E27FC236}">
                <a16:creationId xmlns:a16="http://schemas.microsoft.com/office/drawing/2014/main" id="{841309E4-4F63-6D45-B298-576DDAAF2D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198" y="151638"/>
            <a:ext cx="9476388" cy="849389"/>
          </a:xfrm>
          <a:prstGeom prst="rect">
            <a:avLst/>
          </a:prstGeom>
        </p:spPr>
        <p:txBody>
          <a:bodyPr anchor="ctr" anchorCtr="0"/>
          <a:lstStyle>
            <a:lvl1pPr>
              <a:defRPr lang="en-US" sz="2933" b="1" kern="1200" dirty="0" smtClean="0">
                <a:solidFill>
                  <a:schemeClr val="accent2"/>
                </a:solidFill>
                <a:latin typeface="Verdana"/>
                <a:ea typeface="+mj-ea"/>
                <a:cs typeface="Verdana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8B6BE58-8878-AC40-903A-5F4FCA4A7C2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4043" y="1109479"/>
            <a:ext cx="9475839" cy="488949"/>
          </a:xfrm>
          <a:prstGeom prst="rect">
            <a:avLst/>
          </a:prstGeom>
        </p:spPr>
        <p:txBody>
          <a:bodyPr anchor="ctr" anchorCtr="0"/>
          <a:lstStyle>
            <a:lvl1pPr>
              <a:defRPr lang="en-US" sz="2667" b="0" smtClean="0">
                <a:solidFill>
                  <a:schemeClr val="accent1"/>
                </a:solidFill>
                <a:latin typeface="Verdana"/>
                <a:ea typeface="+mj-ea"/>
                <a:cs typeface="Verdana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subtitl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846CA696-7654-D545-91FA-F70447686B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4044" y="1706880"/>
            <a:ext cx="9476913" cy="4197637"/>
          </a:xfrm>
          <a:prstGeom prst="rect">
            <a:avLst/>
          </a:prstGeom>
        </p:spPr>
        <p:txBody>
          <a:bodyPr/>
          <a:lstStyle>
            <a:lvl1pPr marL="0" marR="0" indent="0" algn="l" defTabSz="609585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charset="2"/>
              <a:buNone/>
              <a:tabLst/>
              <a:defRPr sz="2133">
                <a:solidFill>
                  <a:schemeClr val="tx1"/>
                </a:solidFill>
              </a:defRPr>
            </a:lvl1pPr>
            <a:lvl2pPr marL="711182" indent="-237061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  <a:tabLst/>
              <a:defRPr sz="2000">
                <a:solidFill>
                  <a:schemeClr val="tx1"/>
                </a:solidFill>
              </a:defRPr>
            </a:lvl2pPr>
            <a:lvl3pPr marL="948243" indent="-237061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  <a:tabLst/>
              <a:defRPr sz="1867">
                <a:solidFill>
                  <a:schemeClr val="tx1"/>
                </a:solidFill>
              </a:defRPr>
            </a:lvl3pPr>
            <a:lvl4pPr marL="1185304" marR="0" indent="-237061" algn="l" defTabSz="609585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anose="020B0604020202020204" pitchFamily="34" charset="0"/>
              <a:buChar char="•"/>
              <a:tabLst/>
              <a:defRPr sz="1733">
                <a:solidFill>
                  <a:schemeClr val="tx1"/>
                </a:solidFill>
              </a:defRPr>
            </a:lvl4pPr>
            <a:lvl5pPr marL="1422364" indent="-237061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charset="2"/>
              <a:buNone/>
              <a:tabLst/>
              <a:defRPr/>
            </a:pPr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2483449-66A0-5340-80DA-539B06540C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6417"/>
            <a:ext cx="12192000" cy="6217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54383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1_Title slide">
    <p:spTree>
      <p:nvGrpSpPr>
        <p:cNvPr id="1" name="Shape 2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1" name="Google Shape;211;p40"/>
          <p:cNvPicPr preferRelativeResize="0"/>
          <p:nvPr/>
        </p:nvPicPr>
        <p:blipFill rotWithShape="1">
          <a:blip r:embed="rId2" cstate="print">
            <a:alphaModFix/>
          </a:blip>
          <a:srcRect/>
          <a:stretch/>
        </p:blipFill>
        <p:spPr>
          <a:xfrm>
            <a:off x="0" y="-1"/>
            <a:ext cx="12192000" cy="6221213"/>
          </a:xfrm>
          <a:prstGeom prst="rect">
            <a:avLst/>
          </a:prstGeom>
          <a:noFill/>
          <a:ln>
            <a:noFill/>
          </a:ln>
        </p:spPr>
      </p:pic>
      <p:sp>
        <p:nvSpPr>
          <p:cNvPr id="212" name="Google Shape;212;p40"/>
          <p:cNvSpPr txBox="1">
            <a:spLocks noGrp="1"/>
          </p:cNvSpPr>
          <p:nvPr>
            <p:ph type="sldNum" idx="12"/>
          </p:nvPr>
        </p:nvSpPr>
        <p:spPr>
          <a:xfrm>
            <a:off x="11010555" y="6365828"/>
            <a:ext cx="6004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6pPr>
            <a:lvl7pPr marL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7pPr>
            <a:lvl8pPr marL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8pPr>
            <a:lvl9pPr marL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sp>
        <p:nvSpPr>
          <p:cNvPr id="213" name="Google Shape;213;p40"/>
          <p:cNvSpPr txBox="1">
            <a:spLocks noGrp="1"/>
          </p:cNvSpPr>
          <p:nvPr>
            <p:ph type="title"/>
          </p:nvPr>
        </p:nvSpPr>
        <p:spPr>
          <a:xfrm>
            <a:off x="4728645" y="1988955"/>
            <a:ext cx="6882400" cy="211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Clr>
                <a:srgbClr val="00467F"/>
              </a:buClr>
              <a:buSzPts val="4400"/>
              <a:buFont typeface="Verdana"/>
              <a:buNone/>
              <a:defRPr sz="5867" b="0" i="0" u="none" strike="noStrike" cap="none">
                <a:solidFill>
                  <a:srgbClr val="00467F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9pPr>
          </a:lstStyle>
          <a:p>
            <a:endParaRPr/>
          </a:p>
        </p:txBody>
      </p:sp>
      <p:sp>
        <p:nvSpPr>
          <p:cNvPr id="214" name="Google Shape;214;p40"/>
          <p:cNvSpPr txBox="1">
            <a:spLocks noGrp="1"/>
          </p:cNvSpPr>
          <p:nvPr>
            <p:ph type="dt" idx="10"/>
          </p:nvPr>
        </p:nvSpPr>
        <p:spPr>
          <a:xfrm>
            <a:off x="8766192" y="5445381"/>
            <a:ext cx="2844800" cy="36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rgbClr val="969696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15" name="Google Shape;215;p40"/>
          <p:cNvSpPr txBox="1">
            <a:spLocks noGrp="1"/>
          </p:cNvSpPr>
          <p:nvPr>
            <p:ph type="body" idx="1"/>
          </p:nvPr>
        </p:nvSpPr>
        <p:spPr>
          <a:xfrm>
            <a:off x="4734500" y="4676699"/>
            <a:ext cx="6876400" cy="59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r" rtl="0">
              <a:spcBef>
                <a:spcPts val="347"/>
              </a:spcBef>
              <a:spcAft>
                <a:spcPts val="0"/>
              </a:spcAft>
              <a:buClr>
                <a:srgbClr val="282828"/>
              </a:buClr>
              <a:buSzPts val="1300"/>
              <a:buFont typeface="Noto Sans Symbols"/>
              <a:buNone/>
              <a:defRPr sz="1733" b="0" i="0" u="none" strike="noStrike" cap="none">
                <a:solidFill>
                  <a:srgbClr val="282828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1219170" marR="0" lvl="1" indent="-677316" algn="l" rtl="0">
              <a:spcBef>
                <a:spcPts val="1173"/>
              </a:spcBef>
              <a:spcAft>
                <a:spcPts val="0"/>
              </a:spcAft>
              <a:buClr>
                <a:srgbClr val="282828"/>
              </a:buClr>
              <a:buSzPts val="4400"/>
              <a:buFont typeface="Arial"/>
              <a:buChar char="–"/>
              <a:defRPr sz="5867" b="0" i="0" u="none" strike="noStrike" cap="none">
                <a:solidFill>
                  <a:srgbClr val="282828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828754" marR="0" lvl="2" indent="-677316" algn="l" rtl="0">
              <a:spcBef>
                <a:spcPts val="1173"/>
              </a:spcBef>
              <a:spcAft>
                <a:spcPts val="0"/>
              </a:spcAft>
              <a:buClr>
                <a:srgbClr val="282828"/>
              </a:buClr>
              <a:buSzPts val="4400"/>
              <a:buFont typeface="Noto Sans Symbols"/>
              <a:buChar char="▪"/>
              <a:defRPr sz="5867" b="0" i="0" u="none" strike="noStrike" cap="none">
                <a:solidFill>
                  <a:srgbClr val="282828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2438339" marR="0" lvl="3" indent="-677316" algn="l" rtl="0">
              <a:spcBef>
                <a:spcPts val="1173"/>
              </a:spcBef>
              <a:spcAft>
                <a:spcPts val="0"/>
              </a:spcAft>
              <a:buClr>
                <a:srgbClr val="282828"/>
              </a:buClr>
              <a:buSzPts val="4400"/>
              <a:buFont typeface="Arial"/>
              <a:buChar char="–"/>
              <a:defRPr sz="5867" b="0" i="0" u="none" strike="noStrike" cap="none">
                <a:solidFill>
                  <a:srgbClr val="282828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3047924" marR="0" lvl="4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667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3657509" marR="0" lvl="5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16" name="Google Shape;216;p40"/>
          <p:cNvSpPr txBox="1">
            <a:spLocks noGrp="1"/>
          </p:cNvSpPr>
          <p:nvPr>
            <p:ph type="body" idx="2"/>
          </p:nvPr>
        </p:nvSpPr>
        <p:spPr>
          <a:xfrm>
            <a:off x="4728645" y="4111368"/>
            <a:ext cx="6882400" cy="3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r" rtl="0">
              <a:spcBef>
                <a:spcPts val="480"/>
              </a:spcBef>
              <a:spcAft>
                <a:spcPts val="0"/>
              </a:spcAft>
              <a:buClr>
                <a:srgbClr val="00AAE7"/>
              </a:buClr>
              <a:buSzPts val="1800"/>
              <a:buFont typeface="Noto Sans Symbols"/>
              <a:buNone/>
              <a:defRPr sz="2400" b="1" i="0" u="none" strike="noStrike" cap="none">
                <a:solidFill>
                  <a:srgbClr val="00AAE7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1219170" marR="0" lvl="1" indent="-677316" algn="l" rtl="0">
              <a:spcBef>
                <a:spcPts val="1173"/>
              </a:spcBef>
              <a:spcAft>
                <a:spcPts val="0"/>
              </a:spcAft>
              <a:buClr>
                <a:srgbClr val="282828"/>
              </a:buClr>
              <a:buSzPts val="4400"/>
              <a:buFont typeface="Arial"/>
              <a:buChar char="–"/>
              <a:defRPr sz="5867" b="0" i="0" u="none" strike="noStrike" cap="none">
                <a:solidFill>
                  <a:srgbClr val="282828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828754" marR="0" lvl="2" indent="-677316" algn="l" rtl="0">
              <a:spcBef>
                <a:spcPts val="1173"/>
              </a:spcBef>
              <a:spcAft>
                <a:spcPts val="0"/>
              </a:spcAft>
              <a:buClr>
                <a:srgbClr val="282828"/>
              </a:buClr>
              <a:buSzPts val="4400"/>
              <a:buFont typeface="Noto Sans Symbols"/>
              <a:buChar char="▪"/>
              <a:defRPr sz="5867" b="0" i="0" u="none" strike="noStrike" cap="none">
                <a:solidFill>
                  <a:srgbClr val="282828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2438339" marR="0" lvl="3" indent="-677316" algn="l" rtl="0">
              <a:spcBef>
                <a:spcPts val="1173"/>
              </a:spcBef>
              <a:spcAft>
                <a:spcPts val="0"/>
              </a:spcAft>
              <a:buClr>
                <a:srgbClr val="282828"/>
              </a:buClr>
              <a:buSzPts val="4400"/>
              <a:buFont typeface="Arial"/>
              <a:buChar char="–"/>
              <a:defRPr sz="5867" b="0" i="0" u="none" strike="noStrike" cap="none">
                <a:solidFill>
                  <a:srgbClr val="282828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3047924" marR="0" lvl="4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667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3657509" marR="0" lvl="5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217" name="Google Shape;217;p40"/>
          <p:cNvPicPr preferRelativeResize="0"/>
          <p:nvPr/>
        </p:nvPicPr>
        <p:blipFill rotWithShape="1">
          <a:blip r:embed="rId3" cstate="print">
            <a:alphaModFix/>
          </a:blip>
          <a:srcRect/>
          <a:stretch/>
        </p:blipFill>
        <p:spPr>
          <a:xfrm>
            <a:off x="8420109" y="324207"/>
            <a:ext cx="3190884" cy="185709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3467625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442913" y="439573"/>
            <a:ext cx="11306175" cy="901866"/>
          </a:xfrm>
        </p:spPr>
        <p:txBody>
          <a:bodyPr/>
          <a:lstStyle>
            <a:lvl1pPr>
              <a:defRPr sz="1800" cap="none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42913" y="1341439"/>
            <a:ext cx="11306175" cy="45831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948940" y="6000750"/>
            <a:ext cx="7490335" cy="727098"/>
          </a:xfrm>
        </p:spPr>
        <p:txBody>
          <a:bodyPr anchor="b" anchorCtr="0"/>
          <a:lstStyle>
            <a:lvl1pPr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insert references…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9251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45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1800" cap="none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4"/>
          </p:nvPr>
        </p:nvSpPr>
        <p:spPr>
          <a:xfrm>
            <a:off x="442800" y="940751"/>
            <a:ext cx="11235796" cy="3718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de-CH" sz="1867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>
              <a:lnSpc>
                <a:spcPts val="2880"/>
              </a:lnSpc>
              <a:spcAft>
                <a:spcPts val="0"/>
              </a:spcAft>
            </a:pP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42913" y="1916113"/>
            <a:ext cx="11306175" cy="40084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948940" y="6000750"/>
            <a:ext cx="7490335" cy="727098"/>
          </a:xfrm>
        </p:spPr>
        <p:txBody>
          <a:bodyPr anchor="b" anchorCtr="0"/>
          <a:lstStyle>
            <a:lvl1pPr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insert references…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9661860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1800" cap="none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955538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Image Only" preserve="1">
  <p:cSld name="Full 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85747"/>
          </a:xfrm>
          <a:prstGeom prst="rect">
            <a:avLst/>
          </a:prstGeom>
        </p:spPr>
        <p:txBody>
          <a:bodyPr tIns="540000"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191309"/>
            <a:ext cx="12192000" cy="0"/>
          </a:xfrm>
          <a:prstGeom prst="line">
            <a:avLst/>
          </a:prstGeom>
          <a:ln w="12700">
            <a:solidFill>
              <a:srgbClr val="E5004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131412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159841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6"/>
          <p:cNvSpPr>
            <a:spLocks/>
          </p:cNvSpPr>
          <p:nvPr userDrawn="1"/>
        </p:nvSpPr>
        <p:spPr bwMode="auto">
          <a:xfrm>
            <a:off x="6690228" y="0"/>
            <a:ext cx="3621088" cy="6858000"/>
          </a:xfrm>
          <a:custGeom>
            <a:avLst/>
            <a:gdLst>
              <a:gd name="T0" fmla="*/ 19 w 419"/>
              <a:gd name="T1" fmla="*/ 1 h 794"/>
              <a:gd name="T2" fmla="*/ 19 w 419"/>
              <a:gd name="T3" fmla="*/ 0 h 794"/>
              <a:gd name="T4" fmla="*/ 4 w 419"/>
              <a:gd name="T5" fmla="*/ 0 h 794"/>
              <a:gd name="T6" fmla="*/ 324 w 419"/>
              <a:gd name="T7" fmla="*/ 320 h 794"/>
              <a:gd name="T8" fmla="*/ 324 w 419"/>
              <a:gd name="T9" fmla="*/ 470 h 794"/>
              <a:gd name="T10" fmla="*/ 0 w 419"/>
              <a:gd name="T11" fmla="*/ 794 h 794"/>
              <a:gd name="T12" fmla="*/ 92 w 419"/>
              <a:gd name="T13" fmla="*/ 794 h 794"/>
              <a:gd name="T14" fmla="*/ 377 w 419"/>
              <a:gd name="T15" fmla="*/ 509 h 794"/>
              <a:gd name="T16" fmla="*/ 377 w 419"/>
              <a:gd name="T17" fmla="*/ 359 h 794"/>
              <a:gd name="T18" fmla="*/ 19 w 419"/>
              <a:gd name="T19" fmla="*/ 1 h 7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19" h="794">
                <a:moveTo>
                  <a:pt x="19" y="1"/>
                </a:moveTo>
                <a:cubicBezTo>
                  <a:pt x="19" y="0"/>
                  <a:pt x="19" y="0"/>
                  <a:pt x="19" y="0"/>
                </a:cubicBezTo>
                <a:cubicBezTo>
                  <a:pt x="4" y="0"/>
                  <a:pt x="4" y="0"/>
                  <a:pt x="4" y="0"/>
                </a:cubicBezTo>
                <a:cubicBezTo>
                  <a:pt x="324" y="320"/>
                  <a:pt x="324" y="320"/>
                  <a:pt x="324" y="320"/>
                </a:cubicBezTo>
                <a:cubicBezTo>
                  <a:pt x="365" y="362"/>
                  <a:pt x="365" y="429"/>
                  <a:pt x="324" y="470"/>
                </a:cubicBezTo>
                <a:cubicBezTo>
                  <a:pt x="0" y="794"/>
                  <a:pt x="0" y="794"/>
                  <a:pt x="0" y="794"/>
                </a:cubicBezTo>
                <a:cubicBezTo>
                  <a:pt x="92" y="794"/>
                  <a:pt x="92" y="794"/>
                  <a:pt x="92" y="794"/>
                </a:cubicBezTo>
                <a:cubicBezTo>
                  <a:pt x="377" y="509"/>
                  <a:pt x="377" y="509"/>
                  <a:pt x="377" y="509"/>
                </a:cubicBezTo>
                <a:cubicBezTo>
                  <a:pt x="419" y="467"/>
                  <a:pt x="419" y="400"/>
                  <a:pt x="377" y="359"/>
                </a:cubicBezTo>
                <a:lnTo>
                  <a:pt x="19" y="1"/>
                </a:lnTo>
                <a:close/>
              </a:path>
            </a:pathLst>
          </a:custGeom>
          <a:solidFill>
            <a:schemeClr val="tx2">
              <a:alpha val="30000"/>
            </a:schemeClr>
          </a:solidFill>
          <a:ln>
            <a:noFill/>
          </a:ln>
          <a:effectLst>
            <a:outerShdw blurRad="190500" dir="13500000" sy="23000" kx="1200000" algn="br" rotWithShape="0">
              <a:prstClr val="black">
                <a:alpha val="7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GB" dirty="0"/>
          </a:p>
        </p:txBody>
      </p:sp>
      <p:sp>
        <p:nvSpPr>
          <p:cNvPr id="10" name="Freeform 6"/>
          <p:cNvSpPr>
            <a:spLocks/>
          </p:cNvSpPr>
          <p:nvPr userDrawn="1"/>
        </p:nvSpPr>
        <p:spPr bwMode="auto">
          <a:xfrm>
            <a:off x="6791325" y="0"/>
            <a:ext cx="3621088" cy="6858000"/>
          </a:xfrm>
          <a:custGeom>
            <a:avLst/>
            <a:gdLst>
              <a:gd name="T0" fmla="*/ 19 w 419"/>
              <a:gd name="T1" fmla="*/ 1 h 794"/>
              <a:gd name="T2" fmla="*/ 19 w 419"/>
              <a:gd name="T3" fmla="*/ 0 h 794"/>
              <a:gd name="T4" fmla="*/ 4 w 419"/>
              <a:gd name="T5" fmla="*/ 0 h 794"/>
              <a:gd name="T6" fmla="*/ 324 w 419"/>
              <a:gd name="T7" fmla="*/ 320 h 794"/>
              <a:gd name="T8" fmla="*/ 324 w 419"/>
              <a:gd name="T9" fmla="*/ 470 h 794"/>
              <a:gd name="T10" fmla="*/ 0 w 419"/>
              <a:gd name="T11" fmla="*/ 794 h 794"/>
              <a:gd name="T12" fmla="*/ 92 w 419"/>
              <a:gd name="T13" fmla="*/ 794 h 794"/>
              <a:gd name="T14" fmla="*/ 377 w 419"/>
              <a:gd name="T15" fmla="*/ 509 h 794"/>
              <a:gd name="T16" fmla="*/ 377 w 419"/>
              <a:gd name="T17" fmla="*/ 359 h 794"/>
              <a:gd name="T18" fmla="*/ 19 w 419"/>
              <a:gd name="T19" fmla="*/ 1 h 7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19" h="794">
                <a:moveTo>
                  <a:pt x="19" y="1"/>
                </a:moveTo>
                <a:cubicBezTo>
                  <a:pt x="19" y="0"/>
                  <a:pt x="19" y="0"/>
                  <a:pt x="19" y="0"/>
                </a:cubicBezTo>
                <a:cubicBezTo>
                  <a:pt x="4" y="0"/>
                  <a:pt x="4" y="0"/>
                  <a:pt x="4" y="0"/>
                </a:cubicBezTo>
                <a:cubicBezTo>
                  <a:pt x="324" y="320"/>
                  <a:pt x="324" y="320"/>
                  <a:pt x="324" y="320"/>
                </a:cubicBezTo>
                <a:cubicBezTo>
                  <a:pt x="365" y="362"/>
                  <a:pt x="365" y="429"/>
                  <a:pt x="324" y="470"/>
                </a:cubicBezTo>
                <a:cubicBezTo>
                  <a:pt x="0" y="794"/>
                  <a:pt x="0" y="794"/>
                  <a:pt x="0" y="794"/>
                </a:cubicBezTo>
                <a:cubicBezTo>
                  <a:pt x="92" y="794"/>
                  <a:pt x="92" y="794"/>
                  <a:pt x="92" y="794"/>
                </a:cubicBezTo>
                <a:cubicBezTo>
                  <a:pt x="377" y="509"/>
                  <a:pt x="377" y="509"/>
                  <a:pt x="377" y="509"/>
                </a:cubicBezTo>
                <a:cubicBezTo>
                  <a:pt x="419" y="467"/>
                  <a:pt x="419" y="400"/>
                  <a:pt x="377" y="359"/>
                </a:cubicBezTo>
                <a:lnTo>
                  <a:pt x="19" y="1"/>
                </a:lnTo>
                <a:close/>
              </a:path>
            </a:pathLst>
          </a:custGeom>
          <a:solidFill>
            <a:schemeClr val="bg2">
              <a:alpha val="30000"/>
            </a:schemeClr>
          </a:solidFill>
          <a:ln>
            <a:noFill/>
          </a:ln>
          <a:effectLst>
            <a:outerShdw blurRad="190500" dir="13500000" sy="23000" kx="1200000" algn="br" rotWithShape="0">
              <a:prstClr val="black">
                <a:alpha val="7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</p:spTree>
    <p:extLst>
      <p:ext uri="{BB962C8B-B14F-4D97-AF65-F5344CB8AC3E}">
        <p14:creationId xmlns:p14="http://schemas.microsoft.com/office/powerpoint/2010/main" val="317197131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434198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8414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1800" cap="none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14994336"/>
      </p:ext>
    </p:extLst>
  </p:cSld>
  <p:clrMapOvr>
    <a:masterClrMapping/>
  </p:clrMapOvr>
  <p:hf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552213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508423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 Slide" preserve="1">
  <p:cSld name="Thank You Slide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4718" y="452967"/>
            <a:ext cx="8494645" cy="346249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cxnSp>
        <p:nvCxnSpPr>
          <p:cNvPr id="16" name="Straight Connector 15"/>
          <p:cNvCxnSpPr/>
          <p:nvPr userDrawn="1"/>
        </p:nvCxnSpPr>
        <p:spPr bwMode="gray">
          <a:xfrm>
            <a:off x="0" y="6191309"/>
            <a:ext cx="12192000" cy="0"/>
          </a:xfrm>
          <a:prstGeom prst="line">
            <a:avLst/>
          </a:prstGeom>
          <a:ln w="127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hhider"/>
          <p:cNvSpPr/>
          <p:nvPr userDrawn="1">
            <p:custDataLst>
              <p:tags r:id="rId1"/>
            </p:custDataLst>
          </p:nvPr>
        </p:nvSpPr>
        <p:spPr>
          <a:xfrm>
            <a:off x="821" y="6191309"/>
            <a:ext cx="12191180" cy="666691"/>
          </a:xfrm>
          <a:prstGeom prst="rect">
            <a:avLst/>
          </a:prstGeom>
          <a:solidFill>
            <a:srgbClr val="FFFFF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200" dirty="0">
              <a:solidFill>
                <a:srgbClr val="FFFFFF"/>
              </a:solidFill>
            </a:endParaRP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FCF53EAD-04D1-4EB3-8F77-13DD055D4C07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  <p:pic>
        <p:nvPicPr>
          <p:cNvPr id="8" name="Content Placeholder 7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4717" y="6309007"/>
            <a:ext cx="710464" cy="440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113400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442913" y="439573"/>
            <a:ext cx="11306175" cy="901866"/>
          </a:xfrm>
        </p:spPr>
        <p:txBody>
          <a:bodyPr/>
          <a:lstStyle>
            <a:lvl1pPr>
              <a:lnSpc>
                <a:spcPct val="100000"/>
              </a:lnSpc>
              <a:defRPr sz="1800" cap="none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42913" y="1341439"/>
            <a:ext cx="11306175" cy="45831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948940" y="6000750"/>
            <a:ext cx="7490335" cy="727098"/>
          </a:xfrm>
        </p:spPr>
        <p:txBody>
          <a:bodyPr anchor="b" anchorCtr="0"/>
          <a:lstStyle>
            <a:lvl1pPr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insert references…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4922056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845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6400" y="1600202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 sz="2600" baseline="0">
                <a:solidFill>
                  <a:schemeClr val="tx1">
                    <a:lumMod val="75000"/>
                  </a:schemeClr>
                </a:solidFill>
                <a:latin typeface="Calibri" panose="020F0502020204030204" pitchFamily="34" charset="0"/>
              </a:defRPr>
            </a:lvl1pPr>
            <a:lvl2pPr>
              <a:defRPr sz="2200">
                <a:solidFill>
                  <a:schemeClr val="tx1">
                    <a:lumMod val="75000"/>
                  </a:schemeClr>
                </a:solidFill>
                <a:latin typeface="+mn-lt"/>
              </a:defRPr>
            </a:lvl2pPr>
            <a:lvl3pPr>
              <a:defRPr sz="2133">
                <a:solidFill>
                  <a:schemeClr val="tx1">
                    <a:lumMod val="7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891726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31800" y="150848"/>
            <a:ext cx="11336867" cy="4691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cap="none" baseline="0"/>
            </a:lvl1pPr>
          </a:lstStyle>
          <a:p>
            <a:r>
              <a:rPr lang="en-GB" noProof="0" dirty="0"/>
              <a:t>Click to edit master title slid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idx="1"/>
          </p:nvPr>
        </p:nvSpPr>
        <p:spPr>
          <a:xfrm>
            <a:off x="431800" y="959281"/>
            <a:ext cx="11331624" cy="535336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buClr>
                <a:srgbClr val="CC0033"/>
              </a:buClr>
              <a:defRPr/>
            </a:lvl1pPr>
            <a:lvl2pPr>
              <a:buClr>
                <a:srgbClr val="CC0033"/>
              </a:buClr>
              <a:defRPr/>
            </a:lvl2pPr>
            <a:lvl3pPr>
              <a:buClr>
                <a:srgbClr val="CC0033"/>
              </a:buClr>
              <a:defRPr/>
            </a:lvl3pPr>
            <a:lvl4pPr>
              <a:buClr>
                <a:srgbClr val="CC0033"/>
              </a:buClr>
              <a:defRPr/>
            </a:lvl4pPr>
            <a:lvl5pPr>
              <a:buClr>
                <a:srgbClr val="CC0033"/>
              </a:buClr>
              <a:defRPr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1801" y="6326504"/>
            <a:ext cx="11358033" cy="153888"/>
          </a:xfrm>
        </p:spPr>
        <p:txBody>
          <a:bodyPr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  <a:lvl2pPr marL="0" indent="0">
              <a:spcBef>
                <a:spcPts val="0"/>
              </a:spcBef>
              <a:buNone/>
              <a:defRPr sz="1000"/>
            </a:lvl2pPr>
            <a:lvl3pPr marL="0" indent="0">
              <a:spcBef>
                <a:spcPts val="0"/>
              </a:spcBef>
              <a:buNone/>
              <a:defRPr sz="1000"/>
            </a:lvl3pPr>
            <a:lvl4pPr marL="0" indent="0">
              <a:spcBef>
                <a:spcPts val="0"/>
              </a:spcBef>
              <a:buNone/>
              <a:defRPr sz="1000"/>
            </a:lvl4pPr>
            <a:lvl5pPr marL="0" indent="0">
              <a:spcBef>
                <a:spcPts val="0"/>
              </a:spcBef>
              <a:buNone/>
              <a:defRPr sz="1000"/>
            </a:lvl5pPr>
          </a:lstStyle>
          <a:p>
            <a:pPr lvl="0"/>
            <a:r>
              <a:rPr lang="en-GB" noProof="0" dirty="0"/>
              <a:t>References.</a:t>
            </a:r>
          </a:p>
        </p:txBody>
      </p:sp>
    </p:spTree>
    <p:extLst>
      <p:ext uri="{BB962C8B-B14F-4D97-AF65-F5344CB8AC3E}">
        <p14:creationId xmlns:p14="http://schemas.microsoft.com/office/powerpoint/2010/main" val="251091680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442913" y="439573"/>
            <a:ext cx="11306175" cy="901866"/>
          </a:xfrm>
        </p:spPr>
        <p:txBody>
          <a:bodyPr/>
          <a:lstStyle>
            <a:lvl1pPr>
              <a:lnSpc>
                <a:spcPct val="100000"/>
              </a:lnSpc>
              <a:defRPr sz="1800" cap="all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42913" y="1341439"/>
            <a:ext cx="11306175" cy="45831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948940" y="6583680"/>
            <a:ext cx="7164000" cy="144168"/>
          </a:xfrm>
        </p:spPr>
        <p:txBody>
          <a:bodyPr anchor="b" anchorCtr="0"/>
          <a:lstStyle>
            <a:lvl1pPr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insert references…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789884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845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1800" cap="none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4"/>
          </p:nvPr>
        </p:nvSpPr>
        <p:spPr>
          <a:xfrm>
            <a:off x="442800" y="940751"/>
            <a:ext cx="11235796" cy="3718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de-CH" sz="1867" dirty="0">
                <a:solidFill>
                  <a:schemeClr val="accent3"/>
                </a:solidFill>
              </a:defRPr>
            </a:lvl1pPr>
          </a:lstStyle>
          <a:p>
            <a:pPr lvl="0">
              <a:lnSpc>
                <a:spcPts val="2880"/>
              </a:lnSpc>
              <a:spcAft>
                <a:spcPts val="0"/>
              </a:spcAft>
            </a:pP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42913" y="1916113"/>
            <a:ext cx="11306175" cy="400843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948940" y="6000750"/>
            <a:ext cx="7164000" cy="727098"/>
          </a:xfrm>
        </p:spPr>
        <p:txBody>
          <a:bodyPr anchor="b" anchorCtr="0"/>
          <a:lstStyle>
            <a:lvl1pPr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insert references…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77864204"/>
      </p:ext>
    </p:extLst>
  </p:cSld>
  <p:clrMapOvr>
    <a:masterClrMapping/>
  </p:clrMapOvr>
  <p:hf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1800" cap="none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3538646"/>
      </p:ext>
    </p:extLst>
  </p:cSld>
  <p:clrMapOvr>
    <a:masterClrMapping/>
  </p:clrMapOvr>
  <p:hf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Image Only" preserve="1">
  <p:cSld name="Full 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85747"/>
          </a:xfrm>
          <a:prstGeom prst="rect">
            <a:avLst/>
          </a:prstGeom>
        </p:spPr>
        <p:txBody>
          <a:bodyPr tIns="540000"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191309"/>
            <a:ext cx="12192000" cy="0"/>
          </a:xfrm>
          <a:prstGeom prst="line">
            <a:avLst/>
          </a:prstGeom>
          <a:ln w="12700">
            <a:solidFill>
              <a:srgbClr val="E5004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06359724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Image Only" preserve="1">
  <p:cSld name="Full 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85747"/>
          </a:xfrm>
          <a:prstGeom prst="rect">
            <a:avLst/>
          </a:prstGeom>
        </p:spPr>
        <p:txBody>
          <a:bodyPr tIns="540000"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191309"/>
            <a:ext cx="12192000" cy="0"/>
          </a:xfrm>
          <a:prstGeom prst="line">
            <a:avLst/>
          </a:prstGeom>
          <a:ln w="12700">
            <a:solidFill>
              <a:srgbClr val="E5004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3161388"/>
      </p:ext>
    </p:extLst>
  </p:cSld>
  <p:clrMapOvr>
    <a:masterClrMapping/>
  </p:clrMapOvr>
  <p:hf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0202447"/>
      </p:ext>
    </p:extLst>
  </p:cSld>
  <p:clrMapOvr>
    <a:masterClrMapping/>
  </p:clrMapOvr>
  <p:hf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6"/>
          <p:cNvSpPr>
            <a:spLocks noChangeArrowheads="1"/>
          </p:cNvSpPr>
          <p:nvPr userDrawn="1"/>
        </p:nvSpPr>
        <p:spPr bwMode="auto">
          <a:xfrm>
            <a:off x="0" y="-9525"/>
            <a:ext cx="12201525" cy="686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4504531" y="1462076"/>
            <a:ext cx="3173411" cy="1141425"/>
            <a:chOff x="4214813" y="817826"/>
            <a:chExt cx="4143637" cy="1490400"/>
          </a:xfrm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grpSpPr>
        <p:sp>
          <p:nvSpPr>
            <p:cNvPr id="27" name="Freeform 9"/>
            <p:cNvSpPr>
              <a:spLocks/>
            </p:cNvSpPr>
            <p:nvPr userDrawn="1"/>
          </p:nvSpPr>
          <p:spPr bwMode="auto">
            <a:xfrm>
              <a:off x="5597525" y="817826"/>
              <a:ext cx="2058987" cy="695326"/>
            </a:xfrm>
            <a:custGeom>
              <a:avLst/>
              <a:gdLst>
                <a:gd name="T0" fmla="*/ 216 w 216"/>
                <a:gd name="T1" fmla="*/ 70 h 73"/>
                <a:gd name="T2" fmla="*/ 0 w 216"/>
                <a:gd name="T3" fmla="*/ 0 h 73"/>
                <a:gd name="T4" fmla="*/ 4 w 216"/>
                <a:gd name="T5" fmla="*/ 2 h 73"/>
                <a:gd name="T6" fmla="*/ 155 w 216"/>
                <a:gd name="T7" fmla="*/ 73 h 73"/>
                <a:gd name="T8" fmla="*/ 216 w 216"/>
                <a:gd name="T9" fmla="*/ 7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6" h="73">
                  <a:moveTo>
                    <a:pt x="216" y="70"/>
                  </a:moveTo>
                  <a:cubicBezTo>
                    <a:pt x="149" y="39"/>
                    <a:pt x="77" y="15"/>
                    <a:pt x="0" y="0"/>
                  </a:cubicBezTo>
                  <a:cubicBezTo>
                    <a:pt x="2" y="0"/>
                    <a:pt x="3" y="1"/>
                    <a:pt x="4" y="2"/>
                  </a:cubicBezTo>
                  <a:cubicBezTo>
                    <a:pt x="58" y="21"/>
                    <a:pt x="108" y="46"/>
                    <a:pt x="155" y="73"/>
                  </a:cubicBezTo>
                  <a:cubicBezTo>
                    <a:pt x="175" y="71"/>
                    <a:pt x="195" y="70"/>
                    <a:pt x="216" y="70"/>
                  </a:cubicBezTo>
                  <a:close/>
                </a:path>
              </a:pathLst>
            </a:custGeom>
            <a:solidFill>
              <a:schemeClr val="accent5">
                <a:alpha val="7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4262438" y="836875"/>
              <a:ext cx="3222625" cy="1439863"/>
            </a:xfrm>
            <a:custGeom>
              <a:avLst/>
              <a:gdLst>
                <a:gd name="T0" fmla="*/ 295 w 338"/>
                <a:gd name="T1" fmla="*/ 71 h 151"/>
                <a:gd name="T2" fmla="*/ 144 w 338"/>
                <a:gd name="T3" fmla="*/ 0 h 151"/>
                <a:gd name="T4" fmla="*/ 207 w 338"/>
                <a:gd name="T5" fmla="*/ 50 h 151"/>
                <a:gd name="T6" fmla="*/ 207 w 338"/>
                <a:gd name="T7" fmla="*/ 50 h 151"/>
                <a:gd name="T8" fmla="*/ 240 w 338"/>
                <a:gd name="T9" fmla="*/ 78 h 151"/>
                <a:gd name="T10" fmla="*/ 0 w 338"/>
                <a:gd name="T11" fmla="*/ 151 h 151"/>
                <a:gd name="T12" fmla="*/ 262 w 338"/>
                <a:gd name="T13" fmla="*/ 98 h 151"/>
                <a:gd name="T14" fmla="*/ 338 w 338"/>
                <a:gd name="T15" fmla="*/ 98 h 151"/>
                <a:gd name="T16" fmla="*/ 295 w 338"/>
                <a:gd name="T17" fmla="*/ 7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8" h="151">
                  <a:moveTo>
                    <a:pt x="295" y="71"/>
                  </a:moveTo>
                  <a:cubicBezTo>
                    <a:pt x="248" y="44"/>
                    <a:pt x="198" y="19"/>
                    <a:pt x="144" y="0"/>
                  </a:cubicBezTo>
                  <a:cubicBezTo>
                    <a:pt x="166" y="16"/>
                    <a:pt x="187" y="32"/>
                    <a:pt x="207" y="50"/>
                  </a:cubicBezTo>
                  <a:cubicBezTo>
                    <a:pt x="207" y="50"/>
                    <a:pt x="207" y="50"/>
                    <a:pt x="207" y="50"/>
                  </a:cubicBezTo>
                  <a:cubicBezTo>
                    <a:pt x="218" y="59"/>
                    <a:pt x="229" y="68"/>
                    <a:pt x="240" y="78"/>
                  </a:cubicBezTo>
                  <a:cubicBezTo>
                    <a:pt x="155" y="91"/>
                    <a:pt x="74" y="116"/>
                    <a:pt x="0" y="151"/>
                  </a:cubicBezTo>
                  <a:cubicBezTo>
                    <a:pt x="82" y="121"/>
                    <a:pt x="171" y="103"/>
                    <a:pt x="262" y="98"/>
                  </a:cubicBezTo>
                  <a:cubicBezTo>
                    <a:pt x="287" y="97"/>
                    <a:pt x="313" y="97"/>
                    <a:pt x="338" y="98"/>
                  </a:cubicBezTo>
                  <a:cubicBezTo>
                    <a:pt x="324" y="89"/>
                    <a:pt x="310" y="80"/>
                    <a:pt x="295" y="71"/>
                  </a:cubicBezTo>
                </a:path>
              </a:pathLst>
            </a:custGeom>
            <a:solidFill>
              <a:schemeClr val="accent1">
                <a:alpha val="7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6" name="Freeform 7"/>
            <p:cNvSpPr>
              <a:spLocks/>
            </p:cNvSpPr>
            <p:nvPr userDrawn="1"/>
          </p:nvSpPr>
          <p:spPr bwMode="auto">
            <a:xfrm>
              <a:off x="4214813" y="1325563"/>
              <a:ext cx="2335213" cy="982663"/>
            </a:xfrm>
            <a:custGeom>
              <a:avLst/>
              <a:gdLst>
                <a:gd name="T0" fmla="*/ 212 w 245"/>
                <a:gd name="T1" fmla="*/ 0 h 103"/>
                <a:gd name="T2" fmla="*/ 0 w 245"/>
                <a:gd name="T3" fmla="*/ 103 h 103"/>
                <a:gd name="T4" fmla="*/ 6 w 245"/>
                <a:gd name="T5" fmla="*/ 101 h 103"/>
                <a:gd name="T6" fmla="*/ 245 w 245"/>
                <a:gd name="T7" fmla="*/ 28 h 103"/>
                <a:gd name="T8" fmla="*/ 212 w 245"/>
                <a:gd name="T9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5" h="103">
                  <a:moveTo>
                    <a:pt x="212" y="0"/>
                  </a:moveTo>
                  <a:cubicBezTo>
                    <a:pt x="135" y="25"/>
                    <a:pt x="63" y="60"/>
                    <a:pt x="0" y="103"/>
                  </a:cubicBezTo>
                  <a:cubicBezTo>
                    <a:pt x="2" y="102"/>
                    <a:pt x="4" y="101"/>
                    <a:pt x="6" y="101"/>
                  </a:cubicBezTo>
                  <a:cubicBezTo>
                    <a:pt x="79" y="66"/>
                    <a:pt x="160" y="41"/>
                    <a:pt x="245" y="28"/>
                  </a:cubicBezTo>
                  <a:cubicBezTo>
                    <a:pt x="235" y="18"/>
                    <a:pt x="224" y="9"/>
                    <a:pt x="212" y="0"/>
                  </a:cubicBezTo>
                </a:path>
              </a:pathLst>
            </a:custGeom>
            <a:solidFill>
              <a:schemeClr val="accent6">
                <a:alpha val="7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8" name="Freeform 10"/>
            <p:cNvSpPr>
              <a:spLocks/>
            </p:cNvSpPr>
            <p:nvPr userDrawn="1"/>
          </p:nvSpPr>
          <p:spPr bwMode="auto">
            <a:xfrm>
              <a:off x="7061463" y="1484575"/>
              <a:ext cx="1296987" cy="373063"/>
            </a:xfrm>
            <a:custGeom>
              <a:avLst/>
              <a:gdLst>
                <a:gd name="T0" fmla="*/ 61 w 136"/>
                <a:gd name="T1" fmla="*/ 0 h 39"/>
                <a:gd name="T2" fmla="*/ 0 w 136"/>
                <a:gd name="T3" fmla="*/ 3 h 39"/>
                <a:gd name="T4" fmla="*/ 43 w 136"/>
                <a:gd name="T5" fmla="*/ 30 h 39"/>
                <a:gd name="T6" fmla="*/ 136 w 136"/>
                <a:gd name="T7" fmla="*/ 39 h 39"/>
                <a:gd name="T8" fmla="*/ 61 w 136"/>
                <a:gd name="T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6" h="39">
                  <a:moveTo>
                    <a:pt x="61" y="0"/>
                  </a:moveTo>
                  <a:cubicBezTo>
                    <a:pt x="40" y="0"/>
                    <a:pt x="20" y="1"/>
                    <a:pt x="0" y="3"/>
                  </a:cubicBezTo>
                  <a:cubicBezTo>
                    <a:pt x="15" y="12"/>
                    <a:pt x="29" y="21"/>
                    <a:pt x="43" y="30"/>
                  </a:cubicBezTo>
                  <a:cubicBezTo>
                    <a:pt x="74" y="32"/>
                    <a:pt x="105" y="35"/>
                    <a:pt x="136" y="39"/>
                  </a:cubicBezTo>
                  <a:cubicBezTo>
                    <a:pt x="112" y="25"/>
                    <a:pt x="87" y="12"/>
                    <a:pt x="61" y="0"/>
                  </a:cubicBezTo>
                  <a:close/>
                </a:path>
              </a:pathLst>
            </a:custGeom>
            <a:solidFill>
              <a:schemeClr val="accent6">
                <a:alpha val="7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21" name="Group 20"/>
          <p:cNvGrpSpPr/>
          <p:nvPr userDrawn="1"/>
        </p:nvGrpSpPr>
        <p:grpSpPr>
          <a:xfrm>
            <a:off x="4803775" y="2108200"/>
            <a:ext cx="7397751" cy="4749801"/>
            <a:chOff x="4803775" y="2108200"/>
            <a:chExt cx="7397751" cy="4749801"/>
          </a:xfrm>
        </p:grpSpPr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8912225" y="2108200"/>
              <a:ext cx="3289300" cy="1430338"/>
            </a:xfrm>
            <a:custGeom>
              <a:avLst/>
              <a:gdLst>
                <a:gd name="T0" fmla="*/ 345 w 345"/>
                <a:gd name="T1" fmla="*/ 87 h 150"/>
                <a:gd name="T2" fmla="*/ 0 w 345"/>
                <a:gd name="T3" fmla="*/ 0 h 150"/>
                <a:gd name="T4" fmla="*/ 11 w 345"/>
                <a:gd name="T5" fmla="*/ 7 h 150"/>
                <a:gd name="T6" fmla="*/ 345 w 345"/>
                <a:gd name="T7" fmla="*/ 150 h 150"/>
                <a:gd name="T8" fmla="*/ 345 w 345"/>
                <a:gd name="T9" fmla="*/ 87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5" h="150">
                  <a:moveTo>
                    <a:pt x="345" y="87"/>
                  </a:moveTo>
                  <a:cubicBezTo>
                    <a:pt x="233" y="52"/>
                    <a:pt x="117" y="23"/>
                    <a:pt x="0" y="0"/>
                  </a:cubicBezTo>
                  <a:cubicBezTo>
                    <a:pt x="3" y="2"/>
                    <a:pt x="7" y="5"/>
                    <a:pt x="11" y="7"/>
                  </a:cubicBezTo>
                  <a:cubicBezTo>
                    <a:pt x="127" y="50"/>
                    <a:pt x="238" y="98"/>
                    <a:pt x="345" y="150"/>
                  </a:cubicBezTo>
                  <a:lnTo>
                    <a:pt x="345" y="87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9017000" y="2174875"/>
              <a:ext cx="3184525" cy="2574925"/>
            </a:xfrm>
            <a:custGeom>
              <a:avLst/>
              <a:gdLst>
                <a:gd name="T0" fmla="*/ 228 w 334"/>
                <a:gd name="T1" fmla="*/ 180 h 270"/>
                <a:gd name="T2" fmla="*/ 334 w 334"/>
                <a:gd name="T3" fmla="*/ 270 h 270"/>
                <a:gd name="T4" fmla="*/ 334 w 334"/>
                <a:gd name="T5" fmla="*/ 143 h 270"/>
                <a:gd name="T6" fmla="*/ 0 w 334"/>
                <a:gd name="T7" fmla="*/ 0 h 270"/>
                <a:gd name="T8" fmla="*/ 229 w 334"/>
                <a:gd name="T9" fmla="*/ 179 h 270"/>
                <a:gd name="T10" fmla="*/ 228 w 334"/>
                <a:gd name="T11" fmla="*/ 18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4" h="270">
                  <a:moveTo>
                    <a:pt x="228" y="180"/>
                  </a:moveTo>
                  <a:cubicBezTo>
                    <a:pt x="264" y="209"/>
                    <a:pt x="300" y="240"/>
                    <a:pt x="334" y="270"/>
                  </a:cubicBezTo>
                  <a:cubicBezTo>
                    <a:pt x="334" y="143"/>
                    <a:pt x="334" y="143"/>
                    <a:pt x="334" y="143"/>
                  </a:cubicBezTo>
                  <a:cubicBezTo>
                    <a:pt x="227" y="91"/>
                    <a:pt x="116" y="43"/>
                    <a:pt x="0" y="0"/>
                  </a:cubicBezTo>
                  <a:cubicBezTo>
                    <a:pt x="81" y="57"/>
                    <a:pt x="156" y="117"/>
                    <a:pt x="229" y="179"/>
                  </a:cubicBezTo>
                  <a:cubicBezTo>
                    <a:pt x="228" y="180"/>
                    <a:pt x="228" y="180"/>
                    <a:pt x="228" y="18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4803775" y="3890963"/>
              <a:ext cx="7397750" cy="2967038"/>
            </a:xfrm>
            <a:custGeom>
              <a:avLst/>
              <a:gdLst>
                <a:gd name="T0" fmla="*/ 776 w 776"/>
                <a:gd name="T1" fmla="*/ 89 h 311"/>
                <a:gd name="T2" fmla="*/ 671 w 776"/>
                <a:gd name="T3" fmla="*/ 0 h 311"/>
                <a:gd name="T4" fmla="*/ 0 w 776"/>
                <a:gd name="T5" fmla="*/ 311 h 311"/>
                <a:gd name="T6" fmla="*/ 43 w 776"/>
                <a:gd name="T7" fmla="*/ 311 h 311"/>
                <a:gd name="T8" fmla="*/ 776 w 776"/>
                <a:gd name="T9" fmla="*/ 103 h 311"/>
                <a:gd name="T10" fmla="*/ 776 w 776"/>
                <a:gd name="T11" fmla="*/ 89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76" h="311">
                  <a:moveTo>
                    <a:pt x="776" y="89"/>
                  </a:moveTo>
                  <a:cubicBezTo>
                    <a:pt x="742" y="59"/>
                    <a:pt x="707" y="29"/>
                    <a:pt x="671" y="0"/>
                  </a:cubicBezTo>
                  <a:cubicBezTo>
                    <a:pt x="428" y="79"/>
                    <a:pt x="203" y="185"/>
                    <a:pt x="0" y="311"/>
                  </a:cubicBezTo>
                  <a:cubicBezTo>
                    <a:pt x="43" y="311"/>
                    <a:pt x="43" y="311"/>
                    <a:pt x="43" y="311"/>
                  </a:cubicBezTo>
                  <a:cubicBezTo>
                    <a:pt x="272" y="214"/>
                    <a:pt x="518" y="143"/>
                    <a:pt x="776" y="103"/>
                  </a:cubicBezTo>
                  <a:lnTo>
                    <a:pt x="776" y="89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5205413" y="4873625"/>
              <a:ext cx="6996113" cy="1984375"/>
            </a:xfrm>
            <a:custGeom>
              <a:avLst/>
              <a:gdLst>
                <a:gd name="T0" fmla="*/ 37 w 734"/>
                <a:gd name="T1" fmla="*/ 208 h 208"/>
                <a:gd name="T2" fmla="*/ 734 w 734"/>
                <a:gd name="T3" fmla="*/ 77 h 208"/>
                <a:gd name="T4" fmla="*/ 734 w 734"/>
                <a:gd name="T5" fmla="*/ 0 h 208"/>
                <a:gd name="T6" fmla="*/ 0 w 734"/>
                <a:gd name="T7" fmla="*/ 208 h 208"/>
                <a:gd name="T8" fmla="*/ 37 w 734"/>
                <a:gd name="T9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4" h="208">
                  <a:moveTo>
                    <a:pt x="37" y="208"/>
                  </a:moveTo>
                  <a:cubicBezTo>
                    <a:pt x="260" y="139"/>
                    <a:pt x="494" y="94"/>
                    <a:pt x="734" y="77"/>
                  </a:cubicBezTo>
                  <a:cubicBezTo>
                    <a:pt x="734" y="0"/>
                    <a:pt x="734" y="0"/>
                    <a:pt x="734" y="0"/>
                  </a:cubicBezTo>
                  <a:cubicBezTo>
                    <a:pt x="476" y="40"/>
                    <a:pt x="229" y="111"/>
                    <a:pt x="0" y="208"/>
                  </a:cubicBezTo>
                  <a:lnTo>
                    <a:pt x="37" y="208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</p:spTree>
    <p:extLst>
      <p:ext uri="{BB962C8B-B14F-4D97-AF65-F5344CB8AC3E}">
        <p14:creationId xmlns:p14="http://schemas.microsoft.com/office/powerpoint/2010/main" val="867043872"/>
      </p:ext>
    </p:extLst>
  </p:cSld>
  <p:clrMapOvr>
    <a:masterClrMapping/>
  </p:clrMapOvr>
  <p:hf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6"/>
          <p:cNvSpPr>
            <a:spLocks noChangeArrowheads="1"/>
          </p:cNvSpPr>
          <p:nvPr userDrawn="1"/>
        </p:nvSpPr>
        <p:spPr bwMode="auto">
          <a:xfrm>
            <a:off x="0" y="-9525"/>
            <a:ext cx="12201525" cy="686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4803775" y="2108200"/>
            <a:ext cx="7397751" cy="4749801"/>
            <a:chOff x="4803775" y="2108200"/>
            <a:chExt cx="7397751" cy="4749801"/>
          </a:xfrm>
        </p:grpSpPr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8912225" y="2108200"/>
              <a:ext cx="3289300" cy="1430338"/>
            </a:xfrm>
            <a:custGeom>
              <a:avLst/>
              <a:gdLst>
                <a:gd name="T0" fmla="*/ 345 w 345"/>
                <a:gd name="T1" fmla="*/ 87 h 150"/>
                <a:gd name="T2" fmla="*/ 0 w 345"/>
                <a:gd name="T3" fmla="*/ 0 h 150"/>
                <a:gd name="T4" fmla="*/ 11 w 345"/>
                <a:gd name="T5" fmla="*/ 7 h 150"/>
                <a:gd name="T6" fmla="*/ 345 w 345"/>
                <a:gd name="T7" fmla="*/ 150 h 150"/>
                <a:gd name="T8" fmla="*/ 345 w 345"/>
                <a:gd name="T9" fmla="*/ 87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5" h="150">
                  <a:moveTo>
                    <a:pt x="345" y="87"/>
                  </a:moveTo>
                  <a:cubicBezTo>
                    <a:pt x="233" y="52"/>
                    <a:pt x="117" y="23"/>
                    <a:pt x="0" y="0"/>
                  </a:cubicBezTo>
                  <a:cubicBezTo>
                    <a:pt x="3" y="2"/>
                    <a:pt x="7" y="5"/>
                    <a:pt x="11" y="7"/>
                  </a:cubicBezTo>
                  <a:cubicBezTo>
                    <a:pt x="127" y="50"/>
                    <a:pt x="238" y="98"/>
                    <a:pt x="345" y="150"/>
                  </a:cubicBezTo>
                  <a:lnTo>
                    <a:pt x="345" y="87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9017000" y="2174875"/>
              <a:ext cx="3184525" cy="2574925"/>
            </a:xfrm>
            <a:custGeom>
              <a:avLst/>
              <a:gdLst>
                <a:gd name="T0" fmla="*/ 228 w 334"/>
                <a:gd name="T1" fmla="*/ 180 h 270"/>
                <a:gd name="T2" fmla="*/ 334 w 334"/>
                <a:gd name="T3" fmla="*/ 270 h 270"/>
                <a:gd name="T4" fmla="*/ 334 w 334"/>
                <a:gd name="T5" fmla="*/ 143 h 270"/>
                <a:gd name="T6" fmla="*/ 0 w 334"/>
                <a:gd name="T7" fmla="*/ 0 h 270"/>
                <a:gd name="T8" fmla="*/ 229 w 334"/>
                <a:gd name="T9" fmla="*/ 179 h 270"/>
                <a:gd name="T10" fmla="*/ 228 w 334"/>
                <a:gd name="T11" fmla="*/ 18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4" h="270">
                  <a:moveTo>
                    <a:pt x="228" y="180"/>
                  </a:moveTo>
                  <a:cubicBezTo>
                    <a:pt x="264" y="209"/>
                    <a:pt x="300" y="240"/>
                    <a:pt x="334" y="270"/>
                  </a:cubicBezTo>
                  <a:cubicBezTo>
                    <a:pt x="334" y="143"/>
                    <a:pt x="334" y="143"/>
                    <a:pt x="334" y="143"/>
                  </a:cubicBezTo>
                  <a:cubicBezTo>
                    <a:pt x="227" y="91"/>
                    <a:pt x="116" y="43"/>
                    <a:pt x="0" y="0"/>
                  </a:cubicBezTo>
                  <a:cubicBezTo>
                    <a:pt x="81" y="57"/>
                    <a:pt x="156" y="117"/>
                    <a:pt x="229" y="179"/>
                  </a:cubicBezTo>
                  <a:cubicBezTo>
                    <a:pt x="228" y="180"/>
                    <a:pt x="228" y="180"/>
                    <a:pt x="228" y="18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4803775" y="3890963"/>
              <a:ext cx="7397750" cy="2967038"/>
            </a:xfrm>
            <a:custGeom>
              <a:avLst/>
              <a:gdLst>
                <a:gd name="T0" fmla="*/ 776 w 776"/>
                <a:gd name="T1" fmla="*/ 89 h 311"/>
                <a:gd name="T2" fmla="*/ 671 w 776"/>
                <a:gd name="T3" fmla="*/ 0 h 311"/>
                <a:gd name="T4" fmla="*/ 0 w 776"/>
                <a:gd name="T5" fmla="*/ 311 h 311"/>
                <a:gd name="T6" fmla="*/ 43 w 776"/>
                <a:gd name="T7" fmla="*/ 311 h 311"/>
                <a:gd name="T8" fmla="*/ 776 w 776"/>
                <a:gd name="T9" fmla="*/ 103 h 311"/>
                <a:gd name="T10" fmla="*/ 776 w 776"/>
                <a:gd name="T11" fmla="*/ 89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76" h="311">
                  <a:moveTo>
                    <a:pt x="776" y="89"/>
                  </a:moveTo>
                  <a:cubicBezTo>
                    <a:pt x="742" y="59"/>
                    <a:pt x="707" y="29"/>
                    <a:pt x="671" y="0"/>
                  </a:cubicBezTo>
                  <a:cubicBezTo>
                    <a:pt x="428" y="79"/>
                    <a:pt x="203" y="185"/>
                    <a:pt x="0" y="311"/>
                  </a:cubicBezTo>
                  <a:cubicBezTo>
                    <a:pt x="43" y="311"/>
                    <a:pt x="43" y="311"/>
                    <a:pt x="43" y="311"/>
                  </a:cubicBezTo>
                  <a:cubicBezTo>
                    <a:pt x="272" y="214"/>
                    <a:pt x="518" y="143"/>
                    <a:pt x="776" y="103"/>
                  </a:cubicBezTo>
                  <a:lnTo>
                    <a:pt x="776" y="89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5205413" y="4873625"/>
              <a:ext cx="6996113" cy="1984375"/>
            </a:xfrm>
            <a:custGeom>
              <a:avLst/>
              <a:gdLst>
                <a:gd name="T0" fmla="*/ 37 w 734"/>
                <a:gd name="T1" fmla="*/ 208 h 208"/>
                <a:gd name="T2" fmla="*/ 734 w 734"/>
                <a:gd name="T3" fmla="*/ 77 h 208"/>
                <a:gd name="T4" fmla="*/ 734 w 734"/>
                <a:gd name="T5" fmla="*/ 0 h 208"/>
                <a:gd name="T6" fmla="*/ 0 w 734"/>
                <a:gd name="T7" fmla="*/ 208 h 208"/>
                <a:gd name="T8" fmla="*/ 37 w 734"/>
                <a:gd name="T9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4" h="208">
                  <a:moveTo>
                    <a:pt x="37" y="208"/>
                  </a:moveTo>
                  <a:cubicBezTo>
                    <a:pt x="260" y="139"/>
                    <a:pt x="494" y="94"/>
                    <a:pt x="734" y="77"/>
                  </a:cubicBezTo>
                  <a:cubicBezTo>
                    <a:pt x="734" y="0"/>
                    <a:pt x="734" y="0"/>
                    <a:pt x="734" y="0"/>
                  </a:cubicBezTo>
                  <a:cubicBezTo>
                    <a:pt x="476" y="40"/>
                    <a:pt x="229" y="111"/>
                    <a:pt x="0" y="208"/>
                  </a:cubicBezTo>
                  <a:lnTo>
                    <a:pt x="37" y="208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</p:spTree>
    <p:extLst>
      <p:ext uri="{BB962C8B-B14F-4D97-AF65-F5344CB8AC3E}">
        <p14:creationId xmlns:p14="http://schemas.microsoft.com/office/powerpoint/2010/main" val="3450867019"/>
      </p:ext>
    </p:extLst>
  </p:cSld>
  <p:clrMapOvr>
    <a:masterClrMapping/>
  </p:clrMapOvr>
  <p:hf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8955182"/>
      </p:ext>
    </p:extLst>
  </p:cSld>
  <p:clrMapOvr>
    <a:masterClrMapping/>
  </p:clrMapOvr>
  <p:hf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694717"/>
      </p:ext>
    </p:extLst>
  </p:cSld>
  <p:clrMapOvr>
    <a:masterClrMapping/>
  </p:clrMapOvr>
  <p:hf hdr="0" ft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0045169"/>
      </p:ext>
    </p:extLst>
  </p:cSld>
  <p:clrMapOvr>
    <a:masterClrMapping/>
  </p:clrMapOvr>
  <p:hf hdr="0" ft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018447"/>
      </p:ext>
    </p:extLst>
  </p:cSld>
  <p:clrMapOvr>
    <a:masterClrMapping/>
  </p:clrMapOvr>
  <p:hf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 Slide" preserve="1">
  <p:cSld name="Thank You Slide">
    <p:bg>
      <p:bgPr>
        <a:gradFill>
          <a:gsLst>
            <a:gs pos="0">
              <a:schemeClr val="bg2"/>
            </a:gs>
            <a:gs pos="100000">
              <a:schemeClr val="bg2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4718" y="452967"/>
            <a:ext cx="8494645" cy="346249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cxnSp>
        <p:nvCxnSpPr>
          <p:cNvPr id="16" name="Straight Connector 15"/>
          <p:cNvCxnSpPr/>
          <p:nvPr userDrawn="1"/>
        </p:nvCxnSpPr>
        <p:spPr bwMode="gray">
          <a:xfrm>
            <a:off x="0" y="6191309"/>
            <a:ext cx="12192000" cy="0"/>
          </a:xfrm>
          <a:prstGeom prst="line">
            <a:avLst/>
          </a:prstGeom>
          <a:ln w="127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hhider"/>
          <p:cNvSpPr/>
          <p:nvPr userDrawn="1">
            <p:custDataLst>
              <p:tags r:id="rId1"/>
            </p:custDataLst>
          </p:nvPr>
        </p:nvSpPr>
        <p:spPr>
          <a:xfrm>
            <a:off x="821" y="6191309"/>
            <a:ext cx="12191180" cy="666691"/>
          </a:xfrm>
          <a:prstGeom prst="rect">
            <a:avLst/>
          </a:prstGeom>
          <a:solidFill>
            <a:srgbClr val="FFFFF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200" dirty="0">
              <a:solidFill>
                <a:srgbClr val="FFFFFF"/>
              </a:solidFill>
            </a:endParaRP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FCF53EAD-04D1-4EB3-8F77-13DD055D4C07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  <p:pic>
        <p:nvPicPr>
          <p:cNvPr id="8" name="Content Placeholder 7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4717" y="6309007"/>
            <a:ext cx="710464" cy="440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1093314"/>
      </p:ext>
    </p:extLst>
  </p:cSld>
  <p:clrMapOvr>
    <a:masterClrMapping/>
  </p:clrMapOvr>
  <p:hf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1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334434" y="1284288"/>
            <a:ext cx="11523133" cy="914400"/>
          </a:xfrm>
        </p:spPr>
        <p:txBody>
          <a:bodyPr lIns="0" rIns="0" anchor="ctr">
            <a:noAutofit/>
          </a:bodyPr>
          <a:lstStyle>
            <a:lvl1pPr marL="0" indent="0">
              <a:buNone/>
              <a:defRPr sz="3733" b="1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334434" y="2305223"/>
            <a:ext cx="11523133" cy="914400"/>
          </a:xfrm>
        </p:spPr>
        <p:txBody>
          <a:bodyPr lIns="0" rIns="0">
            <a:noAutofit/>
          </a:bodyPr>
          <a:lstStyle>
            <a:lvl1pPr marL="0" indent="0">
              <a:buNone/>
              <a:defRPr sz="2667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3439528" y="2997793"/>
            <a:ext cx="8752472" cy="3884084"/>
          </a:xfrm>
          <a:custGeom>
            <a:avLst/>
            <a:gdLst>
              <a:gd name="connsiteX0" fmla="*/ 6564354 w 6564354"/>
              <a:gd name="connsiteY0" fmla="*/ 0 h 2913063"/>
              <a:gd name="connsiteX1" fmla="*/ 6564354 w 6564354"/>
              <a:gd name="connsiteY1" fmla="*/ 1240190 h 2913063"/>
              <a:gd name="connsiteX2" fmla="*/ 662256 w 6564354"/>
              <a:gd name="connsiteY2" fmla="*/ 2882854 h 2913063"/>
              <a:gd name="connsiteX3" fmla="*/ 589330 w 6564354"/>
              <a:gd name="connsiteY3" fmla="*/ 2913063 h 2913063"/>
              <a:gd name="connsiteX4" fmla="*/ 0 w 6564354"/>
              <a:gd name="connsiteY4" fmla="*/ 2913063 h 2913063"/>
              <a:gd name="connsiteX5" fmla="*/ 323355 w 6564354"/>
              <a:gd name="connsiteY5" fmla="*/ 2720335 h 2913063"/>
              <a:gd name="connsiteX6" fmla="*/ 6564354 w 6564354"/>
              <a:gd name="connsiteY6" fmla="*/ 0 h 29130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64354" h="2913063">
                <a:moveTo>
                  <a:pt x="6564354" y="0"/>
                </a:moveTo>
                <a:lnTo>
                  <a:pt x="6564354" y="1240190"/>
                </a:lnTo>
                <a:cubicBezTo>
                  <a:pt x="3910384" y="1646031"/>
                  <a:pt x="2731793" y="2031305"/>
                  <a:pt x="662256" y="2882854"/>
                </a:cubicBezTo>
                <a:lnTo>
                  <a:pt x="589330" y="2913063"/>
                </a:lnTo>
                <a:lnTo>
                  <a:pt x="0" y="2913063"/>
                </a:lnTo>
                <a:lnTo>
                  <a:pt x="323355" y="2720335"/>
                </a:lnTo>
                <a:cubicBezTo>
                  <a:pt x="3116317" y="1062246"/>
                  <a:pt x="4436791" y="394872"/>
                  <a:pt x="6564354" y="0"/>
                </a:cubicBezTo>
                <a:close/>
              </a:path>
            </a:pathLst>
          </a:custGeom>
          <a:solidFill>
            <a:srgbClr val="ED174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sz="3200" dirty="0"/>
          </a:p>
        </p:txBody>
      </p:sp>
      <p:sp>
        <p:nvSpPr>
          <p:cNvPr id="16" name="Freeform 16"/>
          <p:cNvSpPr>
            <a:spLocks/>
          </p:cNvSpPr>
          <p:nvPr userDrawn="1"/>
        </p:nvSpPr>
        <p:spPr bwMode="auto">
          <a:xfrm>
            <a:off x="5143501" y="4650910"/>
            <a:ext cx="7048500" cy="2230967"/>
          </a:xfrm>
          <a:custGeom>
            <a:avLst/>
            <a:gdLst>
              <a:gd name="T0" fmla="*/ 0 w 904"/>
              <a:gd name="T1" fmla="*/ 284 h 286"/>
              <a:gd name="T2" fmla="*/ 904 w 904"/>
              <a:gd name="T3" fmla="*/ 0 h 286"/>
              <a:gd name="T4" fmla="*/ 904 w 904"/>
              <a:gd name="T5" fmla="*/ 7 h 286"/>
              <a:gd name="T6" fmla="*/ 319 w 904"/>
              <a:gd name="T7" fmla="*/ 286 h 286"/>
              <a:gd name="T8" fmla="*/ 0 w 904"/>
              <a:gd name="T9" fmla="*/ 284 h 2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04" h="286">
                <a:moveTo>
                  <a:pt x="0" y="284"/>
                </a:moveTo>
                <a:cubicBezTo>
                  <a:pt x="281" y="153"/>
                  <a:pt x="584" y="57"/>
                  <a:pt x="904" y="0"/>
                </a:cubicBezTo>
                <a:cubicBezTo>
                  <a:pt x="904" y="13"/>
                  <a:pt x="904" y="4"/>
                  <a:pt x="904" y="7"/>
                </a:cubicBezTo>
                <a:cubicBezTo>
                  <a:pt x="677" y="89"/>
                  <a:pt x="516" y="169"/>
                  <a:pt x="319" y="286"/>
                </a:cubicBezTo>
                <a:cubicBezTo>
                  <a:pt x="232" y="286"/>
                  <a:pt x="86" y="286"/>
                  <a:pt x="0" y="284"/>
                </a:cubicBezTo>
              </a:path>
            </a:pathLst>
          </a:custGeom>
          <a:solidFill>
            <a:srgbClr val="00BACE">
              <a:alpha val="5000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GB" sz="3200" dirty="0"/>
          </a:p>
        </p:txBody>
      </p:sp>
      <p:grpSp>
        <p:nvGrpSpPr>
          <p:cNvPr id="26" name="Group 23"/>
          <p:cNvGrpSpPr>
            <a:grpSpLocks noChangeAspect="1"/>
          </p:cNvGrpSpPr>
          <p:nvPr userDrawn="1"/>
        </p:nvGrpSpPr>
        <p:grpSpPr bwMode="auto">
          <a:xfrm>
            <a:off x="440695" y="5754348"/>
            <a:ext cx="1326460" cy="856121"/>
            <a:chOff x="370" y="0"/>
            <a:chExt cx="5020" cy="3240"/>
          </a:xfrm>
        </p:grpSpPr>
        <p:sp>
          <p:nvSpPr>
            <p:cNvPr id="29" name="Freeform 25"/>
            <p:cNvSpPr>
              <a:spLocks/>
            </p:cNvSpPr>
            <p:nvPr userDrawn="1"/>
          </p:nvSpPr>
          <p:spPr bwMode="auto">
            <a:xfrm>
              <a:off x="2373" y="0"/>
              <a:ext cx="1445" cy="495"/>
            </a:xfrm>
            <a:custGeom>
              <a:avLst/>
              <a:gdLst>
                <a:gd name="T0" fmla="*/ 248 w 248"/>
                <a:gd name="T1" fmla="*/ 81 h 85"/>
                <a:gd name="T2" fmla="*/ 0 w 248"/>
                <a:gd name="T3" fmla="*/ 0 h 85"/>
                <a:gd name="T4" fmla="*/ 3 w 248"/>
                <a:gd name="T5" fmla="*/ 3 h 85"/>
                <a:gd name="T6" fmla="*/ 178 w 248"/>
                <a:gd name="T7" fmla="*/ 85 h 85"/>
                <a:gd name="T8" fmla="*/ 248 w 248"/>
                <a:gd name="T9" fmla="*/ 81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8" h="85">
                  <a:moveTo>
                    <a:pt x="248" y="81"/>
                  </a:moveTo>
                  <a:cubicBezTo>
                    <a:pt x="171" y="45"/>
                    <a:pt x="87" y="18"/>
                    <a:pt x="0" y="0"/>
                  </a:cubicBezTo>
                  <a:cubicBezTo>
                    <a:pt x="1" y="1"/>
                    <a:pt x="2" y="2"/>
                    <a:pt x="3" y="3"/>
                  </a:cubicBezTo>
                  <a:cubicBezTo>
                    <a:pt x="66" y="26"/>
                    <a:pt x="124" y="53"/>
                    <a:pt x="178" y="85"/>
                  </a:cubicBezTo>
                  <a:cubicBezTo>
                    <a:pt x="201" y="83"/>
                    <a:pt x="225" y="82"/>
                    <a:pt x="248" y="81"/>
                  </a:cubicBezTo>
                </a:path>
              </a:pathLst>
            </a:custGeom>
            <a:solidFill>
              <a:srgbClr val="01B8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1" name="Freeform 27"/>
            <p:cNvSpPr>
              <a:spLocks/>
            </p:cNvSpPr>
            <p:nvPr userDrawn="1"/>
          </p:nvSpPr>
          <p:spPr bwMode="auto">
            <a:xfrm>
              <a:off x="1430" y="18"/>
              <a:ext cx="2271" cy="1014"/>
            </a:xfrm>
            <a:custGeom>
              <a:avLst/>
              <a:gdLst>
                <a:gd name="T0" fmla="*/ 340 w 390"/>
                <a:gd name="T1" fmla="*/ 82 h 174"/>
                <a:gd name="T2" fmla="*/ 165 w 390"/>
                <a:gd name="T3" fmla="*/ 0 h 174"/>
                <a:gd name="T4" fmla="*/ 239 w 390"/>
                <a:gd name="T5" fmla="*/ 57 h 174"/>
                <a:gd name="T6" fmla="*/ 239 w 390"/>
                <a:gd name="T7" fmla="*/ 58 h 174"/>
                <a:gd name="T8" fmla="*/ 277 w 390"/>
                <a:gd name="T9" fmla="*/ 90 h 174"/>
                <a:gd name="T10" fmla="*/ 0 w 390"/>
                <a:gd name="T11" fmla="*/ 174 h 174"/>
                <a:gd name="T12" fmla="*/ 302 w 390"/>
                <a:gd name="T13" fmla="*/ 114 h 174"/>
                <a:gd name="T14" fmla="*/ 390 w 390"/>
                <a:gd name="T15" fmla="*/ 114 h 174"/>
                <a:gd name="T16" fmla="*/ 340 w 390"/>
                <a:gd name="T17" fmla="*/ 82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0" h="174">
                  <a:moveTo>
                    <a:pt x="340" y="82"/>
                  </a:moveTo>
                  <a:cubicBezTo>
                    <a:pt x="286" y="50"/>
                    <a:pt x="228" y="23"/>
                    <a:pt x="165" y="0"/>
                  </a:cubicBezTo>
                  <a:cubicBezTo>
                    <a:pt x="191" y="18"/>
                    <a:pt x="216" y="38"/>
                    <a:pt x="239" y="57"/>
                  </a:cubicBezTo>
                  <a:cubicBezTo>
                    <a:pt x="239" y="58"/>
                    <a:pt x="239" y="57"/>
                    <a:pt x="239" y="58"/>
                  </a:cubicBezTo>
                  <a:cubicBezTo>
                    <a:pt x="252" y="68"/>
                    <a:pt x="264" y="79"/>
                    <a:pt x="277" y="90"/>
                  </a:cubicBezTo>
                  <a:cubicBezTo>
                    <a:pt x="178" y="105"/>
                    <a:pt x="85" y="134"/>
                    <a:pt x="0" y="174"/>
                  </a:cubicBezTo>
                  <a:cubicBezTo>
                    <a:pt x="95" y="139"/>
                    <a:pt x="197" y="118"/>
                    <a:pt x="302" y="114"/>
                  </a:cubicBezTo>
                  <a:cubicBezTo>
                    <a:pt x="331" y="112"/>
                    <a:pt x="360" y="112"/>
                    <a:pt x="390" y="114"/>
                  </a:cubicBezTo>
                  <a:cubicBezTo>
                    <a:pt x="374" y="103"/>
                    <a:pt x="357" y="92"/>
                    <a:pt x="340" y="82"/>
                  </a:cubicBezTo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28" name="Freeform 24"/>
            <p:cNvSpPr>
              <a:spLocks/>
            </p:cNvSpPr>
            <p:nvPr userDrawn="1"/>
          </p:nvSpPr>
          <p:spPr bwMode="auto">
            <a:xfrm>
              <a:off x="1401" y="356"/>
              <a:ext cx="1642" cy="687"/>
            </a:xfrm>
            <a:custGeom>
              <a:avLst/>
              <a:gdLst>
                <a:gd name="T0" fmla="*/ 244 w 282"/>
                <a:gd name="T1" fmla="*/ 0 h 118"/>
                <a:gd name="T2" fmla="*/ 0 w 282"/>
                <a:gd name="T3" fmla="*/ 118 h 118"/>
                <a:gd name="T4" fmla="*/ 6 w 282"/>
                <a:gd name="T5" fmla="*/ 116 h 118"/>
                <a:gd name="T6" fmla="*/ 282 w 282"/>
                <a:gd name="T7" fmla="*/ 32 h 118"/>
                <a:gd name="T8" fmla="*/ 244 w 282"/>
                <a:gd name="T9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2" h="118">
                  <a:moveTo>
                    <a:pt x="244" y="0"/>
                  </a:moveTo>
                  <a:cubicBezTo>
                    <a:pt x="154" y="29"/>
                    <a:pt x="72" y="69"/>
                    <a:pt x="0" y="118"/>
                  </a:cubicBezTo>
                  <a:cubicBezTo>
                    <a:pt x="2" y="118"/>
                    <a:pt x="4" y="117"/>
                    <a:pt x="6" y="116"/>
                  </a:cubicBezTo>
                  <a:cubicBezTo>
                    <a:pt x="90" y="76"/>
                    <a:pt x="183" y="47"/>
                    <a:pt x="282" y="32"/>
                  </a:cubicBezTo>
                  <a:cubicBezTo>
                    <a:pt x="270" y="21"/>
                    <a:pt x="257" y="10"/>
                    <a:pt x="244" y="0"/>
                  </a:cubicBezTo>
                </a:path>
              </a:pathLst>
            </a:custGeom>
            <a:solidFill>
              <a:srgbClr val="CC20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0" name="Freeform 26"/>
            <p:cNvSpPr>
              <a:spLocks/>
            </p:cNvSpPr>
            <p:nvPr userDrawn="1"/>
          </p:nvSpPr>
          <p:spPr bwMode="auto">
            <a:xfrm>
              <a:off x="3410" y="472"/>
              <a:ext cx="914" cy="268"/>
            </a:xfrm>
            <a:custGeom>
              <a:avLst/>
              <a:gdLst>
                <a:gd name="T0" fmla="*/ 70 w 157"/>
                <a:gd name="T1" fmla="*/ 0 h 46"/>
                <a:gd name="T2" fmla="*/ 0 w 157"/>
                <a:gd name="T3" fmla="*/ 4 h 46"/>
                <a:gd name="T4" fmla="*/ 50 w 157"/>
                <a:gd name="T5" fmla="*/ 36 h 46"/>
                <a:gd name="T6" fmla="*/ 157 w 157"/>
                <a:gd name="T7" fmla="*/ 46 h 46"/>
                <a:gd name="T8" fmla="*/ 70 w 157"/>
                <a:gd name="T9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46">
                  <a:moveTo>
                    <a:pt x="70" y="0"/>
                  </a:moveTo>
                  <a:cubicBezTo>
                    <a:pt x="47" y="1"/>
                    <a:pt x="23" y="2"/>
                    <a:pt x="0" y="4"/>
                  </a:cubicBezTo>
                  <a:cubicBezTo>
                    <a:pt x="17" y="14"/>
                    <a:pt x="34" y="25"/>
                    <a:pt x="50" y="36"/>
                  </a:cubicBezTo>
                  <a:cubicBezTo>
                    <a:pt x="85" y="37"/>
                    <a:pt x="121" y="40"/>
                    <a:pt x="157" y="46"/>
                  </a:cubicBezTo>
                  <a:cubicBezTo>
                    <a:pt x="129" y="29"/>
                    <a:pt x="100" y="14"/>
                    <a:pt x="70" y="0"/>
                  </a:cubicBezTo>
                </a:path>
              </a:pathLst>
            </a:custGeom>
            <a:solidFill>
              <a:srgbClr val="CC20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2" name="Freeform 28"/>
            <p:cNvSpPr>
              <a:spLocks noEditPoints="1"/>
            </p:cNvSpPr>
            <p:nvPr userDrawn="1"/>
          </p:nvSpPr>
          <p:spPr bwMode="auto">
            <a:xfrm>
              <a:off x="370" y="1072"/>
              <a:ext cx="693" cy="1154"/>
            </a:xfrm>
            <a:custGeom>
              <a:avLst/>
              <a:gdLst>
                <a:gd name="T0" fmla="*/ 60 w 119"/>
                <a:gd name="T1" fmla="*/ 198 h 198"/>
                <a:gd name="T2" fmla="*/ 0 w 119"/>
                <a:gd name="T3" fmla="*/ 158 h 198"/>
                <a:gd name="T4" fmla="*/ 0 w 119"/>
                <a:gd name="T5" fmla="*/ 39 h 198"/>
                <a:gd name="T6" fmla="*/ 60 w 119"/>
                <a:gd name="T7" fmla="*/ 0 h 198"/>
                <a:gd name="T8" fmla="*/ 119 w 119"/>
                <a:gd name="T9" fmla="*/ 39 h 198"/>
                <a:gd name="T10" fmla="*/ 119 w 119"/>
                <a:gd name="T11" fmla="*/ 158 h 198"/>
                <a:gd name="T12" fmla="*/ 60 w 119"/>
                <a:gd name="T13" fmla="*/ 198 h 198"/>
                <a:gd name="T14" fmla="*/ 60 w 119"/>
                <a:gd name="T15" fmla="*/ 18 h 198"/>
                <a:gd name="T16" fmla="*/ 20 w 119"/>
                <a:gd name="T17" fmla="*/ 39 h 198"/>
                <a:gd name="T18" fmla="*/ 20 w 119"/>
                <a:gd name="T19" fmla="*/ 157 h 198"/>
                <a:gd name="T20" fmla="*/ 20 w 119"/>
                <a:gd name="T21" fmla="*/ 163 h 198"/>
                <a:gd name="T22" fmla="*/ 20 w 119"/>
                <a:gd name="T23" fmla="*/ 163 h 198"/>
                <a:gd name="T24" fmla="*/ 60 w 119"/>
                <a:gd name="T25" fmla="*/ 179 h 198"/>
                <a:gd name="T26" fmla="*/ 99 w 119"/>
                <a:gd name="T27" fmla="*/ 163 h 198"/>
                <a:gd name="T28" fmla="*/ 99 w 119"/>
                <a:gd name="T29" fmla="*/ 163 h 198"/>
                <a:gd name="T30" fmla="*/ 100 w 119"/>
                <a:gd name="T31" fmla="*/ 157 h 198"/>
                <a:gd name="T32" fmla="*/ 100 w 119"/>
                <a:gd name="T33" fmla="*/ 39 h 198"/>
                <a:gd name="T34" fmla="*/ 60 w 119"/>
                <a:gd name="T35" fmla="*/ 1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9" h="198">
                  <a:moveTo>
                    <a:pt x="60" y="198"/>
                  </a:moveTo>
                  <a:cubicBezTo>
                    <a:pt x="31" y="198"/>
                    <a:pt x="0" y="186"/>
                    <a:pt x="0" y="158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2"/>
                    <a:pt x="31" y="0"/>
                    <a:pt x="60" y="0"/>
                  </a:cubicBezTo>
                  <a:cubicBezTo>
                    <a:pt x="88" y="0"/>
                    <a:pt x="119" y="12"/>
                    <a:pt x="119" y="39"/>
                  </a:cubicBezTo>
                  <a:cubicBezTo>
                    <a:pt x="119" y="158"/>
                    <a:pt x="119" y="158"/>
                    <a:pt x="119" y="158"/>
                  </a:cubicBezTo>
                  <a:cubicBezTo>
                    <a:pt x="119" y="186"/>
                    <a:pt x="88" y="198"/>
                    <a:pt x="60" y="198"/>
                  </a:cubicBezTo>
                  <a:moveTo>
                    <a:pt x="60" y="18"/>
                  </a:moveTo>
                  <a:cubicBezTo>
                    <a:pt x="40" y="18"/>
                    <a:pt x="20" y="25"/>
                    <a:pt x="20" y="39"/>
                  </a:cubicBezTo>
                  <a:cubicBezTo>
                    <a:pt x="20" y="157"/>
                    <a:pt x="20" y="157"/>
                    <a:pt x="20" y="157"/>
                  </a:cubicBezTo>
                  <a:cubicBezTo>
                    <a:pt x="20" y="162"/>
                    <a:pt x="20" y="163"/>
                    <a:pt x="20" y="163"/>
                  </a:cubicBezTo>
                  <a:cubicBezTo>
                    <a:pt x="20" y="163"/>
                    <a:pt x="20" y="163"/>
                    <a:pt x="20" y="163"/>
                  </a:cubicBezTo>
                  <a:cubicBezTo>
                    <a:pt x="24" y="172"/>
                    <a:pt x="40" y="179"/>
                    <a:pt x="60" y="179"/>
                  </a:cubicBezTo>
                  <a:cubicBezTo>
                    <a:pt x="80" y="179"/>
                    <a:pt x="96" y="172"/>
                    <a:pt x="99" y="163"/>
                  </a:cubicBezTo>
                  <a:cubicBezTo>
                    <a:pt x="99" y="163"/>
                    <a:pt x="99" y="163"/>
                    <a:pt x="99" y="163"/>
                  </a:cubicBezTo>
                  <a:cubicBezTo>
                    <a:pt x="99" y="163"/>
                    <a:pt x="100" y="162"/>
                    <a:pt x="100" y="157"/>
                  </a:cubicBezTo>
                  <a:cubicBezTo>
                    <a:pt x="100" y="39"/>
                    <a:pt x="100" y="39"/>
                    <a:pt x="100" y="39"/>
                  </a:cubicBezTo>
                  <a:cubicBezTo>
                    <a:pt x="100" y="25"/>
                    <a:pt x="80" y="18"/>
                    <a:pt x="60" y="18"/>
                  </a:cubicBezTo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8" name="Freeform 34"/>
            <p:cNvSpPr>
              <a:spLocks/>
            </p:cNvSpPr>
            <p:nvPr userDrawn="1"/>
          </p:nvSpPr>
          <p:spPr bwMode="auto">
            <a:xfrm>
              <a:off x="4779" y="1084"/>
              <a:ext cx="448" cy="1130"/>
            </a:xfrm>
            <a:custGeom>
              <a:avLst/>
              <a:gdLst>
                <a:gd name="T0" fmla="*/ 69 w 77"/>
                <a:gd name="T1" fmla="*/ 194 h 194"/>
                <a:gd name="T2" fmla="*/ 37 w 77"/>
                <a:gd name="T3" fmla="*/ 185 h 194"/>
                <a:gd name="T4" fmla="*/ 23 w 77"/>
                <a:gd name="T5" fmla="*/ 154 h 194"/>
                <a:gd name="T6" fmla="*/ 23 w 77"/>
                <a:gd name="T7" fmla="*/ 74 h 194"/>
                <a:gd name="T8" fmla="*/ 0 w 77"/>
                <a:gd name="T9" fmla="*/ 74 h 194"/>
                <a:gd name="T10" fmla="*/ 0 w 77"/>
                <a:gd name="T11" fmla="*/ 56 h 194"/>
                <a:gd name="T12" fmla="*/ 23 w 77"/>
                <a:gd name="T13" fmla="*/ 56 h 194"/>
                <a:gd name="T14" fmla="*/ 23 w 77"/>
                <a:gd name="T15" fmla="*/ 14 h 194"/>
                <a:gd name="T16" fmla="*/ 42 w 77"/>
                <a:gd name="T17" fmla="*/ 0 h 194"/>
                <a:gd name="T18" fmla="*/ 42 w 77"/>
                <a:gd name="T19" fmla="*/ 56 h 194"/>
                <a:gd name="T20" fmla="*/ 74 w 77"/>
                <a:gd name="T21" fmla="*/ 56 h 194"/>
                <a:gd name="T22" fmla="*/ 74 w 77"/>
                <a:gd name="T23" fmla="*/ 74 h 194"/>
                <a:gd name="T24" fmla="*/ 71 w 77"/>
                <a:gd name="T25" fmla="*/ 74 h 194"/>
                <a:gd name="T26" fmla="*/ 42 w 77"/>
                <a:gd name="T27" fmla="*/ 74 h 194"/>
                <a:gd name="T28" fmla="*/ 42 w 77"/>
                <a:gd name="T29" fmla="*/ 154 h 194"/>
                <a:gd name="T30" fmla="*/ 74 w 77"/>
                <a:gd name="T31" fmla="*/ 176 h 194"/>
                <a:gd name="T32" fmla="*/ 77 w 77"/>
                <a:gd name="T33" fmla="*/ 176 h 194"/>
                <a:gd name="T34" fmla="*/ 77 w 77"/>
                <a:gd name="T35" fmla="*/ 194 h 194"/>
                <a:gd name="T36" fmla="*/ 74 w 77"/>
                <a:gd name="T37" fmla="*/ 194 h 194"/>
                <a:gd name="T38" fmla="*/ 69 w 77"/>
                <a:gd name="T39" fmla="*/ 19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7" h="194">
                  <a:moveTo>
                    <a:pt x="69" y="194"/>
                  </a:moveTo>
                  <a:cubicBezTo>
                    <a:pt x="56" y="194"/>
                    <a:pt x="45" y="191"/>
                    <a:pt x="37" y="185"/>
                  </a:cubicBezTo>
                  <a:cubicBezTo>
                    <a:pt x="28" y="179"/>
                    <a:pt x="23" y="168"/>
                    <a:pt x="23" y="154"/>
                  </a:cubicBezTo>
                  <a:cubicBezTo>
                    <a:pt x="23" y="74"/>
                    <a:pt x="23" y="74"/>
                    <a:pt x="23" y="74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23" y="56"/>
                    <a:pt x="23" y="56"/>
                    <a:pt x="23" y="56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74" y="56"/>
                    <a:pt x="74" y="56"/>
                    <a:pt x="74" y="56"/>
                  </a:cubicBezTo>
                  <a:cubicBezTo>
                    <a:pt x="74" y="74"/>
                    <a:pt x="74" y="74"/>
                    <a:pt x="74" y="74"/>
                  </a:cubicBezTo>
                  <a:cubicBezTo>
                    <a:pt x="71" y="74"/>
                    <a:pt x="71" y="74"/>
                    <a:pt x="71" y="74"/>
                  </a:cubicBezTo>
                  <a:cubicBezTo>
                    <a:pt x="61" y="74"/>
                    <a:pt x="52" y="74"/>
                    <a:pt x="42" y="74"/>
                  </a:cubicBezTo>
                  <a:cubicBezTo>
                    <a:pt x="42" y="154"/>
                    <a:pt x="42" y="154"/>
                    <a:pt x="42" y="154"/>
                  </a:cubicBezTo>
                  <a:cubicBezTo>
                    <a:pt x="42" y="173"/>
                    <a:pt x="56" y="175"/>
                    <a:pt x="74" y="176"/>
                  </a:cubicBezTo>
                  <a:cubicBezTo>
                    <a:pt x="77" y="176"/>
                    <a:pt x="77" y="176"/>
                    <a:pt x="77" y="176"/>
                  </a:cubicBezTo>
                  <a:cubicBezTo>
                    <a:pt x="77" y="194"/>
                    <a:pt x="77" y="194"/>
                    <a:pt x="77" y="194"/>
                  </a:cubicBezTo>
                  <a:cubicBezTo>
                    <a:pt x="74" y="194"/>
                    <a:pt x="74" y="194"/>
                    <a:pt x="74" y="194"/>
                  </a:cubicBezTo>
                  <a:cubicBezTo>
                    <a:pt x="72" y="194"/>
                    <a:pt x="71" y="194"/>
                    <a:pt x="69" y="194"/>
                  </a:cubicBezTo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3" name="Freeform 29"/>
            <p:cNvSpPr>
              <a:spLocks noEditPoints="1"/>
            </p:cNvSpPr>
            <p:nvPr userDrawn="1"/>
          </p:nvSpPr>
          <p:spPr bwMode="auto">
            <a:xfrm>
              <a:off x="1185" y="1399"/>
              <a:ext cx="618" cy="1142"/>
            </a:xfrm>
            <a:custGeom>
              <a:avLst/>
              <a:gdLst>
                <a:gd name="T0" fmla="*/ 0 w 106"/>
                <a:gd name="T1" fmla="*/ 196 h 196"/>
                <a:gd name="T2" fmla="*/ 0 w 106"/>
                <a:gd name="T3" fmla="*/ 3 h 196"/>
                <a:gd name="T4" fmla="*/ 18 w 106"/>
                <a:gd name="T5" fmla="*/ 3 h 196"/>
                <a:gd name="T6" fmla="*/ 18 w 106"/>
                <a:gd name="T7" fmla="*/ 13 h 196"/>
                <a:gd name="T8" fmla="*/ 56 w 106"/>
                <a:gd name="T9" fmla="*/ 0 h 196"/>
                <a:gd name="T10" fmla="*/ 74 w 106"/>
                <a:gd name="T11" fmla="*/ 3 h 196"/>
                <a:gd name="T12" fmla="*/ 106 w 106"/>
                <a:gd name="T13" fmla="*/ 39 h 196"/>
                <a:gd name="T14" fmla="*/ 106 w 106"/>
                <a:gd name="T15" fmla="*/ 100 h 196"/>
                <a:gd name="T16" fmla="*/ 55 w 106"/>
                <a:gd name="T17" fmla="*/ 140 h 196"/>
                <a:gd name="T18" fmla="*/ 55 w 106"/>
                <a:gd name="T19" fmla="*/ 140 h 196"/>
                <a:gd name="T20" fmla="*/ 20 w 106"/>
                <a:gd name="T21" fmla="*/ 129 h 196"/>
                <a:gd name="T22" fmla="*/ 20 w 106"/>
                <a:gd name="T23" fmla="*/ 182 h 196"/>
                <a:gd name="T24" fmla="*/ 0 w 106"/>
                <a:gd name="T25" fmla="*/ 196 h 196"/>
                <a:gd name="T26" fmla="*/ 53 w 106"/>
                <a:gd name="T27" fmla="*/ 19 h 196"/>
                <a:gd name="T28" fmla="*/ 20 w 106"/>
                <a:gd name="T29" fmla="*/ 45 h 196"/>
                <a:gd name="T30" fmla="*/ 20 w 106"/>
                <a:gd name="T31" fmla="*/ 102 h 196"/>
                <a:gd name="T32" fmla="*/ 54 w 106"/>
                <a:gd name="T33" fmla="*/ 122 h 196"/>
                <a:gd name="T34" fmla="*/ 54 w 106"/>
                <a:gd name="T35" fmla="*/ 122 h 196"/>
                <a:gd name="T36" fmla="*/ 77 w 106"/>
                <a:gd name="T37" fmla="*/ 116 h 196"/>
                <a:gd name="T38" fmla="*/ 87 w 106"/>
                <a:gd name="T39" fmla="*/ 100 h 196"/>
                <a:gd name="T40" fmla="*/ 87 w 106"/>
                <a:gd name="T41" fmla="*/ 36 h 196"/>
                <a:gd name="T42" fmla="*/ 68 w 106"/>
                <a:gd name="T43" fmla="*/ 21 h 196"/>
                <a:gd name="T44" fmla="*/ 53 w 106"/>
                <a:gd name="T45" fmla="*/ 1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6" h="196">
                  <a:moveTo>
                    <a:pt x="0" y="196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27" y="5"/>
                    <a:pt x="41" y="0"/>
                    <a:pt x="56" y="0"/>
                  </a:cubicBezTo>
                  <a:cubicBezTo>
                    <a:pt x="63" y="0"/>
                    <a:pt x="68" y="1"/>
                    <a:pt x="74" y="3"/>
                  </a:cubicBezTo>
                  <a:cubicBezTo>
                    <a:pt x="94" y="8"/>
                    <a:pt x="106" y="22"/>
                    <a:pt x="106" y="39"/>
                  </a:cubicBezTo>
                  <a:cubicBezTo>
                    <a:pt x="106" y="100"/>
                    <a:pt x="106" y="100"/>
                    <a:pt x="106" y="100"/>
                  </a:cubicBezTo>
                  <a:cubicBezTo>
                    <a:pt x="106" y="126"/>
                    <a:pt x="80" y="140"/>
                    <a:pt x="55" y="140"/>
                  </a:cubicBezTo>
                  <a:cubicBezTo>
                    <a:pt x="55" y="140"/>
                    <a:pt x="55" y="140"/>
                    <a:pt x="55" y="140"/>
                  </a:cubicBezTo>
                  <a:cubicBezTo>
                    <a:pt x="41" y="140"/>
                    <a:pt x="28" y="136"/>
                    <a:pt x="20" y="129"/>
                  </a:cubicBezTo>
                  <a:cubicBezTo>
                    <a:pt x="20" y="182"/>
                    <a:pt x="20" y="182"/>
                    <a:pt x="20" y="182"/>
                  </a:cubicBezTo>
                  <a:lnTo>
                    <a:pt x="0" y="196"/>
                  </a:lnTo>
                  <a:close/>
                  <a:moveTo>
                    <a:pt x="53" y="19"/>
                  </a:moveTo>
                  <a:cubicBezTo>
                    <a:pt x="41" y="19"/>
                    <a:pt x="20" y="25"/>
                    <a:pt x="20" y="45"/>
                  </a:cubicBezTo>
                  <a:cubicBezTo>
                    <a:pt x="20" y="102"/>
                    <a:pt x="20" y="102"/>
                    <a:pt x="20" y="102"/>
                  </a:cubicBezTo>
                  <a:cubicBezTo>
                    <a:pt x="20" y="115"/>
                    <a:pt x="37" y="122"/>
                    <a:pt x="54" y="122"/>
                  </a:cubicBezTo>
                  <a:cubicBezTo>
                    <a:pt x="54" y="122"/>
                    <a:pt x="54" y="122"/>
                    <a:pt x="54" y="122"/>
                  </a:cubicBezTo>
                  <a:cubicBezTo>
                    <a:pt x="63" y="122"/>
                    <a:pt x="71" y="120"/>
                    <a:pt x="77" y="116"/>
                  </a:cubicBezTo>
                  <a:cubicBezTo>
                    <a:pt x="84" y="112"/>
                    <a:pt x="87" y="107"/>
                    <a:pt x="87" y="100"/>
                  </a:cubicBezTo>
                  <a:cubicBezTo>
                    <a:pt x="87" y="36"/>
                    <a:pt x="87" y="36"/>
                    <a:pt x="87" y="36"/>
                  </a:cubicBezTo>
                  <a:cubicBezTo>
                    <a:pt x="85" y="27"/>
                    <a:pt x="74" y="23"/>
                    <a:pt x="68" y="21"/>
                  </a:cubicBezTo>
                  <a:cubicBezTo>
                    <a:pt x="64" y="20"/>
                    <a:pt x="59" y="19"/>
                    <a:pt x="53" y="19"/>
                  </a:cubicBezTo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4" name="Freeform 30"/>
            <p:cNvSpPr>
              <a:spLocks/>
            </p:cNvSpPr>
            <p:nvPr userDrawn="1"/>
          </p:nvSpPr>
          <p:spPr bwMode="auto">
            <a:xfrm>
              <a:off x="1902" y="1399"/>
              <a:ext cx="629" cy="821"/>
            </a:xfrm>
            <a:custGeom>
              <a:avLst/>
              <a:gdLst>
                <a:gd name="T0" fmla="*/ 53 w 108"/>
                <a:gd name="T1" fmla="*/ 141 h 141"/>
                <a:gd name="T2" fmla="*/ 0 w 108"/>
                <a:gd name="T3" fmla="*/ 112 h 141"/>
                <a:gd name="T4" fmla="*/ 0 w 108"/>
                <a:gd name="T5" fmla="*/ 110 h 141"/>
                <a:gd name="T6" fmla="*/ 16 w 108"/>
                <a:gd name="T7" fmla="*/ 100 h 141"/>
                <a:gd name="T8" fmla="*/ 17 w 108"/>
                <a:gd name="T9" fmla="*/ 103 h 141"/>
                <a:gd name="T10" fmla="*/ 53 w 108"/>
                <a:gd name="T11" fmla="*/ 122 h 141"/>
                <a:gd name="T12" fmla="*/ 70 w 108"/>
                <a:gd name="T13" fmla="*/ 120 h 141"/>
                <a:gd name="T14" fmla="*/ 89 w 108"/>
                <a:gd name="T15" fmla="*/ 101 h 141"/>
                <a:gd name="T16" fmla="*/ 54 w 108"/>
                <a:gd name="T17" fmla="*/ 81 h 141"/>
                <a:gd name="T18" fmla="*/ 53 w 108"/>
                <a:gd name="T19" fmla="*/ 81 h 141"/>
                <a:gd name="T20" fmla="*/ 3 w 108"/>
                <a:gd name="T21" fmla="*/ 41 h 141"/>
                <a:gd name="T22" fmla="*/ 36 w 108"/>
                <a:gd name="T23" fmla="*/ 3 h 141"/>
                <a:gd name="T24" fmla="*/ 57 w 108"/>
                <a:gd name="T25" fmla="*/ 0 h 141"/>
                <a:gd name="T26" fmla="*/ 105 w 108"/>
                <a:gd name="T27" fmla="*/ 24 h 141"/>
                <a:gd name="T28" fmla="*/ 106 w 108"/>
                <a:gd name="T29" fmla="*/ 26 h 141"/>
                <a:gd name="T30" fmla="*/ 90 w 108"/>
                <a:gd name="T31" fmla="*/ 36 h 141"/>
                <a:gd name="T32" fmla="*/ 89 w 108"/>
                <a:gd name="T33" fmla="*/ 34 h 141"/>
                <a:gd name="T34" fmla="*/ 58 w 108"/>
                <a:gd name="T35" fmla="*/ 20 h 141"/>
                <a:gd name="T36" fmla="*/ 41 w 108"/>
                <a:gd name="T37" fmla="*/ 22 h 141"/>
                <a:gd name="T38" fmla="*/ 22 w 108"/>
                <a:gd name="T39" fmla="*/ 41 h 141"/>
                <a:gd name="T40" fmla="*/ 56 w 108"/>
                <a:gd name="T41" fmla="*/ 62 h 141"/>
                <a:gd name="T42" fmla="*/ 108 w 108"/>
                <a:gd name="T43" fmla="*/ 101 h 141"/>
                <a:gd name="T44" fmla="*/ 75 w 108"/>
                <a:gd name="T45" fmla="*/ 138 h 141"/>
                <a:gd name="T46" fmla="*/ 53 w 108"/>
                <a:gd name="T47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8" h="141">
                  <a:moveTo>
                    <a:pt x="53" y="141"/>
                  </a:moveTo>
                  <a:cubicBezTo>
                    <a:pt x="33" y="141"/>
                    <a:pt x="8" y="134"/>
                    <a:pt x="0" y="112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7" y="103"/>
                    <a:pt x="17" y="103"/>
                    <a:pt x="17" y="103"/>
                  </a:cubicBezTo>
                  <a:cubicBezTo>
                    <a:pt x="24" y="120"/>
                    <a:pt x="42" y="122"/>
                    <a:pt x="53" y="122"/>
                  </a:cubicBezTo>
                  <a:cubicBezTo>
                    <a:pt x="58" y="122"/>
                    <a:pt x="65" y="121"/>
                    <a:pt x="70" y="120"/>
                  </a:cubicBezTo>
                  <a:cubicBezTo>
                    <a:pt x="75" y="118"/>
                    <a:pt x="89" y="113"/>
                    <a:pt x="89" y="101"/>
                  </a:cubicBezTo>
                  <a:cubicBezTo>
                    <a:pt x="89" y="86"/>
                    <a:pt x="76" y="84"/>
                    <a:pt x="54" y="81"/>
                  </a:cubicBezTo>
                  <a:cubicBezTo>
                    <a:pt x="53" y="81"/>
                    <a:pt x="53" y="81"/>
                    <a:pt x="53" y="81"/>
                  </a:cubicBezTo>
                  <a:cubicBezTo>
                    <a:pt x="29" y="78"/>
                    <a:pt x="2" y="74"/>
                    <a:pt x="3" y="41"/>
                  </a:cubicBezTo>
                  <a:cubicBezTo>
                    <a:pt x="3" y="23"/>
                    <a:pt x="15" y="9"/>
                    <a:pt x="36" y="3"/>
                  </a:cubicBezTo>
                  <a:cubicBezTo>
                    <a:pt x="42" y="1"/>
                    <a:pt x="50" y="0"/>
                    <a:pt x="57" y="0"/>
                  </a:cubicBezTo>
                  <a:cubicBezTo>
                    <a:pt x="68" y="0"/>
                    <a:pt x="95" y="3"/>
                    <a:pt x="105" y="24"/>
                  </a:cubicBezTo>
                  <a:cubicBezTo>
                    <a:pt x="106" y="26"/>
                    <a:pt x="106" y="26"/>
                    <a:pt x="106" y="26"/>
                  </a:cubicBezTo>
                  <a:cubicBezTo>
                    <a:pt x="90" y="36"/>
                    <a:pt x="90" y="36"/>
                    <a:pt x="90" y="36"/>
                  </a:cubicBezTo>
                  <a:cubicBezTo>
                    <a:pt x="89" y="34"/>
                    <a:pt x="89" y="34"/>
                    <a:pt x="89" y="34"/>
                  </a:cubicBezTo>
                  <a:cubicBezTo>
                    <a:pt x="81" y="21"/>
                    <a:pt x="66" y="20"/>
                    <a:pt x="58" y="20"/>
                  </a:cubicBezTo>
                  <a:cubicBezTo>
                    <a:pt x="52" y="20"/>
                    <a:pt x="46" y="20"/>
                    <a:pt x="41" y="22"/>
                  </a:cubicBezTo>
                  <a:cubicBezTo>
                    <a:pt x="34" y="24"/>
                    <a:pt x="22" y="29"/>
                    <a:pt x="22" y="41"/>
                  </a:cubicBezTo>
                  <a:cubicBezTo>
                    <a:pt x="22" y="56"/>
                    <a:pt x="35" y="59"/>
                    <a:pt x="56" y="62"/>
                  </a:cubicBezTo>
                  <a:cubicBezTo>
                    <a:pt x="81" y="65"/>
                    <a:pt x="108" y="68"/>
                    <a:pt x="108" y="101"/>
                  </a:cubicBezTo>
                  <a:cubicBezTo>
                    <a:pt x="107" y="119"/>
                    <a:pt x="95" y="133"/>
                    <a:pt x="75" y="138"/>
                  </a:cubicBezTo>
                  <a:cubicBezTo>
                    <a:pt x="68" y="140"/>
                    <a:pt x="61" y="141"/>
                    <a:pt x="53" y="141"/>
                  </a:cubicBezTo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6" name="Freeform 32"/>
            <p:cNvSpPr>
              <a:spLocks/>
            </p:cNvSpPr>
            <p:nvPr userDrawn="1"/>
          </p:nvSpPr>
          <p:spPr bwMode="auto">
            <a:xfrm>
              <a:off x="3381" y="1404"/>
              <a:ext cx="1042" cy="810"/>
            </a:xfrm>
            <a:custGeom>
              <a:avLst/>
              <a:gdLst>
                <a:gd name="T0" fmla="*/ 179 w 179"/>
                <a:gd name="T1" fmla="*/ 139 h 139"/>
                <a:gd name="T2" fmla="*/ 160 w 179"/>
                <a:gd name="T3" fmla="*/ 139 h 139"/>
                <a:gd name="T4" fmla="*/ 160 w 179"/>
                <a:gd name="T5" fmla="*/ 40 h 139"/>
                <a:gd name="T6" fmla="*/ 129 w 179"/>
                <a:gd name="T7" fmla="*/ 18 h 139"/>
                <a:gd name="T8" fmla="*/ 99 w 179"/>
                <a:gd name="T9" fmla="*/ 39 h 139"/>
                <a:gd name="T10" fmla="*/ 99 w 179"/>
                <a:gd name="T11" fmla="*/ 139 h 139"/>
                <a:gd name="T12" fmla="*/ 80 w 179"/>
                <a:gd name="T13" fmla="*/ 139 h 139"/>
                <a:gd name="T14" fmla="*/ 80 w 179"/>
                <a:gd name="T15" fmla="*/ 39 h 139"/>
                <a:gd name="T16" fmla="*/ 51 w 179"/>
                <a:gd name="T17" fmla="*/ 18 h 139"/>
                <a:gd name="T18" fmla="*/ 51 w 179"/>
                <a:gd name="T19" fmla="*/ 18 h 139"/>
                <a:gd name="T20" fmla="*/ 19 w 179"/>
                <a:gd name="T21" fmla="*/ 42 h 139"/>
                <a:gd name="T22" fmla="*/ 19 w 179"/>
                <a:gd name="T23" fmla="*/ 139 h 139"/>
                <a:gd name="T24" fmla="*/ 0 w 179"/>
                <a:gd name="T25" fmla="*/ 139 h 139"/>
                <a:gd name="T26" fmla="*/ 0 w 179"/>
                <a:gd name="T27" fmla="*/ 1 h 139"/>
                <a:gd name="T28" fmla="*/ 19 w 179"/>
                <a:gd name="T29" fmla="*/ 1 h 139"/>
                <a:gd name="T30" fmla="*/ 19 w 179"/>
                <a:gd name="T31" fmla="*/ 10 h 139"/>
                <a:gd name="T32" fmla="*/ 53 w 179"/>
                <a:gd name="T33" fmla="*/ 0 h 139"/>
                <a:gd name="T34" fmla="*/ 90 w 179"/>
                <a:gd name="T35" fmla="*/ 16 h 139"/>
                <a:gd name="T36" fmla="*/ 130 w 179"/>
                <a:gd name="T37" fmla="*/ 0 h 139"/>
                <a:gd name="T38" fmla="*/ 179 w 179"/>
                <a:gd name="T39" fmla="*/ 40 h 139"/>
                <a:gd name="T40" fmla="*/ 179 w 179"/>
                <a:gd name="T41" fmla="*/ 13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9" h="139">
                  <a:moveTo>
                    <a:pt x="179" y="139"/>
                  </a:moveTo>
                  <a:cubicBezTo>
                    <a:pt x="160" y="139"/>
                    <a:pt x="160" y="139"/>
                    <a:pt x="160" y="139"/>
                  </a:cubicBezTo>
                  <a:cubicBezTo>
                    <a:pt x="160" y="40"/>
                    <a:pt x="160" y="40"/>
                    <a:pt x="160" y="40"/>
                  </a:cubicBezTo>
                  <a:cubicBezTo>
                    <a:pt x="160" y="24"/>
                    <a:pt x="143" y="18"/>
                    <a:pt x="129" y="18"/>
                  </a:cubicBezTo>
                  <a:cubicBezTo>
                    <a:pt x="116" y="18"/>
                    <a:pt x="100" y="24"/>
                    <a:pt x="99" y="39"/>
                  </a:cubicBezTo>
                  <a:cubicBezTo>
                    <a:pt x="99" y="139"/>
                    <a:pt x="99" y="139"/>
                    <a:pt x="99" y="139"/>
                  </a:cubicBezTo>
                  <a:cubicBezTo>
                    <a:pt x="80" y="139"/>
                    <a:pt x="80" y="139"/>
                    <a:pt x="80" y="139"/>
                  </a:cubicBezTo>
                  <a:cubicBezTo>
                    <a:pt x="80" y="39"/>
                    <a:pt x="80" y="39"/>
                    <a:pt x="80" y="39"/>
                  </a:cubicBezTo>
                  <a:cubicBezTo>
                    <a:pt x="79" y="24"/>
                    <a:pt x="65" y="18"/>
                    <a:pt x="51" y="18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35" y="18"/>
                    <a:pt x="19" y="27"/>
                    <a:pt x="19" y="42"/>
                  </a:cubicBezTo>
                  <a:cubicBezTo>
                    <a:pt x="19" y="139"/>
                    <a:pt x="19" y="139"/>
                    <a:pt x="19" y="139"/>
                  </a:cubicBezTo>
                  <a:cubicBezTo>
                    <a:pt x="0" y="139"/>
                    <a:pt x="0" y="139"/>
                    <a:pt x="0" y="1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28" y="3"/>
                    <a:pt x="39" y="0"/>
                    <a:pt x="53" y="0"/>
                  </a:cubicBezTo>
                  <a:cubicBezTo>
                    <a:pt x="70" y="0"/>
                    <a:pt x="84" y="6"/>
                    <a:pt x="90" y="16"/>
                  </a:cubicBezTo>
                  <a:cubicBezTo>
                    <a:pt x="100" y="5"/>
                    <a:pt x="117" y="0"/>
                    <a:pt x="130" y="0"/>
                  </a:cubicBezTo>
                  <a:cubicBezTo>
                    <a:pt x="154" y="1"/>
                    <a:pt x="179" y="13"/>
                    <a:pt x="179" y="40"/>
                  </a:cubicBezTo>
                  <a:lnTo>
                    <a:pt x="179" y="139"/>
                  </a:lnTo>
                  <a:close/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5" name="Freeform 31"/>
            <p:cNvSpPr>
              <a:spLocks/>
            </p:cNvSpPr>
            <p:nvPr userDrawn="1"/>
          </p:nvSpPr>
          <p:spPr bwMode="auto">
            <a:xfrm>
              <a:off x="2630" y="1416"/>
              <a:ext cx="617" cy="804"/>
            </a:xfrm>
            <a:custGeom>
              <a:avLst/>
              <a:gdLst>
                <a:gd name="T0" fmla="*/ 54 w 106"/>
                <a:gd name="T1" fmla="*/ 138 h 138"/>
                <a:gd name="T2" fmla="*/ 54 w 106"/>
                <a:gd name="T3" fmla="*/ 138 h 138"/>
                <a:gd name="T4" fmla="*/ 0 w 106"/>
                <a:gd name="T5" fmla="*/ 98 h 138"/>
                <a:gd name="T6" fmla="*/ 0 w 106"/>
                <a:gd name="T7" fmla="*/ 15 h 138"/>
                <a:gd name="T8" fmla="*/ 19 w 106"/>
                <a:gd name="T9" fmla="*/ 1 h 138"/>
                <a:gd name="T10" fmla="*/ 19 w 106"/>
                <a:gd name="T11" fmla="*/ 98 h 138"/>
                <a:gd name="T12" fmla="*/ 53 w 106"/>
                <a:gd name="T13" fmla="*/ 119 h 138"/>
                <a:gd name="T14" fmla="*/ 87 w 106"/>
                <a:gd name="T15" fmla="*/ 96 h 138"/>
                <a:gd name="T16" fmla="*/ 87 w 106"/>
                <a:gd name="T17" fmla="*/ 0 h 138"/>
                <a:gd name="T18" fmla="*/ 106 w 106"/>
                <a:gd name="T19" fmla="*/ 0 h 138"/>
                <a:gd name="T20" fmla="*/ 106 w 106"/>
                <a:gd name="T21" fmla="*/ 137 h 138"/>
                <a:gd name="T22" fmla="*/ 87 w 106"/>
                <a:gd name="T23" fmla="*/ 137 h 138"/>
                <a:gd name="T24" fmla="*/ 87 w 106"/>
                <a:gd name="T25" fmla="*/ 128 h 138"/>
                <a:gd name="T26" fmla="*/ 54 w 106"/>
                <a:gd name="T27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6" h="138">
                  <a:moveTo>
                    <a:pt x="54" y="138"/>
                  </a:moveTo>
                  <a:cubicBezTo>
                    <a:pt x="54" y="138"/>
                    <a:pt x="54" y="138"/>
                    <a:pt x="54" y="138"/>
                  </a:cubicBezTo>
                  <a:cubicBezTo>
                    <a:pt x="27" y="138"/>
                    <a:pt x="0" y="126"/>
                    <a:pt x="0" y="9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98"/>
                    <a:pt x="19" y="98"/>
                    <a:pt x="19" y="98"/>
                  </a:cubicBezTo>
                  <a:cubicBezTo>
                    <a:pt x="19" y="112"/>
                    <a:pt x="36" y="119"/>
                    <a:pt x="53" y="119"/>
                  </a:cubicBezTo>
                  <a:cubicBezTo>
                    <a:pt x="70" y="119"/>
                    <a:pt x="87" y="112"/>
                    <a:pt x="87" y="96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6" y="137"/>
                    <a:pt x="106" y="137"/>
                    <a:pt x="106" y="137"/>
                  </a:cubicBezTo>
                  <a:cubicBezTo>
                    <a:pt x="87" y="137"/>
                    <a:pt x="87" y="137"/>
                    <a:pt x="87" y="137"/>
                  </a:cubicBezTo>
                  <a:cubicBezTo>
                    <a:pt x="87" y="128"/>
                    <a:pt x="87" y="128"/>
                    <a:pt x="87" y="128"/>
                  </a:cubicBezTo>
                  <a:cubicBezTo>
                    <a:pt x="79" y="134"/>
                    <a:pt x="68" y="138"/>
                    <a:pt x="54" y="138"/>
                  </a:cubicBezTo>
                  <a:close/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7" name="Freeform 33"/>
            <p:cNvSpPr>
              <a:spLocks/>
            </p:cNvSpPr>
            <p:nvPr userDrawn="1"/>
          </p:nvSpPr>
          <p:spPr bwMode="auto">
            <a:xfrm>
              <a:off x="4563" y="1439"/>
              <a:ext cx="111" cy="775"/>
            </a:xfrm>
            <a:custGeom>
              <a:avLst/>
              <a:gdLst>
                <a:gd name="T0" fmla="*/ 111 w 111"/>
                <a:gd name="T1" fmla="*/ 775 h 775"/>
                <a:gd name="T2" fmla="*/ 0 w 111"/>
                <a:gd name="T3" fmla="*/ 775 h 775"/>
                <a:gd name="T4" fmla="*/ 0 w 111"/>
                <a:gd name="T5" fmla="*/ 82 h 775"/>
                <a:gd name="T6" fmla="*/ 111 w 111"/>
                <a:gd name="T7" fmla="*/ 0 h 775"/>
                <a:gd name="T8" fmla="*/ 111 w 111"/>
                <a:gd name="T9" fmla="*/ 775 h 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775">
                  <a:moveTo>
                    <a:pt x="111" y="775"/>
                  </a:moveTo>
                  <a:lnTo>
                    <a:pt x="0" y="775"/>
                  </a:lnTo>
                  <a:lnTo>
                    <a:pt x="0" y="82"/>
                  </a:lnTo>
                  <a:lnTo>
                    <a:pt x="111" y="0"/>
                  </a:lnTo>
                  <a:lnTo>
                    <a:pt x="111" y="775"/>
                  </a:lnTo>
                  <a:close/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9" name="Freeform 35"/>
            <p:cNvSpPr>
              <a:spLocks noEditPoints="1"/>
            </p:cNvSpPr>
            <p:nvPr userDrawn="1"/>
          </p:nvSpPr>
          <p:spPr bwMode="auto">
            <a:xfrm>
              <a:off x="5262" y="2098"/>
              <a:ext cx="128" cy="128"/>
            </a:xfrm>
            <a:custGeom>
              <a:avLst/>
              <a:gdLst>
                <a:gd name="T0" fmla="*/ 22 w 22"/>
                <a:gd name="T1" fmla="*/ 11 h 22"/>
                <a:gd name="T2" fmla="*/ 11 w 22"/>
                <a:gd name="T3" fmla="*/ 22 h 22"/>
                <a:gd name="T4" fmla="*/ 0 w 22"/>
                <a:gd name="T5" fmla="*/ 11 h 22"/>
                <a:gd name="T6" fmla="*/ 11 w 22"/>
                <a:gd name="T7" fmla="*/ 0 h 22"/>
                <a:gd name="T8" fmla="*/ 22 w 22"/>
                <a:gd name="T9" fmla="*/ 11 h 22"/>
                <a:gd name="T10" fmla="*/ 2 w 22"/>
                <a:gd name="T11" fmla="*/ 11 h 22"/>
                <a:gd name="T12" fmla="*/ 11 w 22"/>
                <a:gd name="T13" fmla="*/ 20 h 22"/>
                <a:gd name="T14" fmla="*/ 19 w 22"/>
                <a:gd name="T15" fmla="*/ 11 h 22"/>
                <a:gd name="T16" fmla="*/ 11 w 22"/>
                <a:gd name="T17" fmla="*/ 2 h 22"/>
                <a:gd name="T18" fmla="*/ 2 w 22"/>
                <a:gd name="T19" fmla="*/ 11 h 22"/>
                <a:gd name="T20" fmla="*/ 9 w 22"/>
                <a:gd name="T21" fmla="*/ 17 h 22"/>
                <a:gd name="T22" fmla="*/ 7 w 22"/>
                <a:gd name="T23" fmla="*/ 17 h 22"/>
                <a:gd name="T24" fmla="*/ 7 w 22"/>
                <a:gd name="T25" fmla="*/ 6 h 22"/>
                <a:gd name="T26" fmla="*/ 11 w 22"/>
                <a:gd name="T27" fmla="*/ 5 h 22"/>
                <a:gd name="T28" fmla="*/ 14 w 22"/>
                <a:gd name="T29" fmla="*/ 6 h 22"/>
                <a:gd name="T30" fmla="*/ 16 w 22"/>
                <a:gd name="T31" fmla="*/ 9 h 22"/>
                <a:gd name="T32" fmla="*/ 13 w 22"/>
                <a:gd name="T33" fmla="*/ 11 h 22"/>
                <a:gd name="T34" fmla="*/ 13 w 22"/>
                <a:gd name="T35" fmla="*/ 11 h 22"/>
                <a:gd name="T36" fmla="*/ 15 w 22"/>
                <a:gd name="T37" fmla="*/ 14 h 22"/>
                <a:gd name="T38" fmla="*/ 16 w 22"/>
                <a:gd name="T39" fmla="*/ 17 h 22"/>
                <a:gd name="T40" fmla="*/ 13 w 22"/>
                <a:gd name="T41" fmla="*/ 17 h 22"/>
                <a:gd name="T42" fmla="*/ 13 w 22"/>
                <a:gd name="T43" fmla="*/ 14 h 22"/>
                <a:gd name="T44" fmla="*/ 10 w 22"/>
                <a:gd name="T45" fmla="*/ 12 h 22"/>
                <a:gd name="T46" fmla="*/ 9 w 22"/>
                <a:gd name="T47" fmla="*/ 12 h 22"/>
                <a:gd name="T48" fmla="*/ 9 w 22"/>
                <a:gd name="T49" fmla="*/ 17 h 22"/>
                <a:gd name="T50" fmla="*/ 9 w 22"/>
                <a:gd name="T51" fmla="*/ 11 h 22"/>
                <a:gd name="T52" fmla="*/ 10 w 22"/>
                <a:gd name="T53" fmla="*/ 11 h 22"/>
                <a:gd name="T54" fmla="*/ 13 w 22"/>
                <a:gd name="T55" fmla="*/ 9 h 22"/>
                <a:gd name="T56" fmla="*/ 11 w 22"/>
                <a:gd name="T57" fmla="*/ 7 h 22"/>
                <a:gd name="T58" fmla="*/ 9 w 22"/>
                <a:gd name="T59" fmla="*/ 7 h 22"/>
                <a:gd name="T60" fmla="*/ 9 w 22"/>
                <a:gd name="T61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2" h="22">
                  <a:moveTo>
                    <a:pt x="22" y="11"/>
                  </a:moveTo>
                  <a:cubicBezTo>
                    <a:pt x="22" y="17"/>
                    <a:pt x="17" y="22"/>
                    <a:pt x="11" y="22"/>
                  </a:cubicBezTo>
                  <a:cubicBezTo>
                    <a:pt x="5" y="22"/>
                    <a:pt x="0" y="17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17" y="0"/>
                    <a:pt x="22" y="5"/>
                    <a:pt x="22" y="11"/>
                  </a:cubicBezTo>
                  <a:moveTo>
                    <a:pt x="2" y="11"/>
                  </a:moveTo>
                  <a:cubicBezTo>
                    <a:pt x="2" y="16"/>
                    <a:pt x="6" y="20"/>
                    <a:pt x="11" y="20"/>
                  </a:cubicBezTo>
                  <a:cubicBezTo>
                    <a:pt x="16" y="20"/>
                    <a:pt x="19" y="16"/>
                    <a:pt x="19" y="11"/>
                  </a:cubicBezTo>
                  <a:cubicBezTo>
                    <a:pt x="19" y="6"/>
                    <a:pt x="16" y="2"/>
                    <a:pt x="11" y="2"/>
                  </a:cubicBezTo>
                  <a:cubicBezTo>
                    <a:pt x="6" y="2"/>
                    <a:pt x="2" y="6"/>
                    <a:pt x="2" y="11"/>
                  </a:cubicBezTo>
                  <a:moveTo>
                    <a:pt x="9" y="17"/>
                  </a:moveTo>
                  <a:cubicBezTo>
                    <a:pt x="7" y="17"/>
                    <a:pt x="7" y="17"/>
                    <a:pt x="7" y="17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8" y="6"/>
                    <a:pt x="9" y="5"/>
                    <a:pt x="11" y="5"/>
                  </a:cubicBezTo>
                  <a:cubicBezTo>
                    <a:pt x="13" y="5"/>
                    <a:pt x="14" y="6"/>
                    <a:pt x="14" y="6"/>
                  </a:cubicBezTo>
                  <a:cubicBezTo>
                    <a:pt x="15" y="7"/>
                    <a:pt x="16" y="8"/>
                    <a:pt x="16" y="9"/>
                  </a:cubicBezTo>
                  <a:cubicBezTo>
                    <a:pt x="16" y="10"/>
                    <a:pt x="14" y="11"/>
                    <a:pt x="13" y="11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4" y="12"/>
                    <a:pt x="15" y="13"/>
                    <a:pt x="15" y="14"/>
                  </a:cubicBezTo>
                  <a:cubicBezTo>
                    <a:pt x="16" y="16"/>
                    <a:pt x="16" y="16"/>
                    <a:pt x="16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16"/>
                    <a:pt x="13" y="15"/>
                    <a:pt x="13" y="14"/>
                  </a:cubicBezTo>
                  <a:cubicBezTo>
                    <a:pt x="12" y="13"/>
                    <a:pt x="12" y="12"/>
                    <a:pt x="10" y="12"/>
                  </a:cubicBezTo>
                  <a:cubicBezTo>
                    <a:pt x="9" y="12"/>
                    <a:pt x="9" y="12"/>
                    <a:pt x="9" y="12"/>
                  </a:cubicBezTo>
                  <a:lnTo>
                    <a:pt x="9" y="17"/>
                  </a:lnTo>
                  <a:close/>
                  <a:moveTo>
                    <a:pt x="9" y="11"/>
                  </a:moveTo>
                  <a:cubicBezTo>
                    <a:pt x="10" y="11"/>
                    <a:pt x="10" y="11"/>
                    <a:pt x="10" y="11"/>
                  </a:cubicBezTo>
                  <a:cubicBezTo>
                    <a:pt x="12" y="11"/>
                    <a:pt x="13" y="10"/>
                    <a:pt x="13" y="9"/>
                  </a:cubicBezTo>
                  <a:cubicBezTo>
                    <a:pt x="13" y="8"/>
                    <a:pt x="12" y="7"/>
                    <a:pt x="11" y="7"/>
                  </a:cubicBezTo>
                  <a:cubicBezTo>
                    <a:pt x="10" y="7"/>
                    <a:pt x="9" y="7"/>
                    <a:pt x="9" y="7"/>
                  </a:cubicBezTo>
                  <a:lnTo>
                    <a:pt x="9" y="11"/>
                  </a:lnTo>
                  <a:close/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3" name="Freeform 39"/>
            <p:cNvSpPr>
              <a:spLocks noEditPoints="1"/>
            </p:cNvSpPr>
            <p:nvPr userDrawn="1"/>
          </p:nvSpPr>
          <p:spPr bwMode="auto">
            <a:xfrm>
              <a:off x="3200" y="2378"/>
              <a:ext cx="41" cy="845"/>
            </a:xfrm>
            <a:custGeom>
              <a:avLst/>
              <a:gdLst>
                <a:gd name="T0" fmla="*/ 0 w 41"/>
                <a:gd name="T1" fmla="*/ 0 h 845"/>
                <a:gd name="T2" fmla="*/ 41 w 41"/>
                <a:gd name="T3" fmla="*/ 0 h 845"/>
                <a:gd name="T4" fmla="*/ 41 w 41"/>
                <a:gd name="T5" fmla="*/ 105 h 845"/>
                <a:gd name="T6" fmla="*/ 0 w 41"/>
                <a:gd name="T7" fmla="*/ 105 h 845"/>
                <a:gd name="T8" fmla="*/ 0 w 41"/>
                <a:gd name="T9" fmla="*/ 0 h 845"/>
                <a:gd name="T10" fmla="*/ 0 w 41"/>
                <a:gd name="T11" fmla="*/ 250 h 845"/>
                <a:gd name="T12" fmla="*/ 41 w 41"/>
                <a:gd name="T13" fmla="*/ 250 h 845"/>
                <a:gd name="T14" fmla="*/ 41 w 41"/>
                <a:gd name="T15" fmla="*/ 845 h 845"/>
                <a:gd name="T16" fmla="*/ 0 w 41"/>
                <a:gd name="T17" fmla="*/ 845 h 845"/>
                <a:gd name="T18" fmla="*/ 0 w 41"/>
                <a:gd name="T19" fmla="*/ 250 h 8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845">
                  <a:moveTo>
                    <a:pt x="0" y="0"/>
                  </a:moveTo>
                  <a:lnTo>
                    <a:pt x="41" y="0"/>
                  </a:lnTo>
                  <a:lnTo>
                    <a:pt x="41" y="105"/>
                  </a:lnTo>
                  <a:lnTo>
                    <a:pt x="0" y="105"/>
                  </a:lnTo>
                  <a:lnTo>
                    <a:pt x="0" y="0"/>
                  </a:lnTo>
                  <a:close/>
                  <a:moveTo>
                    <a:pt x="0" y="250"/>
                  </a:moveTo>
                  <a:lnTo>
                    <a:pt x="41" y="250"/>
                  </a:lnTo>
                  <a:lnTo>
                    <a:pt x="41" y="845"/>
                  </a:lnTo>
                  <a:lnTo>
                    <a:pt x="0" y="845"/>
                  </a:lnTo>
                  <a:lnTo>
                    <a:pt x="0" y="250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4" name="Freeform 40"/>
            <p:cNvSpPr>
              <a:spLocks/>
            </p:cNvSpPr>
            <p:nvPr userDrawn="1"/>
          </p:nvSpPr>
          <p:spPr bwMode="auto">
            <a:xfrm>
              <a:off x="3299" y="2378"/>
              <a:ext cx="210" cy="850"/>
            </a:xfrm>
            <a:custGeom>
              <a:avLst/>
              <a:gdLst>
                <a:gd name="T0" fmla="*/ 18 w 36"/>
                <a:gd name="T1" fmla="*/ 0 h 146"/>
                <a:gd name="T2" fmla="*/ 18 w 36"/>
                <a:gd name="T3" fmla="*/ 43 h 146"/>
                <a:gd name="T4" fmla="*/ 34 w 36"/>
                <a:gd name="T5" fmla="*/ 43 h 146"/>
                <a:gd name="T6" fmla="*/ 34 w 36"/>
                <a:gd name="T7" fmla="*/ 53 h 146"/>
                <a:gd name="T8" fmla="*/ 18 w 36"/>
                <a:gd name="T9" fmla="*/ 53 h 146"/>
                <a:gd name="T10" fmla="*/ 18 w 36"/>
                <a:gd name="T11" fmla="*/ 116 h 146"/>
                <a:gd name="T12" fmla="*/ 36 w 36"/>
                <a:gd name="T13" fmla="*/ 136 h 146"/>
                <a:gd name="T14" fmla="*/ 36 w 36"/>
                <a:gd name="T15" fmla="*/ 145 h 146"/>
                <a:gd name="T16" fmla="*/ 12 w 36"/>
                <a:gd name="T17" fmla="*/ 117 h 146"/>
                <a:gd name="T18" fmla="*/ 12 w 36"/>
                <a:gd name="T19" fmla="*/ 53 h 146"/>
                <a:gd name="T20" fmla="*/ 0 w 36"/>
                <a:gd name="T21" fmla="*/ 53 h 146"/>
                <a:gd name="T22" fmla="*/ 0 w 36"/>
                <a:gd name="T23" fmla="*/ 43 h 146"/>
                <a:gd name="T24" fmla="*/ 12 w 36"/>
                <a:gd name="T25" fmla="*/ 43 h 146"/>
                <a:gd name="T26" fmla="*/ 12 w 36"/>
                <a:gd name="T27" fmla="*/ 0 h 146"/>
                <a:gd name="T28" fmla="*/ 18 w 36"/>
                <a:gd name="T29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146">
                  <a:moveTo>
                    <a:pt x="18" y="0"/>
                  </a:moveTo>
                  <a:cubicBezTo>
                    <a:pt x="18" y="43"/>
                    <a:pt x="18" y="43"/>
                    <a:pt x="18" y="43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29" y="53"/>
                    <a:pt x="24" y="53"/>
                    <a:pt x="18" y="53"/>
                  </a:cubicBezTo>
                  <a:cubicBezTo>
                    <a:pt x="18" y="116"/>
                    <a:pt x="18" y="116"/>
                    <a:pt x="18" y="116"/>
                  </a:cubicBezTo>
                  <a:cubicBezTo>
                    <a:pt x="18" y="134"/>
                    <a:pt x="27" y="135"/>
                    <a:pt x="36" y="136"/>
                  </a:cubicBezTo>
                  <a:cubicBezTo>
                    <a:pt x="36" y="145"/>
                    <a:pt x="36" y="145"/>
                    <a:pt x="36" y="145"/>
                  </a:cubicBezTo>
                  <a:cubicBezTo>
                    <a:pt x="23" y="146"/>
                    <a:pt x="12" y="140"/>
                    <a:pt x="12" y="117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0"/>
                    <a:pt x="12" y="0"/>
                    <a:pt x="12" y="0"/>
                  </a:cubicBezTo>
                  <a:lnTo>
                    <a:pt x="18" y="0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7" name="Freeform 43"/>
            <p:cNvSpPr>
              <a:spLocks/>
            </p:cNvSpPr>
            <p:nvPr userDrawn="1"/>
          </p:nvSpPr>
          <p:spPr bwMode="auto">
            <a:xfrm>
              <a:off x="4295" y="2378"/>
              <a:ext cx="210" cy="850"/>
            </a:xfrm>
            <a:custGeom>
              <a:avLst/>
              <a:gdLst>
                <a:gd name="T0" fmla="*/ 19 w 36"/>
                <a:gd name="T1" fmla="*/ 0 h 146"/>
                <a:gd name="T2" fmla="*/ 19 w 36"/>
                <a:gd name="T3" fmla="*/ 43 h 146"/>
                <a:gd name="T4" fmla="*/ 35 w 36"/>
                <a:gd name="T5" fmla="*/ 43 h 146"/>
                <a:gd name="T6" fmla="*/ 35 w 36"/>
                <a:gd name="T7" fmla="*/ 53 h 146"/>
                <a:gd name="T8" fmla="*/ 19 w 36"/>
                <a:gd name="T9" fmla="*/ 53 h 146"/>
                <a:gd name="T10" fmla="*/ 19 w 36"/>
                <a:gd name="T11" fmla="*/ 116 h 146"/>
                <a:gd name="T12" fmla="*/ 36 w 36"/>
                <a:gd name="T13" fmla="*/ 136 h 146"/>
                <a:gd name="T14" fmla="*/ 36 w 36"/>
                <a:gd name="T15" fmla="*/ 145 h 146"/>
                <a:gd name="T16" fmla="*/ 12 w 36"/>
                <a:gd name="T17" fmla="*/ 117 h 146"/>
                <a:gd name="T18" fmla="*/ 12 w 36"/>
                <a:gd name="T19" fmla="*/ 53 h 146"/>
                <a:gd name="T20" fmla="*/ 0 w 36"/>
                <a:gd name="T21" fmla="*/ 53 h 146"/>
                <a:gd name="T22" fmla="*/ 0 w 36"/>
                <a:gd name="T23" fmla="*/ 43 h 146"/>
                <a:gd name="T24" fmla="*/ 12 w 36"/>
                <a:gd name="T25" fmla="*/ 43 h 146"/>
                <a:gd name="T26" fmla="*/ 12 w 36"/>
                <a:gd name="T27" fmla="*/ 0 h 146"/>
                <a:gd name="T28" fmla="*/ 19 w 36"/>
                <a:gd name="T29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146">
                  <a:moveTo>
                    <a:pt x="19" y="0"/>
                  </a:moveTo>
                  <a:cubicBezTo>
                    <a:pt x="19" y="43"/>
                    <a:pt x="19" y="43"/>
                    <a:pt x="19" y="43"/>
                  </a:cubicBezTo>
                  <a:cubicBezTo>
                    <a:pt x="35" y="43"/>
                    <a:pt x="35" y="43"/>
                    <a:pt x="35" y="43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29" y="53"/>
                    <a:pt x="24" y="53"/>
                    <a:pt x="19" y="53"/>
                  </a:cubicBezTo>
                  <a:cubicBezTo>
                    <a:pt x="19" y="116"/>
                    <a:pt x="19" y="116"/>
                    <a:pt x="19" y="116"/>
                  </a:cubicBezTo>
                  <a:cubicBezTo>
                    <a:pt x="19" y="134"/>
                    <a:pt x="27" y="135"/>
                    <a:pt x="36" y="136"/>
                  </a:cubicBezTo>
                  <a:cubicBezTo>
                    <a:pt x="36" y="145"/>
                    <a:pt x="36" y="145"/>
                    <a:pt x="36" y="145"/>
                  </a:cubicBezTo>
                  <a:cubicBezTo>
                    <a:pt x="24" y="146"/>
                    <a:pt x="12" y="140"/>
                    <a:pt x="12" y="117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0"/>
                    <a:pt x="12" y="0"/>
                    <a:pt x="12" y="0"/>
                  </a:cubicBezTo>
                  <a:lnTo>
                    <a:pt x="19" y="0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1" name="Freeform 37"/>
            <p:cNvSpPr>
              <a:spLocks noEditPoints="1"/>
            </p:cNvSpPr>
            <p:nvPr userDrawn="1"/>
          </p:nvSpPr>
          <p:spPr bwMode="auto">
            <a:xfrm>
              <a:off x="2402" y="2593"/>
              <a:ext cx="362" cy="647"/>
            </a:xfrm>
            <a:custGeom>
              <a:avLst/>
              <a:gdLst>
                <a:gd name="T0" fmla="*/ 49 w 62"/>
                <a:gd name="T1" fmla="*/ 34 h 111"/>
                <a:gd name="T2" fmla="*/ 47 w 62"/>
                <a:gd name="T3" fmla="*/ 25 h 111"/>
                <a:gd name="T4" fmla="*/ 36 w 62"/>
                <a:gd name="T5" fmla="*/ 16 h 111"/>
                <a:gd name="T6" fmla="*/ 25 w 62"/>
                <a:gd name="T7" fmla="*/ 16 h 111"/>
                <a:gd name="T8" fmla="*/ 13 w 62"/>
                <a:gd name="T9" fmla="*/ 27 h 111"/>
                <a:gd name="T10" fmla="*/ 7 w 62"/>
                <a:gd name="T11" fmla="*/ 21 h 111"/>
                <a:gd name="T12" fmla="*/ 53 w 62"/>
                <a:gd name="T13" fmla="*/ 19 h 111"/>
                <a:gd name="T14" fmla="*/ 56 w 62"/>
                <a:gd name="T15" fmla="*/ 35 h 111"/>
                <a:gd name="T16" fmla="*/ 56 w 62"/>
                <a:gd name="T17" fmla="*/ 89 h 111"/>
                <a:gd name="T18" fmla="*/ 62 w 62"/>
                <a:gd name="T19" fmla="*/ 99 h 111"/>
                <a:gd name="T20" fmla="*/ 62 w 62"/>
                <a:gd name="T21" fmla="*/ 108 h 111"/>
                <a:gd name="T22" fmla="*/ 50 w 62"/>
                <a:gd name="T23" fmla="*/ 100 h 111"/>
                <a:gd name="T24" fmla="*/ 30 w 62"/>
                <a:gd name="T25" fmla="*/ 111 h 111"/>
                <a:gd name="T26" fmla="*/ 21 w 62"/>
                <a:gd name="T27" fmla="*/ 109 h 111"/>
                <a:gd name="T28" fmla="*/ 14 w 62"/>
                <a:gd name="T29" fmla="*/ 53 h 111"/>
                <a:gd name="T30" fmla="*/ 49 w 62"/>
                <a:gd name="T31" fmla="*/ 47 h 111"/>
                <a:gd name="T32" fmla="*/ 49 w 62"/>
                <a:gd name="T33" fmla="*/ 34 h 111"/>
                <a:gd name="T34" fmla="*/ 49 w 62"/>
                <a:gd name="T35" fmla="*/ 57 h 111"/>
                <a:gd name="T36" fmla="*/ 18 w 62"/>
                <a:gd name="T37" fmla="*/ 61 h 111"/>
                <a:gd name="T38" fmla="*/ 22 w 62"/>
                <a:gd name="T39" fmla="*/ 99 h 111"/>
                <a:gd name="T40" fmla="*/ 30 w 62"/>
                <a:gd name="T41" fmla="*/ 100 h 111"/>
                <a:gd name="T42" fmla="*/ 49 w 62"/>
                <a:gd name="T43" fmla="*/ 83 h 111"/>
                <a:gd name="T44" fmla="*/ 49 w 62"/>
                <a:gd name="T45" fmla="*/ 57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2" h="111">
                  <a:moveTo>
                    <a:pt x="49" y="34"/>
                  </a:moveTo>
                  <a:cubicBezTo>
                    <a:pt x="49" y="31"/>
                    <a:pt x="49" y="28"/>
                    <a:pt x="47" y="25"/>
                  </a:cubicBezTo>
                  <a:cubicBezTo>
                    <a:pt x="45" y="20"/>
                    <a:pt x="41" y="17"/>
                    <a:pt x="36" y="16"/>
                  </a:cubicBezTo>
                  <a:cubicBezTo>
                    <a:pt x="32" y="15"/>
                    <a:pt x="29" y="15"/>
                    <a:pt x="25" y="16"/>
                  </a:cubicBezTo>
                  <a:cubicBezTo>
                    <a:pt x="20" y="17"/>
                    <a:pt x="16" y="20"/>
                    <a:pt x="13" y="27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15" y="1"/>
                    <a:pt x="44" y="0"/>
                    <a:pt x="53" y="19"/>
                  </a:cubicBezTo>
                  <a:cubicBezTo>
                    <a:pt x="55" y="24"/>
                    <a:pt x="56" y="29"/>
                    <a:pt x="56" y="35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97"/>
                    <a:pt x="59" y="99"/>
                    <a:pt x="62" y="99"/>
                  </a:cubicBezTo>
                  <a:cubicBezTo>
                    <a:pt x="62" y="108"/>
                    <a:pt x="62" y="108"/>
                    <a:pt x="62" y="108"/>
                  </a:cubicBezTo>
                  <a:cubicBezTo>
                    <a:pt x="57" y="109"/>
                    <a:pt x="52" y="106"/>
                    <a:pt x="50" y="100"/>
                  </a:cubicBezTo>
                  <a:cubicBezTo>
                    <a:pt x="44" y="109"/>
                    <a:pt x="37" y="111"/>
                    <a:pt x="30" y="111"/>
                  </a:cubicBezTo>
                  <a:cubicBezTo>
                    <a:pt x="27" y="111"/>
                    <a:pt x="24" y="110"/>
                    <a:pt x="21" y="109"/>
                  </a:cubicBezTo>
                  <a:cubicBezTo>
                    <a:pt x="2" y="101"/>
                    <a:pt x="0" y="67"/>
                    <a:pt x="14" y="53"/>
                  </a:cubicBezTo>
                  <a:cubicBezTo>
                    <a:pt x="22" y="44"/>
                    <a:pt x="36" y="43"/>
                    <a:pt x="49" y="47"/>
                  </a:cubicBezTo>
                  <a:lnTo>
                    <a:pt x="49" y="34"/>
                  </a:lnTo>
                  <a:close/>
                  <a:moveTo>
                    <a:pt x="49" y="57"/>
                  </a:moveTo>
                  <a:cubicBezTo>
                    <a:pt x="39" y="53"/>
                    <a:pt x="26" y="52"/>
                    <a:pt x="18" y="61"/>
                  </a:cubicBezTo>
                  <a:cubicBezTo>
                    <a:pt x="9" y="71"/>
                    <a:pt x="9" y="93"/>
                    <a:pt x="22" y="99"/>
                  </a:cubicBezTo>
                  <a:cubicBezTo>
                    <a:pt x="25" y="100"/>
                    <a:pt x="28" y="100"/>
                    <a:pt x="30" y="100"/>
                  </a:cubicBezTo>
                  <a:cubicBezTo>
                    <a:pt x="38" y="100"/>
                    <a:pt x="49" y="96"/>
                    <a:pt x="49" y="83"/>
                  </a:cubicBezTo>
                  <a:lnTo>
                    <a:pt x="49" y="57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8" name="Freeform 44"/>
            <p:cNvSpPr>
              <a:spLocks noEditPoints="1"/>
            </p:cNvSpPr>
            <p:nvPr userDrawn="1"/>
          </p:nvSpPr>
          <p:spPr bwMode="auto">
            <a:xfrm>
              <a:off x="4516" y="2593"/>
              <a:ext cx="362" cy="647"/>
            </a:xfrm>
            <a:custGeom>
              <a:avLst/>
              <a:gdLst>
                <a:gd name="T0" fmla="*/ 49 w 62"/>
                <a:gd name="T1" fmla="*/ 34 h 111"/>
                <a:gd name="T2" fmla="*/ 47 w 62"/>
                <a:gd name="T3" fmla="*/ 25 h 111"/>
                <a:gd name="T4" fmla="*/ 36 w 62"/>
                <a:gd name="T5" fmla="*/ 16 h 111"/>
                <a:gd name="T6" fmla="*/ 25 w 62"/>
                <a:gd name="T7" fmla="*/ 16 h 111"/>
                <a:gd name="T8" fmla="*/ 13 w 62"/>
                <a:gd name="T9" fmla="*/ 27 h 111"/>
                <a:gd name="T10" fmla="*/ 7 w 62"/>
                <a:gd name="T11" fmla="*/ 21 h 111"/>
                <a:gd name="T12" fmla="*/ 53 w 62"/>
                <a:gd name="T13" fmla="*/ 19 h 111"/>
                <a:gd name="T14" fmla="*/ 56 w 62"/>
                <a:gd name="T15" fmla="*/ 35 h 111"/>
                <a:gd name="T16" fmla="*/ 56 w 62"/>
                <a:gd name="T17" fmla="*/ 89 h 111"/>
                <a:gd name="T18" fmla="*/ 62 w 62"/>
                <a:gd name="T19" fmla="*/ 99 h 111"/>
                <a:gd name="T20" fmla="*/ 62 w 62"/>
                <a:gd name="T21" fmla="*/ 108 h 111"/>
                <a:gd name="T22" fmla="*/ 50 w 62"/>
                <a:gd name="T23" fmla="*/ 100 h 111"/>
                <a:gd name="T24" fmla="*/ 30 w 62"/>
                <a:gd name="T25" fmla="*/ 111 h 111"/>
                <a:gd name="T26" fmla="*/ 21 w 62"/>
                <a:gd name="T27" fmla="*/ 109 h 111"/>
                <a:gd name="T28" fmla="*/ 14 w 62"/>
                <a:gd name="T29" fmla="*/ 53 h 111"/>
                <a:gd name="T30" fmla="*/ 49 w 62"/>
                <a:gd name="T31" fmla="*/ 47 h 111"/>
                <a:gd name="T32" fmla="*/ 49 w 62"/>
                <a:gd name="T33" fmla="*/ 34 h 111"/>
                <a:gd name="T34" fmla="*/ 49 w 62"/>
                <a:gd name="T35" fmla="*/ 57 h 111"/>
                <a:gd name="T36" fmla="*/ 18 w 62"/>
                <a:gd name="T37" fmla="*/ 61 h 111"/>
                <a:gd name="T38" fmla="*/ 23 w 62"/>
                <a:gd name="T39" fmla="*/ 99 h 111"/>
                <a:gd name="T40" fmla="*/ 30 w 62"/>
                <a:gd name="T41" fmla="*/ 100 h 111"/>
                <a:gd name="T42" fmla="*/ 49 w 62"/>
                <a:gd name="T43" fmla="*/ 83 h 111"/>
                <a:gd name="T44" fmla="*/ 49 w 62"/>
                <a:gd name="T45" fmla="*/ 57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2" h="111">
                  <a:moveTo>
                    <a:pt x="49" y="34"/>
                  </a:moveTo>
                  <a:cubicBezTo>
                    <a:pt x="49" y="31"/>
                    <a:pt x="49" y="28"/>
                    <a:pt x="47" y="25"/>
                  </a:cubicBezTo>
                  <a:cubicBezTo>
                    <a:pt x="45" y="20"/>
                    <a:pt x="41" y="17"/>
                    <a:pt x="36" y="16"/>
                  </a:cubicBezTo>
                  <a:cubicBezTo>
                    <a:pt x="32" y="15"/>
                    <a:pt x="29" y="15"/>
                    <a:pt x="25" y="16"/>
                  </a:cubicBezTo>
                  <a:cubicBezTo>
                    <a:pt x="20" y="17"/>
                    <a:pt x="16" y="20"/>
                    <a:pt x="13" y="27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15" y="1"/>
                    <a:pt x="44" y="0"/>
                    <a:pt x="53" y="19"/>
                  </a:cubicBezTo>
                  <a:cubicBezTo>
                    <a:pt x="55" y="24"/>
                    <a:pt x="56" y="29"/>
                    <a:pt x="56" y="35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97"/>
                    <a:pt x="59" y="99"/>
                    <a:pt x="62" y="99"/>
                  </a:cubicBezTo>
                  <a:cubicBezTo>
                    <a:pt x="62" y="108"/>
                    <a:pt x="62" y="108"/>
                    <a:pt x="62" y="108"/>
                  </a:cubicBezTo>
                  <a:cubicBezTo>
                    <a:pt x="57" y="109"/>
                    <a:pt x="52" y="106"/>
                    <a:pt x="50" y="100"/>
                  </a:cubicBezTo>
                  <a:cubicBezTo>
                    <a:pt x="44" y="109"/>
                    <a:pt x="37" y="111"/>
                    <a:pt x="30" y="111"/>
                  </a:cubicBezTo>
                  <a:cubicBezTo>
                    <a:pt x="27" y="111"/>
                    <a:pt x="24" y="110"/>
                    <a:pt x="21" y="109"/>
                  </a:cubicBezTo>
                  <a:cubicBezTo>
                    <a:pt x="2" y="101"/>
                    <a:pt x="0" y="67"/>
                    <a:pt x="14" y="53"/>
                  </a:cubicBezTo>
                  <a:cubicBezTo>
                    <a:pt x="22" y="44"/>
                    <a:pt x="36" y="43"/>
                    <a:pt x="49" y="47"/>
                  </a:cubicBezTo>
                  <a:lnTo>
                    <a:pt x="49" y="34"/>
                  </a:lnTo>
                  <a:close/>
                  <a:moveTo>
                    <a:pt x="49" y="57"/>
                  </a:moveTo>
                  <a:cubicBezTo>
                    <a:pt x="39" y="53"/>
                    <a:pt x="26" y="52"/>
                    <a:pt x="18" y="61"/>
                  </a:cubicBezTo>
                  <a:cubicBezTo>
                    <a:pt x="9" y="71"/>
                    <a:pt x="10" y="93"/>
                    <a:pt x="23" y="99"/>
                  </a:cubicBezTo>
                  <a:cubicBezTo>
                    <a:pt x="25" y="100"/>
                    <a:pt x="28" y="100"/>
                    <a:pt x="30" y="100"/>
                  </a:cubicBezTo>
                  <a:cubicBezTo>
                    <a:pt x="38" y="100"/>
                    <a:pt x="49" y="96"/>
                    <a:pt x="49" y="83"/>
                  </a:cubicBezTo>
                  <a:lnTo>
                    <a:pt x="49" y="57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0" name="Freeform 36"/>
            <p:cNvSpPr>
              <a:spLocks/>
            </p:cNvSpPr>
            <p:nvPr userDrawn="1"/>
          </p:nvSpPr>
          <p:spPr bwMode="auto">
            <a:xfrm>
              <a:off x="1832" y="2622"/>
              <a:ext cx="506" cy="601"/>
            </a:xfrm>
            <a:custGeom>
              <a:avLst/>
              <a:gdLst>
                <a:gd name="T0" fmla="*/ 47 w 87"/>
                <a:gd name="T1" fmla="*/ 103 h 103"/>
                <a:gd name="T2" fmla="*/ 40 w 87"/>
                <a:gd name="T3" fmla="*/ 103 h 103"/>
                <a:gd name="T4" fmla="*/ 40 w 87"/>
                <a:gd name="T5" fmla="*/ 28 h 103"/>
                <a:gd name="T6" fmla="*/ 24 w 87"/>
                <a:gd name="T7" fmla="*/ 9 h 103"/>
                <a:gd name="T8" fmla="*/ 7 w 87"/>
                <a:gd name="T9" fmla="*/ 31 h 103"/>
                <a:gd name="T10" fmla="*/ 7 w 87"/>
                <a:gd name="T11" fmla="*/ 103 h 103"/>
                <a:gd name="T12" fmla="*/ 0 w 87"/>
                <a:gd name="T13" fmla="*/ 103 h 103"/>
                <a:gd name="T14" fmla="*/ 0 w 87"/>
                <a:gd name="T15" fmla="*/ 1 h 103"/>
                <a:gd name="T16" fmla="*/ 7 w 87"/>
                <a:gd name="T17" fmla="*/ 1 h 103"/>
                <a:gd name="T18" fmla="*/ 7 w 87"/>
                <a:gd name="T19" fmla="*/ 11 h 103"/>
                <a:gd name="T20" fmla="*/ 25 w 87"/>
                <a:gd name="T21" fmla="*/ 0 h 103"/>
                <a:gd name="T22" fmla="*/ 44 w 87"/>
                <a:gd name="T23" fmla="*/ 15 h 103"/>
                <a:gd name="T24" fmla="*/ 64 w 87"/>
                <a:gd name="T25" fmla="*/ 1 h 103"/>
                <a:gd name="T26" fmla="*/ 87 w 87"/>
                <a:gd name="T27" fmla="*/ 29 h 103"/>
                <a:gd name="T28" fmla="*/ 87 w 87"/>
                <a:gd name="T29" fmla="*/ 103 h 103"/>
                <a:gd name="T30" fmla="*/ 80 w 87"/>
                <a:gd name="T31" fmla="*/ 103 h 103"/>
                <a:gd name="T32" fmla="*/ 80 w 87"/>
                <a:gd name="T33" fmla="*/ 29 h 103"/>
                <a:gd name="T34" fmla="*/ 64 w 87"/>
                <a:gd name="T35" fmla="*/ 10 h 103"/>
                <a:gd name="T36" fmla="*/ 47 w 87"/>
                <a:gd name="T37" fmla="*/ 28 h 103"/>
                <a:gd name="T38" fmla="*/ 47 w 87"/>
                <a:gd name="T39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7" h="103">
                  <a:moveTo>
                    <a:pt x="47" y="103"/>
                  </a:moveTo>
                  <a:cubicBezTo>
                    <a:pt x="40" y="103"/>
                    <a:pt x="40" y="103"/>
                    <a:pt x="40" y="103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15"/>
                    <a:pt x="32" y="9"/>
                    <a:pt x="24" y="9"/>
                  </a:cubicBezTo>
                  <a:cubicBezTo>
                    <a:pt x="15" y="10"/>
                    <a:pt x="7" y="18"/>
                    <a:pt x="7" y="31"/>
                  </a:cubicBezTo>
                  <a:cubicBezTo>
                    <a:pt x="7" y="103"/>
                    <a:pt x="7" y="103"/>
                    <a:pt x="7" y="103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12" y="3"/>
                    <a:pt x="19" y="0"/>
                    <a:pt x="25" y="0"/>
                  </a:cubicBezTo>
                  <a:cubicBezTo>
                    <a:pt x="33" y="0"/>
                    <a:pt x="41" y="5"/>
                    <a:pt x="44" y="15"/>
                  </a:cubicBezTo>
                  <a:cubicBezTo>
                    <a:pt x="48" y="5"/>
                    <a:pt x="56" y="1"/>
                    <a:pt x="64" y="1"/>
                  </a:cubicBezTo>
                  <a:cubicBezTo>
                    <a:pt x="76" y="1"/>
                    <a:pt x="87" y="10"/>
                    <a:pt x="87" y="29"/>
                  </a:cubicBezTo>
                  <a:cubicBezTo>
                    <a:pt x="87" y="103"/>
                    <a:pt x="87" y="103"/>
                    <a:pt x="87" y="103"/>
                  </a:cubicBezTo>
                  <a:cubicBezTo>
                    <a:pt x="80" y="103"/>
                    <a:pt x="80" y="103"/>
                    <a:pt x="80" y="103"/>
                  </a:cubicBezTo>
                  <a:cubicBezTo>
                    <a:pt x="80" y="29"/>
                    <a:pt x="80" y="29"/>
                    <a:pt x="80" y="29"/>
                  </a:cubicBezTo>
                  <a:cubicBezTo>
                    <a:pt x="80" y="16"/>
                    <a:pt x="72" y="10"/>
                    <a:pt x="64" y="10"/>
                  </a:cubicBezTo>
                  <a:cubicBezTo>
                    <a:pt x="56" y="10"/>
                    <a:pt x="47" y="16"/>
                    <a:pt x="47" y="28"/>
                  </a:cubicBezTo>
                  <a:lnTo>
                    <a:pt x="47" y="103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2" name="Freeform 38"/>
            <p:cNvSpPr>
              <a:spLocks/>
            </p:cNvSpPr>
            <p:nvPr userDrawn="1"/>
          </p:nvSpPr>
          <p:spPr bwMode="auto">
            <a:xfrm>
              <a:off x="2822" y="2622"/>
              <a:ext cx="291" cy="612"/>
            </a:xfrm>
            <a:custGeom>
              <a:avLst/>
              <a:gdLst>
                <a:gd name="T0" fmla="*/ 50 w 50"/>
                <a:gd name="T1" fmla="*/ 76 h 105"/>
                <a:gd name="T2" fmla="*/ 35 w 50"/>
                <a:gd name="T3" fmla="*/ 102 h 105"/>
                <a:gd name="T4" fmla="*/ 35 w 50"/>
                <a:gd name="T5" fmla="*/ 102 h 105"/>
                <a:gd name="T6" fmla="*/ 15 w 50"/>
                <a:gd name="T7" fmla="*/ 102 h 105"/>
                <a:gd name="T8" fmla="*/ 0 w 50"/>
                <a:gd name="T9" fmla="*/ 76 h 105"/>
                <a:gd name="T10" fmla="*/ 0 w 50"/>
                <a:gd name="T11" fmla="*/ 29 h 105"/>
                <a:gd name="T12" fmla="*/ 15 w 50"/>
                <a:gd name="T13" fmla="*/ 2 h 105"/>
                <a:gd name="T14" fmla="*/ 25 w 50"/>
                <a:gd name="T15" fmla="*/ 0 h 105"/>
                <a:gd name="T16" fmla="*/ 35 w 50"/>
                <a:gd name="T17" fmla="*/ 2 h 105"/>
                <a:gd name="T18" fmla="*/ 50 w 50"/>
                <a:gd name="T19" fmla="*/ 29 h 105"/>
                <a:gd name="T20" fmla="*/ 44 w 50"/>
                <a:gd name="T21" fmla="*/ 29 h 105"/>
                <a:gd name="T22" fmla="*/ 33 w 50"/>
                <a:gd name="T23" fmla="*/ 12 h 105"/>
                <a:gd name="T24" fmla="*/ 25 w 50"/>
                <a:gd name="T25" fmla="*/ 11 h 105"/>
                <a:gd name="T26" fmla="*/ 17 w 50"/>
                <a:gd name="T27" fmla="*/ 12 h 105"/>
                <a:gd name="T28" fmla="*/ 7 w 50"/>
                <a:gd name="T29" fmla="*/ 29 h 105"/>
                <a:gd name="T30" fmla="*/ 7 w 50"/>
                <a:gd name="T31" fmla="*/ 76 h 105"/>
                <a:gd name="T32" fmla="*/ 17 w 50"/>
                <a:gd name="T33" fmla="*/ 92 h 105"/>
                <a:gd name="T34" fmla="*/ 33 w 50"/>
                <a:gd name="T35" fmla="*/ 92 h 105"/>
                <a:gd name="T36" fmla="*/ 33 w 50"/>
                <a:gd name="T37" fmla="*/ 92 h 105"/>
                <a:gd name="T38" fmla="*/ 44 w 50"/>
                <a:gd name="T39" fmla="*/ 76 h 105"/>
                <a:gd name="T40" fmla="*/ 50 w 50"/>
                <a:gd name="T41" fmla="*/ 76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0" h="105">
                  <a:moveTo>
                    <a:pt x="50" y="76"/>
                  </a:moveTo>
                  <a:cubicBezTo>
                    <a:pt x="50" y="90"/>
                    <a:pt x="44" y="99"/>
                    <a:pt x="35" y="102"/>
                  </a:cubicBezTo>
                  <a:cubicBezTo>
                    <a:pt x="35" y="102"/>
                    <a:pt x="35" y="102"/>
                    <a:pt x="35" y="102"/>
                  </a:cubicBezTo>
                  <a:cubicBezTo>
                    <a:pt x="29" y="105"/>
                    <a:pt x="22" y="105"/>
                    <a:pt x="15" y="102"/>
                  </a:cubicBezTo>
                  <a:cubicBezTo>
                    <a:pt x="7" y="99"/>
                    <a:pt x="0" y="90"/>
                    <a:pt x="0" y="76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4"/>
                    <a:pt x="7" y="6"/>
                    <a:pt x="15" y="2"/>
                  </a:cubicBezTo>
                  <a:cubicBezTo>
                    <a:pt x="18" y="1"/>
                    <a:pt x="22" y="0"/>
                    <a:pt x="25" y="0"/>
                  </a:cubicBezTo>
                  <a:cubicBezTo>
                    <a:pt x="28" y="0"/>
                    <a:pt x="32" y="1"/>
                    <a:pt x="35" y="2"/>
                  </a:cubicBezTo>
                  <a:cubicBezTo>
                    <a:pt x="44" y="6"/>
                    <a:pt x="50" y="15"/>
                    <a:pt x="50" y="29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0"/>
                    <a:pt x="39" y="15"/>
                    <a:pt x="33" y="12"/>
                  </a:cubicBezTo>
                  <a:cubicBezTo>
                    <a:pt x="31" y="11"/>
                    <a:pt x="28" y="11"/>
                    <a:pt x="25" y="11"/>
                  </a:cubicBezTo>
                  <a:cubicBezTo>
                    <a:pt x="22" y="11"/>
                    <a:pt x="20" y="11"/>
                    <a:pt x="17" y="12"/>
                  </a:cubicBezTo>
                  <a:cubicBezTo>
                    <a:pt x="12" y="14"/>
                    <a:pt x="7" y="19"/>
                    <a:pt x="7" y="29"/>
                  </a:cubicBezTo>
                  <a:cubicBezTo>
                    <a:pt x="7" y="76"/>
                    <a:pt x="7" y="76"/>
                    <a:pt x="7" y="76"/>
                  </a:cubicBezTo>
                  <a:cubicBezTo>
                    <a:pt x="7" y="85"/>
                    <a:pt x="12" y="90"/>
                    <a:pt x="17" y="92"/>
                  </a:cubicBezTo>
                  <a:cubicBezTo>
                    <a:pt x="22" y="95"/>
                    <a:pt x="28" y="95"/>
                    <a:pt x="33" y="92"/>
                  </a:cubicBezTo>
                  <a:cubicBezTo>
                    <a:pt x="33" y="92"/>
                    <a:pt x="33" y="92"/>
                    <a:pt x="33" y="92"/>
                  </a:cubicBezTo>
                  <a:cubicBezTo>
                    <a:pt x="39" y="90"/>
                    <a:pt x="44" y="85"/>
                    <a:pt x="44" y="76"/>
                  </a:cubicBezTo>
                  <a:lnTo>
                    <a:pt x="50" y="76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5" name="Freeform 41"/>
            <p:cNvSpPr>
              <a:spLocks noEditPoints="1"/>
            </p:cNvSpPr>
            <p:nvPr userDrawn="1"/>
          </p:nvSpPr>
          <p:spPr bwMode="auto">
            <a:xfrm>
              <a:off x="3573" y="2622"/>
              <a:ext cx="326" cy="606"/>
            </a:xfrm>
            <a:custGeom>
              <a:avLst/>
              <a:gdLst>
                <a:gd name="T0" fmla="*/ 7 w 56"/>
                <a:gd name="T1" fmla="*/ 75 h 104"/>
                <a:gd name="T2" fmla="*/ 8 w 56"/>
                <a:gd name="T3" fmla="*/ 84 h 104"/>
                <a:gd name="T4" fmla="*/ 20 w 56"/>
                <a:gd name="T5" fmla="*/ 93 h 104"/>
                <a:gd name="T6" fmla="*/ 30 w 56"/>
                <a:gd name="T7" fmla="*/ 93 h 104"/>
                <a:gd name="T8" fmla="*/ 43 w 56"/>
                <a:gd name="T9" fmla="*/ 82 h 104"/>
                <a:gd name="T10" fmla="*/ 49 w 56"/>
                <a:gd name="T11" fmla="*/ 88 h 104"/>
                <a:gd name="T12" fmla="*/ 31 w 56"/>
                <a:gd name="T13" fmla="*/ 103 h 104"/>
                <a:gd name="T14" fmla="*/ 19 w 56"/>
                <a:gd name="T15" fmla="*/ 103 h 104"/>
                <a:gd name="T16" fmla="*/ 3 w 56"/>
                <a:gd name="T17" fmla="*/ 90 h 104"/>
                <a:gd name="T18" fmla="*/ 0 w 56"/>
                <a:gd name="T19" fmla="*/ 74 h 104"/>
                <a:gd name="T20" fmla="*/ 0 w 56"/>
                <a:gd name="T21" fmla="*/ 28 h 104"/>
                <a:gd name="T22" fmla="*/ 15 w 56"/>
                <a:gd name="T23" fmla="*/ 2 h 104"/>
                <a:gd name="T24" fmla="*/ 35 w 56"/>
                <a:gd name="T25" fmla="*/ 2 h 104"/>
                <a:gd name="T26" fmla="*/ 39 w 56"/>
                <a:gd name="T27" fmla="*/ 59 h 104"/>
                <a:gd name="T28" fmla="*/ 7 w 56"/>
                <a:gd name="T29" fmla="*/ 64 h 104"/>
                <a:gd name="T30" fmla="*/ 7 w 56"/>
                <a:gd name="T31" fmla="*/ 75 h 104"/>
                <a:gd name="T32" fmla="*/ 7 w 56"/>
                <a:gd name="T33" fmla="*/ 55 h 104"/>
                <a:gd name="T34" fmla="*/ 36 w 56"/>
                <a:gd name="T35" fmla="*/ 50 h 104"/>
                <a:gd name="T36" fmla="*/ 33 w 56"/>
                <a:gd name="T37" fmla="*/ 12 h 104"/>
                <a:gd name="T38" fmla="*/ 17 w 56"/>
                <a:gd name="T39" fmla="*/ 12 h 104"/>
                <a:gd name="T40" fmla="*/ 7 w 56"/>
                <a:gd name="T41" fmla="*/ 28 h 104"/>
                <a:gd name="T42" fmla="*/ 7 w 56"/>
                <a:gd name="T43" fmla="*/ 55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6" h="104">
                  <a:moveTo>
                    <a:pt x="7" y="75"/>
                  </a:moveTo>
                  <a:cubicBezTo>
                    <a:pt x="7" y="78"/>
                    <a:pt x="7" y="81"/>
                    <a:pt x="8" y="84"/>
                  </a:cubicBezTo>
                  <a:cubicBezTo>
                    <a:pt x="11" y="88"/>
                    <a:pt x="15" y="92"/>
                    <a:pt x="20" y="93"/>
                  </a:cubicBezTo>
                  <a:cubicBezTo>
                    <a:pt x="23" y="94"/>
                    <a:pt x="27" y="94"/>
                    <a:pt x="30" y="93"/>
                  </a:cubicBezTo>
                  <a:cubicBezTo>
                    <a:pt x="35" y="92"/>
                    <a:pt x="40" y="89"/>
                    <a:pt x="43" y="82"/>
                  </a:cubicBezTo>
                  <a:cubicBezTo>
                    <a:pt x="49" y="88"/>
                    <a:pt x="49" y="88"/>
                    <a:pt x="49" y="88"/>
                  </a:cubicBezTo>
                  <a:cubicBezTo>
                    <a:pt x="45" y="97"/>
                    <a:pt x="38" y="102"/>
                    <a:pt x="31" y="103"/>
                  </a:cubicBezTo>
                  <a:cubicBezTo>
                    <a:pt x="27" y="104"/>
                    <a:pt x="23" y="104"/>
                    <a:pt x="19" y="103"/>
                  </a:cubicBezTo>
                  <a:cubicBezTo>
                    <a:pt x="13" y="102"/>
                    <a:pt x="6" y="97"/>
                    <a:pt x="3" y="90"/>
                  </a:cubicBezTo>
                  <a:cubicBezTo>
                    <a:pt x="1" y="85"/>
                    <a:pt x="0" y="80"/>
                    <a:pt x="0" y="74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4"/>
                    <a:pt x="7" y="6"/>
                    <a:pt x="15" y="2"/>
                  </a:cubicBezTo>
                  <a:cubicBezTo>
                    <a:pt x="22" y="0"/>
                    <a:pt x="29" y="0"/>
                    <a:pt x="35" y="2"/>
                  </a:cubicBezTo>
                  <a:cubicBezTo>
                    <a:pt x="53" y="10"/>
                    <a:pt x="56" y="46"/>
                    <a:pt x="39" y="59"/>
                  </a:cubicBezTo>
                  <a:cubicBezTo>
                    <a:pt x="30" y="67"/>
                    <a:pt x="16" y="64"/>
                    <a:pt x="7" y="64"/>
                  </a:cubicBezTo>
                  <a:lnTo>
                    <a:pt x="7" y="75"/>
                  </a:lnTo>
                  <a:close/>
                  <a:moveTo>
                    <a:pt x="7" y="55"/>
                  </a:moveTo>
                  <a:cubicBezTo>
                    <a:pt x="13" y="55"/>
                    <a:pt x="27" y="57"/>
                    <a:pt x="36" y="50"/>
                  </a:cubicBezTo>
                  <a:cubicBezTo>
                    <a:pt x="47" y="42"/>
                    <a:pt x="45" y="17"/>
                    <a:pt x="33" y="12"/>
                  </a:cubicBezTo>
                  <a:cubicBezTo>
                    <a:pt x="28" y="10"/>
                    <a:pt x="22" y="10"/>
                    <a:pt x="17" y="12"/>
                  </a:cubicBezTo>
                  <a:cubicBezTo>
                    <a:pt x="11" y="15"/>
                    <a:pt x="7" y="20"/>
                    <a:pt x="7" y="28"/>
                  </a:cubicBezTo>
                  <a:lnTo>
                    <a:pt x="7" y="55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6" name="Freeform 42"/>
            <p:cNvSpPr>
              <a:spLocks/>
            </p:cNvSpPr>
            <p:nvPr userDrawn="1"/>
          </p:nvSpPr>
          <p:spPr bwMode="auto">
            <a:xfrm>
              <a:off x="3934" y="2622"/>
              <a:ext cx="297" cy="601"/>
            </a:xfrm>
            <a:custGeom>
              <a:avLst/>
              <a:gdLst>
                <a:gd name="T0" fmla="*/ 44 w 51"/>
                <a:gd name="T1" fmla="*/ 103 h 103"/>
                <a:gd name="T2" fmla="*/ 44 w 51"/>
                <a:gd name="T3" fmla="*/ 29 h 103"/>
                <a:gd name="T4" fmla="*/ 26 w 51"/>
                <a:gd name="T5" fmla="*/ 10 h 103"/>
                <a:gd name="T6" fmla="*/ 7 w 51"/>
                <a:gd name="T7" fmla="*/ 31 h 103"/>
                <a:gd name="T8" fmla="*/ 7 w 51"/>
                <a:gd name="T9" fmla="*/ 103 h 103"/>
                <a:gd name="T10" fmla="*/ 0 w 51"/>
                <a:gd name="T11" fmla="*/ 103 h 103"/>
                <a:gd name="T12" fmla="*/ 0 w 51"/>
                <a:gd name="T13" fmla="*/ 1 h 103"/>
                <a:gd name="T14" fmla="*/ 7 w 51"/>
                <a:gd name="T15" fmla="*/ 1 h 103"/>
                <a:gd name="T16" fmla="*/ 7 w 51"/>
                <a:gd name="T17" fmla="*/ 11 h 103"/>
                <a:gd name="T18" fmla="*/ 26 w 51"/>
                <a:gd name="T19" fmla="*/ 0 h 103"/>
                <a:gd name="T20" fmla="*/ 51 w 51"/>
                <a:gd name="T21" fmla="*/ 29 h 103"/>
                <a:gd name="T22" fmla="*/ 51 w 51"/>
                <a:gd name="T23" fmla="*/ 103 h 103"/>
                <a:gd name="T24" fmla="*/ 44 w 51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1" h="103">
                  <a:moveTo>
                    <a:pt x="44" y="103"/>
                  </a:moveTo>
                  <a:cubicBezTo>
                    <a:pt x="44" y="29"/>
                    <a:pt x="44" y="29"/>
                    <a:pt x="44" y="29"/>
                  </a:cubicBezTo>
                  <a:cubicBezTo>
                    <a:pt x="44" y="17"/>
                    <a:pt x="35" y="10"/>
                    <a:pt x="26" y="10"/>
                  </a:cubicBezTo>
                  <a:cubicBezTo>
                    <a:pt x="17" y="10"/>
                    <a:pt x="7" y="17"/>
                    <a:pt x="7" y="31"/>
                  </a:cubicBezTo>
                  <a:cubicBezTo>
                    <a:pt x="7" y="103"/>
                    <a:pt x="7" y="103"/>
                    <a:pt x="7" y="103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12" y="2"/>
                    <a:pt x="19" y="0"/>
                    <a:pt x="26" y="0"/>
                  </a:cubicBezTo>
                  <a:cubicBezTo>
                    <a:pt x="38" y="0"/>
                    <a:pt x="51" y="9"/>
                    <a:pt x="51" y="29"/>
                  </a:cubicBezTo>
                  <a:cubicBezTo>
                    <a:pt x="51" y="103"/>
                    <a:pt x="51" y="103"/>
                    <a:pt x="51" y="103"/>
                  </a:cubicBezTo>
                  <a:lnTo>
                    <a:pt x="44" y="103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9" name="Freeform 45"/>
            <p:cNvSpPr>
              <a:spLocks/>
            </p:cNvSpPr>
            <p:nvPr userDrawn="1"/>
          </p:nvSpPr>
          <p:spPr bwMode="auto">
            <a:xfrm>
              <a:off x="4953" y="2622"/>
              <a:ext cx="291" cy="601"/>
            </a:xfrm>
            <a:custGeom>
              <a:avLst/>
              <a:gdLst>
                <a:gd name="T0" fmla="*/ 44 w 50"/>
                <a:gd name="T1" fmla="*/ 103 h 103"/>
                <a:gd name="T2" fmla="*/ 44 w 50"/>
                <a:gd name="T3" fmla="*/ 29 h 103"/>
                <a:gd name="T4" fmla="*/ 25 w 50"/>
                <a:gd name="T5" fmla="*/ 10 h 103"/>
                <a:gd name="T6" fmla="*/ 7 w 50"/>
                <a:gd name="T7" fmla="*/ 31 h 103"/>
                <a:gd name="T8" fmla="*/ 7 w 50"/>
                <a:gd name="T9" fmla="*/ 103 h 103"/>
                <a:gd name="T10" fmla="*/ 0 w 50"/>
                <a:gd name="T11" fmla="*/ 103 h 103"/>
                <a:gd name="T12" fmla="*/ 0 w 50"/>
                <a:gd name="T13" fmla="*/ 1 h 103"/>
                <a:gd name="T14" fmla="*/ 7 w 50"/>
                <a:gd name="T15" fmla="*/ 1 h 103"/>
                <a:gd name="T16" fmla="*/ 7 w 50"/>
                <a:gd name="T17" fmla="*/ 11 h 103"/>
                <a:gd name="T18" fmla="*/ 25 w 50"/>
                <a:gd name="T19" fmla="*/ 0 h 103"/>
                <a:gd name="T20" fmla="*/ 50 w 50"/>
                <a:gd name="T21" fmla="*/ 29 h 103"/>
                <a:gd name="T22" fmla="*/ 50 w 50"/>
                <a:gd name="T23" fmla="*/ 103 h 103"/>
                <a:gd name="T24" fmla="*/ 44 w 50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103">
                  <a:moveTo>
                    <a:pt x="44" y="103"/>
                  </a:moveTo>
                  <a:cubicBezTo>
                    <a:pt x="44" y="29"/>
                    <a:pt x="44" y="29"/>
                    <a:pt x="44" y="29"/>
                  </a:cubicBezTo>
                  <a:cubicBezTo>
                    <a:pt x="44" y="17"/>
                    <a:pt x="34" y="10"/>
                    <a:pt x="25" y="10"/>
                  </a:cubicBezTo>
                  <a:cubicBezTo>
                    <a:pt x="16" y="10"/>
                    <a:pt x="7" y="17"/>
                    <a:pt x="7" y="31"/>
                  </a:cubicBezTo>
                  <a:cubicBezTo>
                    <a:pt x="7" y="103"/>
                    <a:pt x="7" y="103"/>
                    <a:pt x="7" y="103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12" y="2"/>
                    <a:pt x="19" y="0"/>
                    <a:pt x="25" y="0"/>
                  </a:cubicBezTo>
                  <a:cubicBezTo>
                    <a:pt x="38" y="0"/>
                    <a:pt x="50" y="9"/>
                    <a:pt x="50" y="29"/>
                  </a:cubicBezTo>
                  <a:cubicBezTo>
                    <a:pt x="50" y="103"/>
                    <a:pt x="50" y="103"/>
                    <a:pt x="50" y="103"/>
                  </a:cubicBezTo>
                  <a:lnTo>
                    <a:pt x="44" y="103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</p:grpSp>
      <p:grpSp>
        <p:nvGrpSpPr>
          <p:cNvPr id="2" name="Group 8"/>
          <p:cNvGrpSpPr>
            <a:grpSpLocks noChangeAspect="1"/>
          </p:cNvGrpSpPr>
          <p:nvPr userDrawn="1"/>
        </p:nvGrpSpPr>
        <p:grpSpPr bwMode="auto">
          <a:xfrm>
            <a:off x="10208146" y="5766392"/>
            <a:ext cx="1649421" cy="887653"/>
            <a:chOff x="4458" y="2489"/>
            <a:chExt cx="1022" cy="550"/>
          </a:xfrm>
        </p:grpSpPr>
        <p:sp>
          <p:nvSpPr>
            <p:cNvPr id="8" name="Freeform 12"/>
            <p:cNvSpPr>
              <a:spLocks noEditPoints="1"/>
            </p:cNvSpPr>
            <p:nvPr userDrawn="1"/>
          </p:nvSpPr>
          <p:spPr bwMode="auto">
            <a:xfrm>
              <a:off x="4458" y="2489"/>
              <a:ext cx="517" cy="320"/>
            </a:xfrm>
            <a:custGeom>
              <a:avLst/>
              <a:gdLst>
                <a:gd name="T0" fmla="*/ 1280 w 4081"/>
                <a:gd name="T1" fmla="*/ 2149 h 2517"/>
                <a:gd name="T2" fmla="*/ 1557 w 4081"/>
                <a:gd name="T3" fmla="*/ 2392 h 2517"/>
                <a:gd name="T4" fmla="*/ 1280 w 4081"/>
                <a:gd name="T5" fmla="*/ 2149 h 2517"/>
                <a:gd name="T6" fmla="*/ 1136 w 4081"/>
                <a:gd name="T7" fmla="*/ 2284 h 2517"/>
                <a:gd name="T8" fmla="*/ 1082 w 4081"/>
                <a:gd name="T9" fmla="*/ 2094 h 2517"/>
                <a:gd name="T10" fmla="*/ 948 w 4081"/>
                <a:gd name="T11" fmla="*/ 2190 h 2517"/>
                <a:gd name="T12" fmla="*/ 1136 w 4081"/>
                <a:gd name="T13" fmla="*/ 2284 h 2517"/>
                <a:gd name="T14" fmla="*/ 524 w 4081"/>
                <a:gd name="T15" fmla="*/ 1811 h 2517"/>
                <a:gd name="T16" fmla="*/ 702 w 4081"/>
                <a:gd name="T17" fmla="*/ 2172 h 2517"/>
                <a:gd name="T18" fmla="*/ 524 w 4081"/>
                <a:gd name="T19" fmla="*/ 1811 h 2517"/>
                <a:gd name="T20" fmla="*/ 526 w 4081"/>
                <a:gd name="T21" fmla="*/ 1307 h 2517"/>
                <a:gd name="T22" fmla="*/ 559 w 4081"/>
                <a:gd name="T23" fmla="*/ 1513 h 2517"/>
                <a:gd name="T24" fmla="*/ 653 w 4081"/>
                <a:gd name="T25" fmla="*/ 1160 h 2517"/>
                <a:gd name="T26" fmla="*/ 526 w 4081"/>
                <a:gd name="T27" fmla="*/ 1307 h 2517"/>
                <a:gd name="T28" fmla="*/ 871 w 4081"/>
                <a:gd name="T29" fmla="*/ 1374 h 2517"/>
                <a:gd name="T30" fmla="*/ 882 w 4081"/>
                <a:gd name="T31" fmla="*/ 1723 h 2517"/>
                <a:gd name="T32" fmla="*/ 871 w 4081"/>
                <a:gd name="T33" fmla="*/ 1374 h 2517"/>
                <a:gd name="T34" fmla="*/ 1600 w 4081"/>
                <a:gd name="T35" fmla="*/ 344 h 2517"/>
                <a:gd name="T36" fmla="*/ 1560 w 4081"/>
                <a:gd name="T37" fmla="*/ 379 h 2517"/>
                <a:gd name="T38" fmla="*/ 1837 w 4081"/>
                <a:gd name="T39" fmla="*/ 332 h 2517"/>
                <a:gd name="T40" fmla="*/ 1600 w 4081"/>
                <a:gd name="T41" fmla="*/ 344 h 2517"/>
                <a:gd name="T42" fmla="*/ 1114 w 4081"/>
                <a:gd name="T43" fmla="*/ 561 h 2517"/>
                <a:gd name="T44" fmla="*/ 1418 w 4081"/>
                <a:gd name="T45" fmla="*/ 420 h 2517"/>
                <a:gd name="T46" fmla="*/ 1114 w 4081"/>
                <a:gd name="T47" fmla="*/ 561 h 2517"/>
                <a:gd name="T48" fmla="*/ 1453 w 4081"/>
                <a:gd name="T49" fmla="*/ 582 h 2517"/>
                <a:gd name="T50" fmla="*/ 1259 w 4081"/>
                <a:gd name="T51" fmla="*/ 676 h 2517"/>
                <a:gd name="T52" fmla="*/ 1405 w 4081"/>
                <a:gd name="T53" fmla="*/ 651 h 2517"/>
                <a:gd name="T54" fmla="*/ 1453 w 4081"/>
                <a:gd name="T55" fmla="*/ 582 h 2517"/>
                <a:gd name="T56" fmla="*/ 912 w 4081"/>
                <a:gd name="T57" fmla="*/ 1018 h 2517"/>
                <a:gd name="T58" fmla="*/ 1053 w 4081"/>
                <a:gd name="T59" fmla="*/ 995 h 2517"/>
                <a:gd name="T60" fmla="*/ 912 w 4081"/>
                <a:gd name="T61" fmla="*/ 1018 h 2517"/>
                <a:gd name="T62" fmla="*/ 871 w 4081"/>
                <a:gd name="T63" fmla="*/ 724 h 2517"/>
                <a:gd name="T64" fmla="*/ 777 w 4081"/>
                <a:gd name="T65" fmla="*/ 817 h 2517"/>
                <a:gd name="T66" fmla="*/ 937 w 4081"/>
                <a:gd name="T67" fmla="*/ 825 h 2517"/>
                <a:gd name="T68" fmla="*/ 871 w 4081"/>
                <a:gd name="T69" fmla="*/ 724 h 2517"/>
                <a:gd name="T70" fmla="*/ 1064 w 4081"/>
                <a:gd name="T71" fmla="*/ 1215 h 2517"/>
                <a:gd name="T72" fmla="*/ 1104 w 4081"/>
                <a:gd name="T73" fmla="*/ 1345 h 2517"/>
                <a:gd name="T74" fmla="*/ 1179 w 4081"/>
                <a:gd name="T75" fmla="*/ 1037 h 2517"/>
                <a:gd name="T76" fmla="*/ 1064 w 4081"/>
                <a:gd name="T77" fmla="*/ 1215 h 2517"/>
                <a:gd name="T78" fmla="*/ 1078 w 4081"/>
                <a:gd name="T79" fmla="*/ 1767 h 2517"/>
                <a:gd name="T80" fmla="*/ 1195 w 4081"/>
                <a:gd name="T81" fmla="*/ 1717 h 2517"/>
                <a:gd name="T82" fmla="*/ 1078 w 4081"/>
                <a:gd name="T83" fmla="*/ 1767 h 2517"/>
                <a:gd name="T84" fmla="*/ 339 w 4081"/>
                <a:gd name="T85" fmla="*/ 1073 h 2517"/>
                <a:gd name="T86" fmla="*/ 1357 w 4081"/>
                <a:gd name="T87" fmla="*/ 200 h 2517"/>
                <a:gd name="T88" fmla="*/ 4081 w 4081"/>
                <a:gd name="T89" fmla="*/ 1257 h 2517"/>
                <a:gd name="T90" fmla="*/ 1260 w 4081"/>
                <a:gd name="T91" fmla="*/ 336 h 2517"/>
                <a:gd name="T92" fmla="*/ 497 w 4081"/>
                <a:gd name="T93" fmla="*/ 2517 h 25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081" h="2517">
                  <a:moveTo>
                    <a:pt x="1280" y="2149"/>
                  </a:moveTo>
                  <a:lnTo>
                    <a:pt x="1280" y="2149"/>
                  </a:lnTo>
                  <a:cubicBezTo>
                    <a:pt x="1255" y="2174"/>
                    <a:pt x="1292" y="2247"/>
                    <a:pt x="1359" y="2314"/>
                  </a:cubicBezTo>
                  <a:cubicBezTo>
                    <a:pt x="1419" y="2375"/>
                    <a:pt x="1535" y="2439"/>
                    <a:pt x="1557" y="2392"/>
                  </a:cubicBezTo>
                  <a:cubicBezTo>
                    <a:pt x="1567" y="2369"/>
                    <a:pt x="1536" y="2315"/>
                    <a:pt x="1459" y="2238"/>
                  </a:cubicBezTo>
                  <a:cubicBezTo>
                    <a:pt x="1382" y="2161"/>
                    <a:pt x="1305" y="2124"/>
                    <a:pt x="1280" y="2149"/>
                  </a:cubicBezTo>
                  <a:lnTo>
                    <a:pt x="1280" y="2149"/>
                  </a:lnTo>
                  <a:close/>
                  <a:moveTo>
                    <a:pt x="1136" y="2284"/>
                  </a:moveTo>
                  <a:lnTo>
                    <a:pt x="1136" y="2284"/>
                  </a:lnTo>
                  <a:cubicBezTo>
                    <a:pt x="1173" y="2256"/>
                    <a:pt x="1142" y="2170"/>
                    <a:pt x="1082" y="2094"/>
                  </a:cubicBezTo>
                  <a:cubicBezTo>
                    <a:pt x="1013" y="2005"/>
                    <a:pt x="937" y="1957"/>
                    <a:pt x="900" y="1985"/>
                  </a:cubicBezTo>
                  <a:cubicBezTo>
                    <a:pt x="863" y="2014"/>
                    <a:pt x="885" y="2107"/>
                    <a:pt x="948" y="2190"/>
                  </a:cubicBezTo>
                  <a:cubicBezTo>
                    <a:pt x="1010" y="2272"/>
                    <a:pt x="1095" y="2317"/>
                    <a:pt x="1136" y="2284"/>
                  </a:cubicBezTo>
                  <a:lnTo>
                    <a:pt x="1136" y="2284"/>
                  </a:lnTo>
                  <a:close/>
                  <a:moveTo>
                    <a:pt x="524" y="1811"/>
                  </a:moveTo>
                  <a:lnTo>
                    <a:pt x="524" y="1811"/>
                  </a:lnTo>
                  <a:cubicBezTo>
                    <a:pt x="479" y="1833"/>
                    <a:pt x="487" y="1931"/>
                    <a:pt x="532" y="2034"/>
                  </a:cubicBezTo>
                  <a:cubicBezTo>
                    <a:pt x="583" y="2150"/>
                    <a:pt x="659" y="2189"/>
                    <a:pt x="702" y="2172"/>
                  </a:cubicBezTo>
                  <a:cubicBezTo>
                    <a:pt x="749" y="2154"/>
                    <a:pt x="749" y="2064"/>
                    <a:pt x="695" y="1954"/>
                  </a:cubicBezTo>
                  <a:cubicBezTo>
                    <a:pt x="645" y="1854"/>
                    <a:pt x="569" y="1789"/>
                    <a:pt x="524" y="1811"/>
                  </a:cubicBezTo>
                  <a:lnTo>
                    <a:pt x="524" y="1811"/>
                  </a:lnTo>
                  <a:close/>
                  <a:moveTo>
                    <a:pt x="526" y="1307"/>
                  </a:moveTo>
                  <a:lnTo>
                    <a:pt x="526" y="1307"/>
                  </a:lnTo>
                  <a:cubicBezTo>
                    <a:pt x="496" y="1408"/>
                    <a:pt x="509" y="1499"/>
                    <a:pt x="559" y="1513"/>
                  </a:cubicBezTo>
                  <a:cubicBezTo>
                    <a:pt x="608" y="1526"/>
                    <a:pt x="657" y="1469"/>
                    <a:pt x="683" y="1361"/>
                  </a:cubicBezTo>
                  <a:cubicBezTo>
                    <a:pt x="707" y="1261"/>
                    <a:pt x="696" y="1174"/>
                    <a:pt x="653" y="1160"/>
                  </a:cubicBezTo>
                  <a:cubicBezTo>
                    <a:pt x="610" y="1145"/>
                    <a:pt x="555" y="1209"/>
                    <a:pt x="526" y="1307"/>
                  </a:cubicBezTo>
                  <a:lnTo>
                    <a:pt x="526" y="1307"/>
                  </a:lnTo>
                  <a:close/>
                  <a:moveTo>
                    <a:pt x="871" y="1374"/>
                  </a:moveTo>
                  <a:lnTo>
                    <a:pt x="871" y="1374"/>
                  </a:lnTo>
                  <a:cubicBezTo>
                    <a:pt x="823" y="1382"/>
                    <a:pt x="793" y="1454"/>
                    <a:pt x="795" y="1552"/>
                  </a:cubicBezTo>
                  <a:cubicBezTo>
                    <a:pt x="798" y="1650"/>
                    <a:pt x="840" y="1728"/>
                    <a:pt x="882" y="1723"/>
                  </a:cubicBezTo>
                  <a:cubicBezTo>
                    <a:pt x="927" y="1718"/>
                    <a:pt x="952" y="1645"/>
                    <a:pt x="952" y="1547"/>
                  </a:cubicBezTo>
                  <a:cubicBezTo>
                    <a:pt x="952" y="1454"/>
                    <a:pt x="916" y="1368"/>
                    <a:pt x="871" y="1374"/>
                  </a:cubicBezTo>
                  <a:lnTo>
                    <a:pt x="871" y="1374"/>
                  </a:lnTo>
                  <a:close/>
                  <a:moveTo>
                    <a:pt x="1600" y="344"/>
                  </a:moveTo>
                  <a:lnTo>
                    <a:pt x="1600" y="344"/>
                  </a:lnTo>
                  <a:cubicBezTo>
                    <a:pt x="1574" y="353"/>
                    <a:pt x="1559" y="369"/>
                    <a:pt x="1560" y="379"/>
                  </a:cubicBezTo>
                  <a:cubicBezTo>
                    <a:pt x="1563" y="411"/>
                    <a:pt x="1699" y="395"/>
                    <a:pt x="1778" y="369"/>
                  </a:cubicBezTo>
                  <a:cubicBezTo>
                    <a:pt x="1816" y="357"/>
                    <a:pt x="1836" y="343"/>
                    <a:pt x="1837" y="332"/>
                  </a:cubicBezTo>
                  <a:cubicBezTo>
                    <a:pt x="1840" y="290"/>
                    <a:pt x="1662" y="322"/>
                    <a:pt x="1600" y="344"/>
                  </a:cubicBezTo>
                  <a:lnTo>
                    <a:pt x="1600" y="344"/>
                  </a:lnTo>
                  <a:close/>
                  <a:moveTo>
                    <a:pt x="1114" y="561"/>
                  </a:moveTo>
                  <a:lnTo>
                    <a:pt x="1114" y="561"/>
                  </a:lnTo>
                  <a:cubicBezTo>
                    <a:pt x="1140" y="600"/>
                    <a:pt x="1278" y="534"/>
                    <a:pt x="1350" y="496"/>
                  </a:cubicBezTo>
                  <a:cubicBezTo>
                    <a:pt x="1397" y="471"/>
                    <a:pt x="1437" y="439"/>
                    <a:pt x="1418" y="420"/>
                  </a:cubicBezTo>
                  <a:cubicBezTo>
                    <a:pt x="1394" y="396"/>
                    <a:pt x="1318" y="415"/>
                    <a:pt x="1202" y="473"/>
                  </a:cubicBezTo>
                  <a:cubicBezTo>
                    <a:pt x="1146" y="501"/>
                    <a:pt x="1101" y="541"/>
                    <a:pt x="1114" y="561"/>
                  </a:cubicBezTo>
                  <a:lnTo>
                    <a:pt x="1114" y="561"/>
                  </a:lnTo>
                  <a:close/>
                  <a:moveTo>
                    <a:pt x="1453" y="582"/>
                  </a:moveTo>
                  <a:lnTo>
                    <a:pt x="1453" y="582"/>
                  </a:lnTo>
                  <a:cubicBezTo>
                    <a:pt x="1457" y="540"/>
                    <a:pt x="1358" y="575"/>
                    <a:pt x="1259" y="676"/>
                  </a:cubicBezTo>
                  <a:cubicBezTo>
                    <a:pt x="1241" y="694"/>
                    <a:pt x="1188" y="761"/>
                    <a:pt x="1211" y="776"/>
                  </a:cubicBezTo>
                  <a:cubicBezTo>
                    <a:pt x="1243" y="796"/>
                    <a:pt x="1361" y="696"/>
                    <a:pt x="1405" y="651"/>
                  </a:cubicBezTo>
                  <a:cubicBezTo>
                    <a:pt x="1439" y="617"/>
                    <a:pt x="1452" y="595"/>
                    <a:pt x="1453" y="582"/>
                  </a:cubicBezTo>
                  <a:lnTo>
                    <a:pt x="1453" y="582"/>
                  </a:lnTo>
                  <a:close/>
                  <a:moveTo>
                    <a:pt x="912" y="1018"/>
                  </a:moveTo>
                  <a:lnTo>
                    <a:pt x="912" y="1018"/>
                  </a:lnTo>
                  <a:cubicBezTo>
                    <a:pt x="881" y="1079"/>
                    <a:pt x="871" y="1157"/>
                    <a:pt x="905" y="1166"/>
                  </a:cubicBezTo>
                  <a:cubicBezTo>
                    <a:pt x="942" y="1176"/>
                    <a:pt x="1013" y="1078"/>
                    <a:pt x="1053" y="995"/>
                  </a:cubicBezTo>
                  <a:cubicBezTo>
                    <a:pt x="1074" y="953"/>
                    <a:pt x="1098" y="891"/>
                    <a:pt x="1082" y="871"/>
                  </a:cubicBezTo>
                  <a:cubicBezTo>
                    <a:pt x="1042" y="822"/>
                    <a:pt x="952" y="939"/>
                    <a:pt x="912" y="1018"/>
                  </a:cubicBezTo>
                  <a:lnTo>
                    <a:pt x="912" y="1018"/>
                  </a:lnTo>
                  <a:close/>
                  <a:moveTo>
                    <a:pt x="871" y="724"/>
                  </a:moveTo>
                  <a:lnTo>
                    <a:pt x="871" y="724"/>
                  </a:lnTo>
                  <a:cubicBezTo>
                    <a:pt x="841" y="746"/>
                    <a:pt x="803" y="784"/>
                    <a:pt x="777" y="817"/>
                  </a:cubicBezTo>
                  <a:cubicBezTo>
                    <a:pt x="718" y="891"/>
                    <a:pt x="720" y="943"/>
                    <a:pt x="762" y="950"/>
                  </a:cubicBezTo>
                  <a:cubicBezTo>
                    <a:pt x="798" y="957"/>
                    <a:pt x="880" y="897"/>
                    <a:pt x="937" y="825"/>
                  </a:cubicBezTo>
                  <a:cubicBezTo>
                    <a:pt x="998" y="757"/>
                    <a:pt x="1009" y="704"/>
                    <a:pt x="974" y="687"/>
                  </a:cubicBezTo>
                  <a:cubicBezTo>
                    <a:pt x="952" y="677"/>
                    <a:pt x="929" y="681"/>
                    <a:pt x="871" y="724"/>
                  </a:cubicBezTo>
                  <a:lnTo>
                    <a:pt x="871" y="724"/>
                  </a:lnTo>
                  <a:close/>
                  <a:moveTo>
                    <a:pt x="1064" y="1215"/>
                  </a:moveTo>
                  <a:lnTo>
                    <a:pt x="1064" y="1215"/>
                  </a:lnTo>
                  <a:cubicBezTo>
                    <a:pt x="1051" y="1270"/>
                    <a:pt x="1053" y="1374"/>
                    <a:pt x="1104" y="1345"/>
                  </a:cubicBezTo>
                  <a:cubicBezTo>
                    <a:pt x="1148" y="1320"/>
                    <a:pt x="1177" y="1206"/>
                    <a:pt x="1189" y="1146"/>
                  </a:cubicBezTo>
                  <a:cubicBezTo>
                    <a:pt x="1195" y="1119"/>
                    <a:pt x="1201" y="1046"/>
                    <a:pt x="1179" y="1037"/>
                  </a:cubicBezTo>
                  <a:cubicBezTo>
                    <a:pt x="1128" y="1015"/>
                    <a:pt x="1087" y="1122"/>
                    <a:pt x="1064" y="1215"/>
                  </a:cubicBezTo>
                  <a:lnTo>
                    <a:pt x="1064" y="1215"/>
                  </a:lnTo>
                  <a:close/>
                  <a:moveTo>
                    <a:pt x="1078" y="1767"/>
                  </a:moveTo>
                  <a:lnTo>
                    <a:pt x="1078" y="1767"/>
                  </a:lnTo>
                  <a:cubicBezTo>
                    <a:pt x="1092" y="1831"/>
                    <a:pt x="1151" y="1954"/>
                    <a:pt x="1203" y="1925"/>
                  </a:cubicBezTo>
                  <a:cubicBezTo>
                    <a:pt x="1252" y="1897"/>
                    <a:pt x="1204" y="1744"/>
                    <a:pt x="1195" y="1717"/>
                  </a:cubicBezTo>
                  <a:cubicBezTo>
                    <a:pt x="1177" y="1661"/>
                    <a:pt x="1140" y="1570"/>
                    <a:pt x="1091" y="1585"/>
                  </a:cubicBezTo>
                  <a:cubicBezTo>
                    <a:pt x="1052" y="1596"/>
                    <a:pt x="1064" y="1705"/>
                    <a:pt x="1078" y="1767"/>
                  </a:cubicBezTo>
                  <a:lnTo>
                    <a:pt x="1078" y="1767"/>
                  </a:lnTo>
                  <a:close/>
                  <a:moveTo>
                    <a:pt x="339" y="1073"/>
                  </a:moveTo>
                  <a:lnTo>
                    <a:pt x="339" y="1073"/>
                  </a:lnTo>
                  <a:cubicBezTo>
                    <a:pt x="354" y="1038"/>
                    <a:pt x="633" y="367"/>
                    <a:pt x="1357" y="200"/>
                  </a:cubicBezTo>
                  <a:cubicBezTo>
                    <a:pt x="1575" y="135"/>
                    <a:pt x="2066" y="95"/>
                    <a:pt x="2403" y="125"/>
                  </a:cubicBezTo>
                  <a:cubicBezTo>
                    <a:pt x="3685" y="237"/>
                    <a:pt x="3958" y="852"/>
                    <a:pt x="4081" y="1257"/>
                  </a:cubicBezTo>
                  <a:lnTo>
                    <a:pt x="3095" y="1257"/>
                  </a:lnTo>
                  <a:cubicBezTo>
                    <a:pt x="2847" y="558"/>
                    <a:pt x="2152" y="0"/>
                    <a:pt x="1260" y="336"/>
                  </a:cubicBezTo>
                  <a:cubicBezTo>
                    <a:pt x="416" y="654"/>
                    <a:pt x="10" y="1733"/>
                    <a:pt x="630" y="2517"/>
                  </a:cubicBezTo>
                  <a:lnTo>
                    <a:pt x="497" y="2517"/>
                  </a:lnTo>
                  <a:cubicBezTo>
                    <a:pt x="0" y="1834"/>
                    <a:pt x="323" y="1109"/>
                    <a:pt x="339" y="1073"/>
                  </a:cubicBezTo>
                  <a:close/>
                </a:path>
              </a:pathLst>
            </a:custGeom>
            <a:solidFill>
              <a:srgbClr val="EC114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7" name="Freeform 11"/>
            <p:cNvSpPr>
              <a:spLocks noEditPoints="1"/>
            </p:cNvSpPr>
            <p:nvPr userDrawn="1"/>
          </p:nvSpPr>
          <p:spPr bwMode="auto">
            <a:xfrm>
              <a:off x="4747" y="2731"/>
              <a:ext cx="733" cy="124"/>
            </a:xfrm>
            <a:custGeom>
              <a:avLst/>
              <a:gdLst>
                <a:gd name="T0" fmla="*/ 5032 w 5777"/>
                <a:gd name="T1" fmla="*/ 960 h 975"/>
                <a:gd name="T2" fmla="*/ 5169 w 5777"/>
                <a:gd name="T3" fmla="*/ 0 h 975"/>
                <a:gd name="T4" fmla="*/ 5574 w 5777"/>
                <a:gd name="T5" fmla="*/ 621 h 975"/>
                <a:gd name="T6" fmla="*/ 5578 w 5777"/>
                <a:gd name="T7" fmla="*/ 15 h 975"/>
                <a:gd name="T8" fmla="*/ 5777 w 5777"/>
                <a:gd name="T9" fmla="*/ 839 h 975"/>
                <a:gd name="T10" fmla="*/ 5502 w 5777"/>
                <a:gd name="T11" fmla="*/ 834 h 975"/>
                <a:gd name="T12" fmla="*/ 5231 w 5777"/>
                <a:gd name="T13" fmla="*/ 285 h 975"/>
                <a:gd name="T14" fmla="*/ 5032 w 5777"/>
                <a:gd name="T15" fmla="*/ 960 h 975"/>
                <a:gd name="T16" fmla="*/ 4403 w 5777"/>
                <a:gd name="T17" fmla="*/ 0 h 975"/>
                <a:gd name="T18" fmla="*/ 3921 w 5777"/>
                <a:gd name="T19" fmla="*/ 488 h 975"/>
                <a:gd name="T20" fmla="*/ 4884 w 5777"/>
                <a:gd name="T21" fmla="*/ 488 h 975"/>
                <a:gd name="T22" fmla="*/ 4403 w 5777"/>
                <a:gd name="T23" fmla="*/ 0 h 975"/>
                <a:gd name="T24" fmla="*/ 4403 w 5777"/>
                <a:gd name="T25" fmla="*/ 194 h 975"/>
                <a:gd name="T26" fmla="*/ 4403 w 5777"/>
                <a:gd name="T27" fmla="*/ 780 h 975"/>
                <a:gd name="T28" fmla="*/ 4403 w 5777"/>
                <a:gd name="T29" fmla="*/ 194 h 975"/>
                <a:gd name="T30" fmla="*/ 3577 w 5777"/>
                <a:gd name="T31" fmla="*/ 15 h 975"/>
                <a:gd name="T32" fmla="*/ 3776 w 5777"/>
                <a:gd name="T33" fmla="*/ 15 h 975"/>
                <a:gd name="T34" fmla="*/ 3577 w 5777"/>
                <a:gd name="T35" fmla="*/ 960 h 975"/>
                <a:gd name="T36" fmla="*/ 3158 w 5777"/>
                <a:gd name="T37" fmla="*/ 15 h 975"/>
                <a:gd name="T38" fmla="*/ 3158 w 5777"/>
                <a:gd name="T39" fmla="*/ 650 h 975"/>
                <a:gd name="T40" fmla="*/ 3410 w 5777"/>
                <a:gd name="T41" fmla="*/ 761 h 975"/>
                <a:gd name="T42" fmla="*/ 3212 w 5777"/>
                <a:gd name="T43" fmla="*/ 960 h 975"/>
                <a:gd name="T44" fmla="*/ 2958 w 5777"/>
                <a:gd name="T45" fmla="*/ 15 h 975"/>
                <a:gd name="T46" fmla="*/ 3158 w 5777"/>
                <a:gd name="T47" fmla="*/ 15 h 975"/>
                <a:gd name="T48" fmla="*/ 2718 w 5777"/>
                <a:gd name="T49" fmla="*/ 204 h 975"/>
                <a:gd name="T50" fmla="*/ 2356 w 5777"/>
                <a:gd name="T51" fmla="*/ 400 h 975"/>
                <a:gd name="T52" fmla="*/ 2718 w 5777"/>
                <a:gd name="T53" fmla="*/ 575 h 975"/>
                <a:gd name="T54" fmla="*/ 2597 w 5777"/>
                <a:gd name="T55" fmla="*/ 771 h 975"/>
                <a:gd name="T56" fmla="*/ 2718 w 5777"/>
                <a:gd name="T57" fmla="*/ 960 h 975"/>
                <a:gd name="T58" fmla="*/ 2151 w 5777"/>
                <a:gd name="T59" fmla="*/ 488 h 975"/>
                <a:gd name="T60" fmla="*/ 2718 w 5777"/>
                <a:gd name="T61" fmla="*/ 15 h 975"/>
                <a:gd name="T62" fmla="*/ 2718 w 5777"/>
                <a:gd name="T63" fmla="*/ 204 h 975"/>
                <a:gd name="T64" fmla="*/ 1699 w 5777"/>
                <a:gd name="T65" fmla="*/ 204 h 975"/>
                <a:gd name="T66" fmla="*/ 1494 w 5777"/>
                <a:gd name="T67" fmla="*/ 15 h 975"/>
                <a:gd name="T68" fmla="*/ 2104 w 5777"/>
                <a:gd name="T69" fmla="*/ 204 h 975"/>
                <a:gd name="T70" fmla="*/ 1899 w 5777"/>
                <a:gd name="T71" fmla="*/ 960 h 975"/>
                <a:gd name="T72" fmla="*/ 1699 w 5777"/>
                <a:gd name="T73" fmla="*/ 204 h 975"/>
                <a:gd name="T74" fmla="*/ 1421 w 5777"/>
                <a:gd name="T75" fmla="*/ 204 h 975"/>
                <a:gd name="T76" fmla="*/ 1275 w 5777"/>
                <a:gd name="T77" fmla="*/ 204 h 975"/>
                <a:gd name="T78" fmla="*/ 1275 w 5777"/>
                <a:gd name="T79" fmla="*/ 771 h 975"/>
                <a:gd name="T80" fmla="*/ 1421 w 5777"/>
                <a:gd name="T81" fmla="*/ 960 h 975"/>
                <a:gd name="T82" fmla="*/ 819 w 5777"/>
                <a:gd name="T83" fmla="*/ 488 h 975"/>
                <a:gd name="T84" fmla="*/ 1421 w 5777"/>
                <a:gd name="T85" fmla="*/ 15 h 975"/>
                <a:gd name="T86" fmla="*/ 1421 w 5777"/>
                <a:gd name="T87" fmla="*/ 204 h 975"/>
                <a:gd name="T88" fmla="*/ 0 w 5777"/>
                <a:gd name="T89" fmla="*/ 960 h 975"/>
                <a:gd name="T90" fmla="*/ 338 w 5777"/>
                <a:gd name="T91" fmla="*/ 0 h 975"/>
                <a:gd name="T92" fmla="*/ 678 w 5777"/>
                <a:gd name="T93" fmla="*/ 960 h 975"/>
                <a:gd name="T94" fmla="*/ 467 w 5777"/>
                <a:gd name="T95" fmla="*/ 619 h 975"/>
                <a:gd name="T96" fmla="*/ 262 w 5777"/>
                <a:gd name="T97" fmla="*/ 435 h 975"/>
                <a:gd name="T98" fmla="*/ 467 w 5777"/>
                <a:gd name="T99" fmla="*/ 310 h 975"/>
                <a:gd name="T100" fmla="*/ 210 w 5777"/>
                <a:gd name="T101" fmla="*/ 310 h 975"/>
                <a:gd name="T102" fmla="*/ 0 w 5777"/>
                <a:gd name="T103" fmla="*/ 960 h 9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777" h="975">
                  <a:moveTo>
                    <a:pt x="5032" y="960"/>
                  </a:moveTo>
                  <a:lnTo>
                    <a:pt x="5032" y="960"/>
                  </a:lnTo>
                  <a:lnTo>
                    <a:pt x="5032" y="137"/>
                  </a:lnTo>
                  <a:cubicBezTo>
                    <a:pt x="5032" y="58"/>
                    <a:pt x="5084" y="0"/>
                    <a:pt x="5169" y="0"/>
                  </a:cubicBezTo>
                  <a:cubicBezTo>
                    <a:pt x="5265" y="0"/>
                    <a:pt x="5309" y="72"/>
                    <a:pt x="5342" y="136"/>
                  </a:cubicBezTo>
                  <a:lnTo>
                    <a:pt x="5574" y="621"/>
                  </a:lnTo>
                  <a:lnTo>
                    <a:pt x="5578" y="621"/>
                  </a:lnTo>
                  <a:lnTo>
                    <a:pt x="5578" y="15"/>
                  </a:lnTo>
                  <a:lnTo>
                    <a:pt x="5777" y="15"/>
                  </a:lnTo>
                  <a:lnTo>
                    <a:pt x="5777" y="839"/>
                  </a:lnTo>
                  <a:cubicBezTo>
                    <a:pt x="5777" y="912"/>
                    <a:pt x="5750" y="975"/>
                    <a:pt x="5665" y="975"/>
                  </a:cubicBezTo>
                  <a:cubicBezTo>
                    <a:pt x="5582" y="975"/>
                    <a:pt x="5547" y="924"/>
                    <a:pt x="5502" y="834"/>
                  </a:cubicBezTo>
                  <a:lnTo>
                    <a:pt x="5234" y="282"/>
                  </a:lnTo>
                  <a:lnTo>
                    <a:pt x="5231" y="285"/>
                  </a:lnTo>
                  <a:lnTo>
                    <a:pt x="5231" y="960"/>
                  </a:lnTo>
                  <a:lnTo>
                    <a:pt x="5032" y="960"/>
                  </a:lnTo>
                  <a:lnTo>
                    <a:pt x="5032" y="960"/>
                  </a:lnTo>
                  <a:close/>
                  <a:moveTo>
                    <a:pt x="4403" y="0"/>
                  </a:moveTo>
                  <a:lnTo>
                    <a:pt x="4403" y="0"/>
                  </a:lnTo>
                  <a:cubicBezTo>
                    <a:pt x="4120" y="0"/>
                    <a:pt x="3921" y="223"/>
                    <a:pt x="3921" y="488"/>
                  </a:cubicBezTo>
                  <a:cubicBezTo>
                    <a:pt x="3921" y="752"/>
                    <a:pt x="4120" y="975"/>
                    <a:pt x="4403" y="975"/>
                  </a:cubicBezTo>
                  <a:cubicBezTo>
                    <a:pt x="4685" y="975"/>
                    <a:pt x="4884" y="752"/>
                    <a:pt x="4884" y="488"/>
                  </a:cubicBezTo>
                  <a:cubicBezTo>
                    <a:pt x="4884" y="223"/>
                    <a:pt x="4685" y="0"/>
                    <a:pt x="4403" y="0"/>
                  </a:cubicBezTo>
                  <a:lnTo>
                    <a:pt x="4403" y="0"/>
                  </a:lnTo>
                  <a:close/>
                  <a:moveTo>
                    <a:pt x="4403" y="194"/>
                  </a:moveTo>
                  <a:lnTo>
                    <a:pt x="4403" y="194"/>
                  </a:lnTo>
                  <a:cubicBezTo>
                    <a:pt x="4580" y="194"/>
                    <a:pt x="4685" y="330"/>
                    <a:pt x="4685" y="488"/>
                  </a:cubicBezTo>
                  <a:cubicBezTo>
                    <a:pt x="4685" y="645"/>
                    <a:pt x="4580" y="780"/>
                    <a:pt x="4403" y="780"/>
                  </a:cubicBezTo>
                  <a:cubicBezTo>
                    <a:pt x="4226" y="780"/>
                    <a:pt x="4120" y="645"/>
                    <a:pt x="4120" y="488"/>
                  </a:cubicBezTo>
                  <a:cubicBezTo>
                    <a:pt x="4120" y="330"/>
                    <a:pt x="4226" y="194"/>
                    <a:pt x="4403" y="194"/>
                  </a:cubicBezTo>
                  <a:lnTo>
                    <a:pt x="4403" y="194"/>
                  </a:lnTo>
                  <a:close/>
                  <a:moveTo>
                    <a:pt x="3577" y="15"/>
                  </a:moveTo>
                  <a:lnTo>
                    <a:pt x="3577" y="15"/>
                  </a:lnTo>
                  <a:lnTo>
                    <a:pt x="3776" y="15"/>
                  </a:lnTo>
                  <a:lnTo>
                    <a:pt x="3776" y="960"/>
                  </a:lnTo>
                  <a:lnTo>
                    <a:pt x="3577" y="960"/>
                  </a:lnTo>
                  <a:lnTo>
                    <a:pt x="3577" y="15"/>
                  </a:lnTo>
                  <a:close/>
                  <a:moveTo>
                    <a:pt x="3158" y="15"/>
                  </a:moveTo>
                  <a:lnTo>
                    <a:pt x="3158" y="15"/>
                  </a:lnTo>
                  <a:lnTo>
                    <a:pt x="3158" y="650"/>
                  </a:lnTo>
                  <a:cubicBezTo>
                    <a:pt x="3158" y="736"/>
                    <a:pt x="3193" y="761"/>
                    <a:pt x="3260" y="761"/>
                  </a:cubicBezTo>
                  <a:lnTo>
                    <a:pt x="3410" y="761"/>
                  </a:lnTo>
                  <a:lnTo>
                    <a:pt x="3410" y="960"/>
                  </a:lnTo>
                  <a:lnTo>
                    <a:pt x="3212" y="960"/>
                  </a:lnTo>
                  <a:cubicBezTo>
                    <a:pt x="3061" y="960"/>
                    <a:pt x="2958" y="884"/>
                    <a:pt x="2958" y="677"/>
                  </a:cubicBezTo>
                  <a:lnTo>
                    <a:pt x="2958" y="15"/>
                  </a:lnTo>
                  <a:lnTo>
                    <a:pt x="3158" y="15"/>
                  </a:lnTo>
                  <a:lnTo>
                    <a:pt x="3158" y="15"/>
                  </a:lnTo>
                  <a:close/>
                  <a:moveTo>
                    <a:pt x="2718" y="204"/>
                  </a:moveTo>
                  <a:lnTo>
                    <a:pt x="2718" y="204"/>
                  </a:lnTo>
                  <a:lnTo>
                    <a:pt x="2597" y="204"/>
                  </a:lnTo>
                  <a:cubicBezTo>
                    <a:pt x="2445" y="204"/>
                    <a:pt x="2372" y="309"/>
                    <a:pt x="2356" y="400"/>
                  </a:cubicBezTo>
                  <a:lnTo>
                    <a:pt x="2718" y="400"/>
                  </a:lnTo>
                  <a:lnTo>
                    <a:pt x="2718" y="575"/>
                  </a:lnTo>
                  <a:lnTo>
                    <a:pt x="2356" y="575"/>
                  </a:lnTo>
                  <a:cubicBezTo>
                    <a:pt x="2372" y="666"/>
                    <a:pt x="2445" y="771"/>
                    <a:pt x="2597" y="771"/>
                  </a:cubicBezTo>
                  <a:lnTo>
                    <a:pt x="2718" y="771"/>
                  </a:lnTo>
                  <a:lnTo>
                    <a:pt x="2718" y="960"/>
                  </a:lnTo>
                  <a:lnTo>
                    <a:pt x="2615" y="960"/>
                  </a:lnTo>
                  <a:cubicBezTo>
                    <a:pt x="2291" y="960"/>
                    <a:pt x="2151" y="720"/>
                    <a:pt x="2151" y="488"/>
                  </a:cubicBezTo>
                  <a:cubicBezTo>
                    <a:pt x="2151" y="255"/>
                    <a:pt x="2291" y="15"/>
                    <a:pt x="2615" y="15"/>
                  </a:cubicBezTo>
                  <a:lnTo>
                    <a:pt x="2718" y="15"/>
                  </a:lnTo>
                  <a:lnTo>
                    <a:pt x="2718" y="204"/>
                  </a:lnTo>
                  <a:lnTo>
                    <a:pt x="2718" y="204"/>
                  </a:lnTo>
                  <a:close/>
                  <a:moveTo>
                    <a:pt x="1699" y="204"/>
                  </a:moveTo>
                  <a:lnTo>
                    <a:pt x="1699" y="204"/>
                  </a:lnTo>
                  <a:lnTo>
                    <a:pt x="1494" y="204"/>
                  </a:lnTo>
                  <a:lnTo>
                    <a:pt x="1494" y="15"/>
                  </a:lnTo>
                  <a:lnTo>
                    <a:pt x="2104" y="15"/>
                  </a:lnTo>
                  <a:lnTo>
                    <a:pt x="2104" y="204"/>
                  </a:lnTo>
                  <a:lnTo>
                    <a:pt x="1899" y="204"/>
                  </a:lnTo>
                  <a:lnTo>
                    <a:pt x="1899" y="960"/>
                  </a:lnTo>
                  <a:lnTo>
                    <a:pt x="1699" y="960"/>
                  </a:lnTo>
                  <a:lnTo>
                    <a:pt x="1699" y="204"/>
                  </a:lnTo>
                  <a:lnTo>
                    <a:pt x="1699" y="204"/>
                  </a:lnTo>
                  <a:close/>
                  <a:moveTo>
                    <a:pt x="1421" y="204"/>
                  </a:moveTo>
                  <a:lnTo>
                    <a:pt x="1421" y="204"/>
                  </a:lnTo>
                  <a:lnTo>
                    <a:pt x="1275" y="204"/>
                  </a:lnTo>
                  <a:cubicBezTo>
                    <a:pt x="1137" y="204"/>
                    <a:pt x="1029" y="354"/>
                    <a:pt x="1029" y="488"/>
                  </a:cubicBezTo>
                  <a:cubicBezTo>
                    <a:pt x="1029" y="621"/>
                    <a:pt x="1137" y="771"/>
                    <a:pt x="1275" y="771"/>
                  </a:cubicBezTo>
                  <a:lnTo>
                    <a:pt x="1421" y="771"/>
                  </a:lnTo>
                  <a:lnTo>
                    <a:pt x="1421" y="960"/>
                  </a:lnTo>
                  <a:lnTo>
                    <a:pt x="1264" y="960"/>
                  </a:lnTo>
                  <a:cubicBezTo>
                    <a:pt x="1037" y="960"/>
                    <a:pt x="819" y="774"/>
                    <a:pt x="819" y="488"/>
                  </a:cubicBezTo>
                  <a:cubicBezTo>
                    <a:pt x="819" y="201"/>
                    <a:pt x="1037" y="15"/>
                    <a:pt x="1264" y="15"/>
                  </a:cubicBezTo>
                  <a:lnTo>
                    <a:pt x="1421" y="15"/>
                  </a:lnTo>
                  <a:lnTo>
                    <a:pt x="1421" y="204"/>
                  </a:lnTo>
                  <a:lnTo>
                    <a:pt x="1421" y="204"/>
                  </a:lnTo>
                  <a:close/>
                  <a:moveTo>
                    <a:pt x="0" y="960"/>
                  </a:moveTo>
                  <a:lnTo>
                    <a:pt x="0" y="960"/>
                  </a:lnTo>
                  <a:lnTo>
                    <a:pt x="0" y="344"/>
                  </a:lnTo>
                  <a:cubicBezTo>
                    <a:pt x="0" y="181"/>
                    <a:pt x="93" y="0"/>
                    <a:pt x="338" y="0"/>
                  </a:cubicBezTo>
                  <a:cubicBezTo>
                    <a:pt x="583" y="0"/>
                    <a:pt x="678" y="181"/>
                    <a:pt x="678" y="344"/>
                  </a:cubicBezTo>
                  <a:lnTo>
                    <a:pt x="678" y="960"/>
                  </a:lnTo>
                  <a:lnTo>
                    <a:pt x="467" y="960"/>
                  </a:lnTo>
                  <a:lnTo>
                    <a:pt x="467" y="619"/>
                  </a:lnTo>
                  <a:lnTo>
                    <a:pt x="262" y="619"/>
                  </a:lnTo>
                  <a:lnTo>
                    <a:pt x="262" y="435"/>
                  </a:lnTo>
                  <a:lnTo>
                    <a:pt x="467" y="435"/>
                  </a:lnTo>
                  <a:lnTo>
                    <a:pt x="467" y="310"/>
                  </a:lnTo>
                  <a:cubicBezTo>
                    <a:pt x="467" y="240"/>
                    <a:pt x="435" y="184"/>
                    <a:pt x="338" y="184"/>
                  </a:cubicBezTo>
                  <a:cubicBezTo>
                    <a:pt x="241" y="184"/>
                    <a:pt x="210" y="240"/>
                    <a:pt x="210" y="310"/>
                  </a:cubicBezTo>
                  <a:lnTo>
                    <a:pt x="210" y="960"/>
                  </a:lnTo>
                  <a:lnTo>
                    <a:pt x="0" y="96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5" name="Freeform 10"/>
            <p:cNvSpPr>
              <a:spLocks noEditPoints="1"/>
            </p:cNvSpPr>
            <p:nvPr userDrawn="1"/>
          </p:nvSpPr>
          <p:spPr bwMode="auto">
            <a:xfrm>
              <a:off x="4747" y="2914"/>
              <a:ext cx="733" cy="98"/>
            </a:xfrm>
            <a:custGeom>
              <a:avLst/>
              <a:gdLst>
                <a:gd name="T0" fmla="*/ 277 w 5777"/>
                <a:gd name="T1" fmla="*/ 688 h 773"/>
                <a:gd name="T2" fmla="*/ 97 w 5777"/>
                <a:gd name="T3" fmla="*/ 732 h 773"/>
                <a:gd name="T4" fmla="*/ 97 w 5777"/>
                <a:gd name="T5" fmla="*/ 565 h 773"/>
                <a:gd name="T6" fmla="*/ 5580 w 5777"/>
                <a:gd name="T7" fmla="*/ 6 h 773"/>
                <a:gd name="T8" fmla="*/ 5654 w 5777"/>
                <a:gd name="T9" fmla="*/ 202 h 773"/>
                <a:gd name="T10" fmla="*/ 5515 w 5777"/>
                <a:gd name="T11" fmla="*/ 132 h 773"/>
                <a:gd name="T12" fmla="*/ 5394 w 5777"/>
                <a:gd name="T13" fmla="*/ 202 h 773"/>
                <a:gd name="T14" fmla="*/ 5275 w 5777"/>
                <a:gd name="T15" fmla="*/ 53 h 773"/>
                <a:gd name="T16" fmla="*/ 5229 w 5777"/>
                <a:gd name="T17" fmla="*/ 202 h 773"/>
                <a:gd name="T18" fmla="*/ 5094 w 5777"/>
                <a:gd name="T19" fmla="*/ 102 h 773"/>
                <a:gd name="T20" fmla="*/ 5173 w 5777"/>
                <a:gd name="T21" fmla="*/ 31 h 773"/>
                <a:gd name="T22" fmla="*/ 5016 w 5777"/>
                <a:gd name="T23" fmla="*/ 6 h 773"/>
                <a:gd name="T24" fmla="*/ 4924 w 5777"/>
                <a:gd name="T25" fmla="*/ 70 h 773"/>
                <a:gd name="T26" fmla="*/ 4757 w 5777"/>
                <a:gd name="T27" fmla="*/ 6 h 773"/>
                <a:gd name="T28" fmla="*/ 4660 w 5777"/>
                <a:gd name="T29" fmla="*/ 55 h 773"/>
                <a:gd name="T30" fmla="*/ 4626 w 5777"/>
                <a:gd name="T31" fmla="*/ 208 h 773"/>
                <a:gd name="T32" fmla="*/ 4626 w 5777"/>
                <a:gd name="T33" fmla="*/ 208 h 773"/>
                <a:gd name="T34" fmla="*/ 4515 w 5777"/>
                <a:gd name="T35" fmla="*/ 51 h 773"/>
                <a:gd name="T36" fmla="*/ 4516 w 5777"/>
                <a:gd name="T37" fmla="*/ 158 h 773"/>
                <a:gd name="T38" fmla="*/ 4119 w 5777"/>
                <a:gd name="T39" fmla="*/ 6 h 773"/>
                <a:gd name="T40" fmla="*/ 3999 w 5777"/>
                <a:gd name="T41" fmla="*/ 53 h 773"/>
                <a:gd name="T42" fmla="*/ 3901 w 5777"/>
                <a:gd name="T43" fmla="*/ 202 h 773"/>
                <a:gd name="T44" fmla="*/ 3718 w 5777"/>
                <a:gd name="T45" fmla="*/ 104 h 773"/>
                <a:gd name="T46" fmla="*/ 3815 w 5777"/>
                <a:gd name="T47" fmla="*/ 167 h 773"/>
                <a:gd name="T48" fmla="*/ 3637 w 5777"/>
                <a:gd name="T49" fmla="*/ 202 h 773"/>
                <a:gd name="T50" fmla="*/ 3515 w 5777"/>
                <a:gd name="T51" fmla="*/ 202 h 773"/>
                <a:gd name="T52" fmla="*/ 3432 w 5777"/>
                <a:gd name="T53" fmla="*/ 171 h 773"/>
                <a:gd name="T54" fmla="*/ 3360 w 5777"/>
                <a:gd name="T55" fmla="*/ 166 h 773"/>
                <a:gd name="T56" fmla="*/ 3240 w 5777"/>
                <a:gd name="T57" fmla="*/ 44 h 773"/>
                <a:gd name="T58" fmla="*/ 3249 w 5777"/>
                <a:gd name="T59" fmla="*/ 202 h 773"/>
                <a:gd name="T60" fmla="*/ 2892 w 5777"/>
                <a:gd name="T61" fmla="*/ 104 h 773"/>
                <a:gd name="T62" fmla="*/ 2990 w 5777"/>
                <a:gd name="T63" fmla="*/ 167 h 773"/>
                <a:gd name="T64" fmla="*/ 2815 w 5777"/>
                <a:gd name="T65" fmla="*/ 136 h 773"/>
                <a:gd name="T66" fmla="*/ 2754 w 5777"/>
                <a:gd name="T67" fmla="*/ 171 h 773"/>
                <a:gd name="T68" fmla="*/ 2671 w 5777"/>
                <a:gd name="T69" fmla="*/ 202 h 773"/>
                <a:gd name="T70" fmla="*/ 2506 w 5777"/>
                <a:gd name="T71" fmla="*/ 76 h 773"/>
                <a:gd name="T72" fmla="*/ 2563 w 5777"/>
                <a:gd name="T73" fmla="*/ 148 h 773"/>
                <a:gd name="T74" fmla="*/ 2343 w 5777"/>
                <a:gd name="T75" fmla="*/ 96 h 773"/>
                <a:gd name="T76" fmla="*/ 2406 w 5777"/>
                <a:gd name="T77" fmla="*/ 26 h 773"/>
                <a:gd name="T78" fmla="*/ 2253 w 5777"/>
                <a:gd name="T79" fmla="*/ 202 h 773"/>
                <a:gd name="T80" fmla="*/ 2134 w 5777"/>
                <a:gd name="T81" fmla="*/ 53 h 773"/>
                <a:gd name="T82" fmla="*/ 2088 w 5777"/>
                <a:gd name="T83" fmla="*/ 202 h 773"/>
                <a:gd name="T84" fmla="*/ 1966 w 5777"/>
                <a:gd name="T85" fmla="*/ 202 h 773"/>
                <a:gd name="T86" fmla="*/ 1966 w 5777"/>
                <a:gd name="T87" fmla="*/ 77 h 773"/>
                <a:gd name="T88" fmla="*/ 1771 w 5777"/>
                <a:gd name="T89" fmla="*/ 71 h 773"/>
                <a:gd name="T90" fmla="*/ 1820 w 5777"/>
                <a:gd name="T91" fmla="*/ 71 h 773"/>
                <a:gd name="T92" fmla="*/ 1373 w 5777"/>
                <a:gd name="T93" fmla="*/ 6 h 773"/>
                <a:gd name="T94" fmla="*/ 1490 w 5777"/>
                <a:gd name="T95" fmla="*/ 202 h 773"/>
                <a:gd name="T96" fmla="*/ 1189 w 5777"/>
                <a:gd name="T97" fmla="*/ 6 h 773"/>
                <a:gd name="T98" fmla="*/ 1238 w 5777"/>
                <a:gd name="T99" fmla="*/ 164 h 773"/>
                <a:gd name="T100" fmla="*/ 1036 w 5777"/>
                <a:gd name="T101" fmla="*/ 159 h 773"/>
                <a:gd name="T102" fmla="*/ 1120 w 5777"/>
                <a:gd name="T103" fmla="*/ 64 h 773"/>
                <a:gd name="T104" fmla="*/ 1069 w 5777"/>
                <a:gd name="T105" fmla="*/ 207 h 773"/>
                <a:gd name="T106" fmla="*/ 916 w 5777"/>
                <a:gd name="T107" fmla="*/ 145 h 773"/>
                <a:gd name="T108" fmla="*/ 875 w 5777"/>
                <a:gd name="T109" fmla="*/ 40 h 773"/>
                <a:gd name="T110" fmla="*/ 823 w 5777"/>
                <a:gd name="T111" fmla="*/ 143 h 773"/>
                <a:gd name="T112" fmla="*/ 762 w 5777"/>
                <a:gd name="T113" fmla="*/ 6 h 773"/>
                <a:gd name="T114" fmla="*/ 596 w 5777"/>
                <a:gd name="T115" fmla="*/ 6 h 773"/>
                <a:gd name="T116" fmla="*/ 503 w 5777"/>
                <a:gd name="T117" fmla="*/ 6 h 773"/>
                <a:gd name="T118" fmla="*/ 452 w 5777"/>
                <a:gd name="T119" fmla="*/ 6 h 773"/>
                <a:gd name="T120" fmla="*/ 310 w 5777"/>
                <a:gd name="T121" fmla="*/ 202 h 773"/>
                <a:gd name="T122" fmla="*/ 97 w 5777"/>
                <a:gd name="T123" fmla="*/ 53 h 773"/>
                <a:gd name="T124" fmla="*/ 196 w 5777"/>
                <a:gd name="T125" fmla="*/ 202 h 7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777" h="773">
                  <a:moveTo>
                    <a:pt x="379" y="571"/>
                  </a:moveTo>
                  <a:lnTo>
                    <a:pt x="379" y="571"/>
                  </a:lnTo>
                  <a:lnTo>
                    <a:pt x="379" y="609"/>
                  </a:lnTo>
                  <a:lnTo>
                    <a:pt x="277" y="609"/>
                  </a:lnTo>
                  <a:lnTo>
                    <a:pt x="277" y="650"/>
                  </a:lnTo>
                  <a:lnTo>
                    <a:pt x="371" y="650"/>
                  </a:lnTo>
                  <a:lnTo>
                    <a:pt x="371" y="688"/>
                  </a:lnTo>
                  <a:lnTo>
                    <a:pt x="277" y="688"/>
                  </a:lnTo>
                  <a:lnTo>
                    <a:pt x="277" y="767"/>
                  </a:lnTo>
                  <a:lnTo>
                    <a:pt x="228" y="767"/>
                  </a:lnTo>
                  <a:lnTo>
                    <a:pt x="228" y="571"/>
                  </a:lnTo>
                  <a:lnTo>
                    <a:pt x="379" y="571"/>
                  </a:lnTo>
                  <a:lnTo>
                    <a:pt x="379" y="571"/>
                  </a:lnTo>
                  <a:close/>
                  <a:moveTo>
                    <a:pt x="147" y="674"/>
                  </a:moveTo>
                  <a:lnTo>
                    <a:pt x="147" y="674"/>
                  </a:lnTo>
                  <a:cubicBezTo>
                    <a:pt x="146" y="715"/>
                    <a:pt x="121" y="732"/>
                    <a:pt x="97" y="732"/>
                  </a:cubicBezTo>
                  <a:cubicBezTo>
                    <a:pt x="74" y="732"/>
                    <a:pt x="48" y="714"/>
                    <a:pt x="48" y="667"/>
                  </a:cubicBezTo>
                  <a:cubicBezTo>
                    <a:pt x="48" y="632"/>
                    <a:pt x="67" y="606"/>
                    <a:pt x="97" y="606"/>
                  </a:cubicBezTo>
                  <a:cubicBezTo>
                    <a:pt x="110" y="606"/>
                    <a:pt x="123" y="611"/>
                    <a:pt x="131" y="620"/>
                  </a:cubicBezTo>
                  <a:cubicBezTo>
                    <a:pt x="143" y="632"/>
                    <a:pt x="148" y="653"/>
                    <a:pt x="147" y="674"/>
                  </a:cubicBezTo>
                  <a:lnTo>
                    <a:pt x="147" y="674"/>
                  </a:lnTo>
                  <a:close/>
                  <a:moveTo>
                    <a:pt x="133" y="571"/>
                  </a:moveTo>
                  <a:lnTo>
                    <a:pt x="133" y="571"/>
                  </a:lnTo>
                  <a:cubicBezTo>
                    <a:pt x="121" y="566"/>
                    <a:pt x="108" y="565"/>
                    <a:pt x="97" y="565"/>
                  </a:cubicBezTo>
                  <a:cubicBezTo>
                    <a:pt x="33" y="565"/>
                    <a:pt x="0" y="615"/>
                    <a:pt x="0" y="668"/>
                  </a:cubicBezTo>
                  <a:cubicBezTo>
                    <a:pt x="0" y="725"/>
                    <a:pt x="35" y="773"/>
                    <a:pt x="97" y="773"/>
                  </a:cubicBezTo>
                  <a:cubicBezTo>
                    <a:pt x="118" y="773"/>
                    <a:pt x="140" y="768"/>
                    <a:pt x="159" y="752"/>
                  </a:cubicBezTo>
                  <a:cubicBezTo>
                    <a:pt x="181" y="735"/>
                    <a:pt x="197" y="704"/>
                    <a:pt x="197" y="670"/>
                  </a:cubicBezTo>
                  <a:cubicBezTo>
                    <a:pt x="197" y="657"/>
                    <a:pt x="193" y="591"/>
                    <a:pt x="133" y="571"/>
                  </a:cubicBezTo>
                  <a:lnTo>
                    <a:pt x="133" y="571"/>
                  </a:lnTo>
                  <a:close/>
                  <a:moveTo>
                    <a:pt x="5580" y="6"/>
                  </a:moveTo>
                  <a:lnTo>
                    <a:pt x="5580" y="6"/>
                  </a:lnTo>
                  <a:lnTo>
                    <a:pt x="5637" y="6"/>
                  </a:lnTo>
                  <a:lnTo>
                    <a:pt x="5679" y="73"/>
                  </a:lnTo>
                  <a:cubicBezTo>
                    <a:pt x="5682" y="68"/>
                    <a:pt x="5682" y="67"/>
                    <a:pt x="5687" y="58"/>
                  </a:cubicBezTo>
                  <a:lnTo>
                    <a:pt x="5721" y="6"/>
                  </a:lnTo>
                  <a:lnTo>
                    <a:pt x="5777" y="6"/>
                  </a:lnTo>
                  <a:lnTo>
                    <a:pt x="5703" y="109"/>
                  </a:lnTo>
                  <a:lnTo>
                    <a:pt x="5703" y="202"/>
                  </a:lnTo>
                  <a:lnTo>
                    <a:pt x="5654" y="202"/>
                  </a:lnTo>
                  <a:lnTo>
                    <a:pt x="5654" y="111"/>
                  </a:lnTo>
                  <a:lnTo>
                    <a:pt x="5580" y="6"/>
                  </a:lnTo>
                  <a:lnTo>
                    <a:pt x="5580" y="6"/>
                  </a:lnTo>
                  <a:close/>
                  <a:moveTo>
                    <a:pt x="5394" y="6"/>
                  </a:moveTo>
                  <a:lnTo>
                    <a:pt x="5394" y="6"/>
                  </a:lnTo>
                  <a:lnTo>
                    <a:pt x="5443" y="6"/>
                  </a:lnTo>
                  <a:lnTo>
                    <a:pt x="5485" y="78"/>
                  </a:lnTo>
                  <a:cubicBezTo>
                    <a:pt x="5501" y="106"/>
                    <a:pt x="5506" y="115"/>
                    <a:pt x="5515" y="132"/>
                  </a:cubicBezTo>
                  <a:lnTo>
                    <a:pt x="5513" y="6"/>
                  </a:lnTo>
                  <a:lnTo>
                    <a:pt x="5560" y="6"/>
                  </a:lnTo>
                  <a:lnTo>
                    <a:pt x="5560" y="202"/>
                  </a:lnTo>
                  <a:lnTo>
                    <a:pt x="5511" y="202"/>
                  </a:lnTo>
                  <a:lnTo>
                    <a:pt x="5475" y="140"/>
                  </a:lnTo>
                  <a:cubicBezTo>
                    <a:pt x="5457" y="111"/>
                    <a:pt x="5453" y="105"/>
                    <a:pt x="5440" y="79"/>
                  </a:cubicBezTo>
                  <a:lnTo>
                    <a:pt x="5441" y="202"/>
                  </a:lnTo>
                  <a:lnTo>
                    <a:pt x="5394" y="202"/>
                  </a:lnTo>
                  <a:lnTo>
                    <a:pt x="5394" y="6"/>
                  </a:lnTo>
                  <a:lnTo>
                    <a:pt x="5394" y="6"/>
                  </a:lnTo>
                  <a:close/>
                  <a:moveTo>
                    <a:pt x="5275" y="53"/>
                  </a:moveTo>
                  <a:lnTo>
                    <a:pt x="5275" y="53"/>
                  </a:lnTo>
                  <a:cubicBezTo>
                    <a:pt x="5272" y="63"/>
                    <a:pt x="5270" y="73"/>
                    <a:pt x="5267" y="83"/>
                  </a:cubicBezTo>
                  <a:cubicBezTo>
                    <a:pt x="5263" y="98"/>
                    <a:pt x="5255" y="121"/>
                    <a:pt x="5251" y="136"/>
                  </a:cubicBezTo>
                  <a:lnTo>
                    <a:pt x="5301" y="136"/>
                  </a:lnTo>
                  <a:lnTo>
                    <a:pt x="5275" y="53"/>
                  </a:lnTo>
                  <a:lnTo>
                    <a:pt x="5275" y="53"/>
                  </a:lnTo>
                  <a:close/>
                  <a:moveTo>
                    <a:pt x="5301" y="6"/>
                  </a:moveTo>
                  <a:lnTo>
                    <a:pt x="5301" y="6"/>
                  </a:lnTo>
                  <a:lnTo>
                    <a:pt x="5374" y="202"/>
                  </a:lnTo>
                  <a:lnTo>
                    <a:pt x="5321" y="202"/>
                  </a:lnTo>
                  <a:lnTo>
                    <a:pt x="5312" y="171"/>
                  </a:lnTo>
                  <a:lnTo>
                    <a:pt x="5239" y="171"/>
                  </a:lnTo>
                  <a:lnTo>
                    <a:pt x="5229" y="202"/>
                  </a:lnTo>
                  <a:lnTo>
                    <a:pt x="5177" y="202"/>
                  </a:lnTo>
                  <a:lnTo>
                    <a:pt x="5250" y="6"/>
                  </a:lnTo>
                  <a:lnTo>
                    <a:pt x="5301" y="6"/>
                  </a:lnTo>
                  <a:lnTo>
                    <a:pt x="5301" y="6"/>
                  </a:lnTo>
                  <a:close/>
                  <a:moveTo>
                    <a:pt x="5065" y="42"/>
                  </a:moveTo>
                  <a:lnTo>
                    <a:pt x="5065" y="42"/>
                  </a:lnTo>
                  <a:lnTo>
                    <a:pt x="5065" y="102"/>
                  </a:lnTo>
                  <a:lnTo>
                    <a:pt x="5094" y="102"/>
                  </a:lnTo>
                  <a:cubicBezTo>
                    <a:pt x="5113" y="102"/>
                    <a:pt x="5135" y="101"/>
                    <a:pt x="5135" y="71"/>
                  </a:cubicBezTo>
                  <a:cubicBezTo>
                    <a:pt x="5135" y="42"/>
                    <a:pt x="5110" y="42"/>
                    <a:pt x="5096" y="42"/>
                  </a:cubicBezTo>
                  <a:lnTo>
                    <a:pt x="5065" y="42"/>
                  </a:lnTo>
                  <a:lnTo>
                    <a:pt x="5065" y="42"/>
                  </a:lnTo>
                  <a:close/>
                  <a:moveTo>
                    <a:pt x="5016" y="6"/>
                  </a:moveTo>
                  <a:lnTo>
                    <a:pt x="5016" y="6"/>
                  </a:lnTo>
                  <a:lnTo>
                    <a:pt x="5095" y="6"/>
                  </a:lnTo>
                  <a:cubicBezTo>
                    <a:pt x="5127" y="6"/>
                    <a:pt x="5156" y="6"/>
                    <a:pt x="5173" y="31"/>
                  </a:cubicBezTo>
                  <a:cubicBezTo>
                    <a:pt x="5180" y="42"/>
                    <a:pt x="5184" y="58"/>
                    <a:pt x="5184" y="71"/>
                  </a:cubicBezTo>
                  <a:cubicBezTo>
                    <a:pt x="5184" y="82"/>
                    <a:pt x="5182" y="92"/>
                    <a:pt x="5177" y="102"/>
                  </a:cubicBezTo>
                  <a:cubicBezTo>
                    <a:pt x="5160" y="137"/>
                    <a:pt x="5124" y="138"/>
                    <a:pt x="5097" y="138"/>
                  </a:cubicBezTo>
                  <a:lnTo>
                    <a:pt x="5065" y="138"/>
                  </a:lnTo>
                  <a:lnTo>
                    <a:pt x="5065" y="202"/>
                  </a:lnTo>
                  <a:lnTo>
                    <a:pt x="5016" y="202"/>
                  </a:lnTo>
                  <a:lnTo>
                    <a:pt x="5016" y="6"/>
                  </a:lnTo>
                  <a:lnTo>
                    <a:pt x="5016" y="6"/>
                  </a:lnTo>
                  <a:close/>
                  <a:moveTo>
                    <a:pt x="4974" y="6"/>
                  </a:moveTo>
                  <a:lnTo>
                    <a:pt x="4974" y="6"/>
                  </a:lnTo>
                  <a:lnTo>
                    <a:pt x="4974" y="202"/>
                  </a:lnTo>
                  <a:lnTo>
                    <a:pt x="4927" y="202"/>
                  </a:lnTo>
                  <a:lnTo>
                    <a:pt x="4930" y="62"/>
                  </a:lnTo>
                  <a:lnTo>
                    <a:pt x="4931" y="43"/>
                  </a:lnTo>
                  <a:lnTo>
                    <a:pt x="4929" y="50"/>
                  </a:lnTo>
                  <a:cubicBezTo>
                    <a:pt x="4927" y="61"/>
                    <a:pt x="4927" y="62"/>
                    <a:pt x="4924" y="70"/>
                  </a:cubicBezTo>
                  <a:lnTo>
                    <a:pt x="4887" y="202"/>
                  </a:lnTo>
                  <a:lnTo>
                    <a:pt x="4845" y="202"/>
                  </a:lnTo>
                  <a:lnTo>
                    <a:pt x="4809" y="76"/>
                  </a:lnTo>
                  <a:lnTo>
                    <a:pt x="4801" y="41"/>
                  </a:lnTo>
                  <a:cubicBezTo>
                    <a:pt x="4801" y="56"/>
                    <a:pt x="4801" y="60"/>
                    <a:pt x="4802" y="78"/>
                  </a:cubicBezTo>
                  <a:lnTo>
                    <a:pt x="4805" y="202"/>
                  </a:lnTo>
                  <a:lnTo>
                    <a:pt x="4757" y="202"/>
                  </a:lnTo>
                  <a:lnTo>
                    <a:pt x="4757" y="6"/>
                  </a:lnTo>
                  <a:lnTo>
                    <a:pt x="4829" y="6"/>
                  </a:lnTo>
                  <a:lnTo>
                    <a:pt x="4859" y="116"/>
                  </a:lnTo>
                  <a:lnTo>
                    <a:pt x="4866" y="148"/>
                  </a:lnTo>
                  <a:cubicBezTo>
                    <a:pt x="4869" y="134"/>
                    <a:pt x="4869" y="133"/>
                    <a:pt x="4871" y="123"/>
                  </a:cubicBezTo>
                  <a:lnTo>
                    <a:pt x="4903" y="6"/>
                  </a:lnTo>
                  <a:lnTo>
                    <a:pt x="4974" y="6"/>
                  </a:lnTo>
                  <a:lnTo>
                    <a:pt x="4974" y="6"/>
                  </a:lnTo>
                  <a:close/>
                  <a:moveTo>
                    <a:pt x="4660" y="55"/>
                  </a:moveTo>
                  <a:lnTo>
                    <a:pt x="4660" y="55"/>
                  </a:lnTo>
                  <a:cubicBezTo>
                    <a:pt x="4652" y="46"/>
                    <a:pt x="4639" y="41"/>
                    <a:pt x="4626" y="41"/>
                  </a:cubicBezTo>
                  <a:cubicBezTo>
                    <a:pt x="4596" y="41"/>
                    <a:pt x="4577" y="67"/>
                    <a:pt x="4577" y="102"/>
                  </a:cubicBezTo>
                  <a:cubicBezTo>
                    <a:pt x="4577" y="149"/>
                    <a:pt x="4603" y="167"/>
                    <a:pt x="4626" y="167"/>
                  </a:cubicBezTo>
                  <a:cubicBezTo>
                    <a:pt x="4650" y="167"/>
                    <a:pt x="4675" y="150"/>
                    <a:pt x="4676" y="109"/>
                  </a:cubicBezTo>
                  <a:cubicBezTo>
                    <a:pt x="4677" y="88"/>
                    <a:pt x="4671" y="67"/>
                    <a:pt x="4660" y="55"/>
                  </a:cubicBezTo>
                  <a:lnTo>
                    <a:pt x="4660" y="55"/>
                  </a:lnTo>
                  <a:close/>
                  <a:moveTo>
                    <a:pt x="4626" y="208"/>
                  </a:moveTo>
                  <a:lnTo>
                    <a:pt x="4626" y="208"/>
                  </a:lnTo>
                  <a:cubicBezTo>
                    <a:pt x="4564" y="208"/>
                    <a:pt x="4528" y="160"/>
                    <a:pt x="4528" y="103"/>
                  </a:cubicBezTo>
                  <a:cubicBezTo>
                    <a:pt x="4528" y="50"/>
                    <a:pt x="4562" y="0"/>
                    <a:pt x="4625" y="0"/>
                  </a:cubicBezTo>
                  <a:cubicBezTo>
                    <a:pt x="4637" y="0"/>
                    <a:pt x="4649" y="1"/>
                    <a:pt x="4661" y="6"/>
                  </a:cubicBezTo>
                  <a:cubicBezTo>
                    <a:pt x="4721" y="26"/>
                    <a:pt x="4725" y="92"/>
                    <a:pt x="4725" y="105"/>
                  </a:cubicBezTo>
                  <a:cubicBezTo>
                    <a:pt x="4725" y="139"/>
                    <a:pt x="4710" y="170"/>
                    <a:pt x="4688" y="187"/>
                  </a:cubicBezTo>
                  <a:cubicBezTo>
                    <a:pt x="4669" y="203"/>
                    <a:pt x="4647" y="208"/>
                    <a:pt x="4626" y="208"/>
                  </a:cubicBezTo>
                  <a:lnTo>
                    <a:pt x="4626" y="208"/>
                  </a:lnTo>
                  <a:close/>
                  <a:moveTo>
                    <a:pt x="4516" y="158"/>
                  </a:moveTo>
                  <a:lnTo>
                    <a:pt x="4516" y="158"/>
                  </a:lnTo>
                  <a:cubicBezTo>
                    <a:pt x="4509" y="169"/>
                    <a:pt x="4502" y="180"/>
                    <a:pt x="4486" y="191"/>
                  </a:cubicBezTo>
                  <a:cubicBezTo>
                    <a:pt x="4478" y="197"/>
                    <a:pt x="4458" y="208"/>
                    <a:pt x="4431" y="208"/>
                  </a:cubicBezTo>
                  <a:cubicBezTo>
                    <a:pt x="4379" y="208"/>
                    <a:pt x="4337" y="170"/>
                    <a:pt x="4337" y="104"/>
                  </a:cubicBezTo>
                  <a:cubicBezTo>
                    <a:pt x="4337" y="46"/>
                    <a:pt x="4377" y="0"/>
                    <a:pt x="4432" y="0"/>
                  </a:cubicBezTo>
                  <a:cubicBezTo>
                    <a:pt x="4455" y="0"/>
                    <a:pt x="4475" y="7"/>
                    <a:pt x="4490" y="19"/>
                  </a:cubicBezTo>
                  <a:cubicBezTo>
                    <a:pt x="4503" y="30"/>
                    <a:pt x="4510" y="41"/>
                    <a:pt x="4515" y="51"/>
                  </a:cubicBezTo>
                  <a:lnTo>
                    <a:pt x="4476" y="70"/>
                  </a:lnTo>
                  <a:cubicBezTo>
                    <a:pt x="4473" y="64"/>
                    <a:pt x="4470" y="57"/>
                    <a:pt x="4461" y="50"/>
                  </a:cubicBezTo>
                  <a:cubicBezTo>
                    <a:pt x="4452" y="42"/>
                    <a:pt x="4443" y="40"/>
                    <a:pt x="4434" y="40"/>
                  </a:cubicBezTo>
                  <a:cubicBezTo>
                    <a:pt x="4403" y="40"/>
                    <a:pt x="4386" y="70"/>
                    <a:pt x="4386" y="102"/>
                  </a:cubicBezTo>
                  <a:cubicBezTo>
                    <a:pt x="4386" y="146"/>
                    <a:pt x="4408" y="167"/>
                    <a:pt x="4434" y="167"/>
                  </a:cubicBezTo>
                  <a:cubicBezTo>
                    <a:pt x="4460" y="167"/>
                    <a:pt x="4470" y="149"/>
                    <a:pt x="4477" y="138"/>
                  </a:cubicBezTo>
                  <a:lnTo>
                    <a:pt x="4516" y="158"/>
                  </a:lnTo>
                  <a:lnTo>
                    <a:pt x="4516" y="158"/>
                  </a:lnTo>
                  <a:close/>
                  <a:moveTo>
                    <a:pt x="4119" y="6"/>
                  </a:moveTo>
                  <a:lnTo>
                    <a:pt x="4119" y="6"/>
                  </a:lnTo>
                  <a:lnTo>
                    <a:pt x="4168" y="6"/>
                  </a:lnTo>
                  <a:lnTo>
                    <a:pt x="4168" y="161"/>
                  </a:lnTo>
                  <a:lnTo>
                    <a:pt x="4245" y="161"/>
                  </a:lnTo>
                  <a:lnTo>
                    <a:pt x="4245" y="202"/>
                  </a:lnTo>
                  <a:lnTo>
                    <a:pt x="4119" y="202"/>
                  </a:lnTo>
                  <a:lnTo>
                    <a:pt x="4119" y="6"/>
                  </a:lnTo>
                  <a:lnTo>
                    <a:pt x="4119" y="6"/>
                  </a:lnTo>
                  <a:close/>
                  <a:moveTo>
                    <a:pt x="3999" y="53"/>
                  </a:moveTo>
                  <a:lnTo>
                    <a:pt x="3999" y="53"/>
                  </a:lnTo>
                  <a:cubicBezTo>
                    <a:pt x="3996" y="63"/>
                    <a:pt x="3994" y="73"/>
                    <a:pt x="3991" y="83"/>
                  </a:cubicBezTo>
                  <a:cubicBezTo>
                    <a:pt x="3987" y="98"/>
                    <a:pt x="3979" y="121"/>
                    <a:pt x="3975" y="136"/>
                  </a:cubicBezTo>
                  <a:lnTo>
                    <a:pt x="4025" y="136"/>
                  </a:lnTo>
                  <a:lnTo>
                    <a:pt x="3999" y="53"/>
                  </a:lnTo>
                  <a:lnTo>
                    <a:pt x="3999" y="53"/>
                  </a:lnTo>
                  <a:close/>
                  <a:moveTo>
                    <a:pt x="4025" y="6"/>
                  </a:moveTo>
                  <a:lnTo>
                    <a:pt x="4025" y="6"/>
                  </a:lnTo>
                  <a:lnTo>
                    <a:pt x="4098" y="202"/>
                  </a:lnTo>
                  <a:lnTo>
                    <a:pt x="4045" y="202"/>
                  </a:lnTo>
                  <a:lnTo>
                    <a:pt x="4036" y="171"/>
                  </a:lnTo>
                  <a:lnTo>
                    <a:pt x="3963" y="171"/>
                  </a:lnTo>
                  <a:lnTo>
                    <a:pt x="3954" y="202"/>
                  </a:lnTo>
                  <a:lnTo>
                    <a:pt x="3901" y="202"/>
                  </a:lnTo>
                  <a:lnTo>
                    <a:pt x="3974" y="6"/>
                  </a:lnTo>
                  <a:lnTo>
                    <a:pt x="4025" y="6"/>
                  </a:lnTo>
                  <a:lnTo>
                    <a:pt x="4025" y="6"/>
                  </a:lnTo>
                  <a:close/>
                  <a:moveTo>
                    <a:pt x="3897" y="158"/>
                  </a:moveTo>
                  <a:lnTo>
                    <a:pt x="3897" y="158"/>
                  </a:lnTo>
                  <a:cubicBezTo>
                    <a:pt x="3889" y="169"/>
                    <a:pt x="3882" y="180"/>
                    <a:pt x="3867" y="191"/>
                  </a:cubicBezTo>
                  <a:cubicBezTo>
                    <a:pt x="3858" y="197"/>
                    <a:pt x="3839" y="208"/>
                    <a:pt x="3812" y="208"/>
                  </a:cubicBezTo>
                  <a:cubicBezTo>
                    <a:pt x="3760" y="208"/>
                    <a:pt x="3718" y="170"/>
                    <a:pt x="3718" y="104"/>
                  </a:cubicBezTo>
                  <a:cubicBezTo>
                    <a:pt x="3718" y="46"/>
                    <a:pt x="3757" y="0"/>
                    <a:pt x="3813" y="0"/>
                  </a:cubicBezTo>
                  <a:cubicBezTo>
                    <a:pt x="3836" y="0"/>
                    <a:pt x="3856" y="7"/>
                    <a:pt x="3870" y="19"/>
                  </a:cubicBezTo>
                  <a:cubicBezTo>
                    <a:pt x="3884" y="30"/>
                    <a:pt x="3891" y="41"/>
                    <a:pt x="3896" y="51"/>
                  </a:cubicBezTo>
                  <a:lnTo>
                    <a:pt x="3857" y="70"/>
                  </a:lnTo>
                  <a:cubicBezTo>
                    <a:pt x="3854" y="64"/>
                    <a:pt x="3851" y="57"/>
                    <a:pt x="3842" y="50"/>
                  </a:cubicBezTo>
                  <a:cubicBezTo>
                    <a:pt x="3833" y="42"/>
                    <a:pt x="3823" y="40"/>
                    <a:pt x="3815" y="40"/>
                  </a:cubicBezTo>
                  <a:cubicBezTo>
                    <a:pt x="3784" y="40"/>
                    <a:pt x="3767" y="70"/>
                    <a:pt x="3767" y="102"/>
                  </a:cubicBezTo>
                  <a:cubicBezTo>
                    <a:pt x="3767" y="146"/>
                    <a:pt x="3789" y="167"/>
                    <a:pt x="3815" y="167"/>
                  </a:cubicBezTo>
                  <a:cubicBezTo>
                    <a:pt x="3841" y="167"/>
                    <a:pt x="3851" y="149"/>
                    <a:pt x="3858" y="138"/>
                  </a:cubicBezTo>
                  <a:lnTo>
                    <a:pt x="3897" y="158"/>
                  </a:lnTo>
                  <a:lnTo>
                    <a:pt x="3897" y="158"/>
                  </a:lnTo>
                  <a:close/>
                  <a:moveTo>
                    <a:pt x="3637" y="6"/>
                  </a:moveTo>
                  <a:lnTo>
                    <a:pt x="3637" y="6"/>
                  </a:lnTo>
                  <a:lnTo>
                    <a:pt x="3686" y="6"/>
                  </a:lnTo>
                  <a:lnTo>
                    <a:pt x="3686" y="202"/>
                  </a:lnTo>
                  <a:lnTo>
                    <a:pt x="3637" y="202"/>
                  </a:lnTo>
                  <a:lnTo>
                    <a:pt x="3637" y="6"/>
                  </a:lnTo>
                  <a:close/>
                  <a:moveTo>
                    <a:pt x="3464" y="6"/>
                  </a:moveTo>
                  <a:lnTo>
                    <a:pt x="3464" y="6"/>
                  </a:lnTo>
                  <a:lnTo>
                    <a:pt x="3615" y="6"/>
                  </a:lnTo>
                  <a:lnTo>
                    <a:pt x="3615" y="45"/>
                  </a:lnTo>
                  <a:lnTo>
                    <a:pt x="3564" y="45"/>
                  </a:lnTo>
                  <a:lnTo>
                    <a:pt x="3564" y="202"/>
                  </a:lnTo>
                  <a:lnTo>
                    <a:pt x="3515" y="202"/>
                  </a:lnTo>
                  <a:lnTo>
                    <a:pt x="3515" y="45"/>
                  </a:lnTo>
                  <a:lnTo>
                    <a:pt x="3464" y="45"/>
                  </a:lnTo>
                  <a:lnTo>
                    <a:pt x="3464" y="6"/>
                  </a:lnTo>
                  <a:lnTo>
                    <a:pt x="3464" y="6"/>
                  </a:lnTo>
                  <a:close/>
                  <a:moveTo>
                    <a:pt x="3443" y="6"/>
                  </a:moveTo>
                  <a:lnTo>
                    <a:pt x="3443" y="6"/>
                  </a:lnTo>
                  <a:lnTo>
                    <a:pt x="3443" y="116"/>
                  </a:lnTo>
                  <a:cubicBezTo>
                    <a:pt x="3443" y="134"/>
                    <a:pt x="3442" y="153"/>
                    <a:pt x="3432" y="171"/>
                  </a:cubicBezTo>
                  <a:cubicBezTo>
                    <a:pt x="3410" y="205"/>
                    <a:pt x="3367" y="207"/>
                    <a:pt x="3358" y="207"/>
                  </a:cubicBezTo>
                  <a:cubicBezTo>
                    <a:pt x="3344" y="207"/>
                    <a:pt x="3326" y="203"/>
                    <a:pt x="3313" y="196"/>
                  </a:cubicBezTo>
                  <a:cubicBezTo>
                    <a:pt x="3275" y="177"/>
                    <a:pt x="3275" y="142"/>
                    <a:pt x="3275" y="116"/>
                  </a:cubicBezTo>
                  <a:lnTo>
                    <a:pt x="3275" y="6"/>
                  </a:lnTo>
                  <a:lnTo>
                    <a:pt x="3325" y="6"/>
                  </a:lnTo>
                  <a:lnTo>
                    <a:pt x="3325" y="128"/>
                  </a:lnTo>
                  <a:cubicBezTo>
                    <a:pt x="3325" y="138"/>
                    <a:pt x="3325" y="147"/>
                    <a:pt x="3328" y="153"/>
                  </a:cubicBezTo>
                  <a:cubicBezTo>
                    <a:pt x="3334" y="163"/>
                    <a:pt x="3348" y="166"/>
                    <a:pt x="3360" y="166"/>
                  </a:cubicBezTo>
                  <a:cubicBezTo>
                    <a:pt x="3393" y="166"/>
                    <a:pt x="3393" y="143"/>
                    <a:pt x="3394" y="128"/>
                  </a:cubicBezTo>
                  <a:lnTo>
                    <a:pt x="3394" y="6"/>
                  </a:lnTo>
                  <a:lnTo>
                    <a:pt x="3443" y="6"/>
                  </a:lnTo>
                  <a:lnTo>
                    <a:pt x="3443" y="6"/>
                  </a:lnTo>
                  <a:close/>
                  <a:moveTo>
                    <a:pt x="3095" y="6"/>
                  </a:moveTo>
                  <a:lnTo>
                    <a:pt x="3095" y="6"/>
                  </a:lnTo>
                  <a:lnTo>
                    <a:pt x="3240" y="6"/>
                  </a:lnTo>
                  <a:lnTo>
                    <a:pt x="3240" y="44"/>
                  </a:lnTo>
                  <a:lnTo>
                    <a:pt x="3144" y="44"/>
                  </a:lnTo>
                  <a:lnTo>
                    <a:pt x="3144" y="80"/>
                  </a:lnTo>
                  <a:lnTo>
                    <a:pt x="3234" y="80"/>
                  </a:lnTo>
                  <a:lnTo>
                    <a:pt x="3234" y="117"/>
                  </a:lnTo>
                  <a:lnTo>
                    <a:pt x="3144" y="117"/>
                  </a:lnTo>
                  <a:lnTo>
                    <a:pt x="3144" y="164"/>
                  </a:lnTo>
                  <a:lnTo>
                    <a:pt x="3249" y="164"/>
                  </a:lnTo>
                  <a:lnTo>
                    <a:pt x="3249" y="202"/>
                  </a:lnTo>
                  <a:lnTo>
                    <a:pt x="3095" y="202"/>
                  </a:lnTo>
                  <a:lnTo>
                    <a:pt x="3095" y="6"/>
                  </a:lnTo>
                  <a:lnTo>
                    <a:pt x="3095" y="6"/>
                  </a:lnTo>
                  <a:close/>
                  <a:moveTo>
                    <a:pt x="3071" y="158"/>
                  </a:moveTo>
                  <a:lnTo>
                    <a:pt x="3071" y="158"/>
                  </a:lnTo>
                  <a:cubicBezTo>
                    <a:pt x="3064" y="169"/>
                    <a:pt x="3057" y="180"/>
                    <a:pt x="3042" y="191"/>
                  </a:cubicBezTo>
                  <a:cubicBezTo>
                    <a:pt x="3033" y="197"/>
                    <a:pt x="3014" y="208"/>
                    <a:pt x="2987" y="208"/>
                  </a:cubicBezTo>
                  <a:cubicBezTo>
                    <a:pt x="2935" y="208"/>
                    <a:pt x="2892" y="170"/>
                    <a:pt x="2892" y="104"/>
                  </a:cubicBezTo>
                  <a:cubicBezTo>
                    <a:pt x="2892" y="46"/>
                    <a:pt x="2932" y="0"/>
                    <a:pt x="2988" y="0"/>
                  </a:cubicBezTo>
                  <a:cubicBezTo>
                    <a:pt x="3010" y="0"/>
                    <a:pt x="3030" y="7"/>
                    <a:pt x="3045" y="19"/>
                  </a:cubicBezTo>
                  <a:cubicBezTo>
                    <a:pt x="3059" y="30"/>
                    <a:pt x="3065" y="41"/>
                    <a:pt x="3071" y="51"/>
                  </a:cubicBezTo>
                  <a:lnTo>
                    <a:pt x="3032" y="70"/>
                  </a:lnTo>
                  <a:cubicBezTo>
                    <a:pt x="3029" y="64"/>
                    <a:pt x="3026" y="57"/>
                    <a:pt x="3017" y="50"/>
                  </a:cubicBezTo>
                  <a:cubicBezTo>
                    <a:pt x="3008" y="42"/>
                    <a:pt x="2998" y="40"/>
                    <a:pt x="2990" y="40"/>
                  </a:cubicBezTo>
                  <a:cubicBezTo>
                    <a:pt x="2958" y="40"/>
                    <a:pt x="2942" y="70"/>
                    <a:pt x="2942" y="102"/>
                  </a:cubicBezTo>
                  <a:cubicBezTo>
                    <a:pt x="2942" y="146"/>
                    <a:pt x="2964" y="167"/>
                    <a:pt x="2990" y="167"/>
                  </a:cubicBezTo>
                  <a:cubicBezTo>
                    <a:pt x="3016" y="167"/>
                    <a:pt x="3026" y="149"/>
                    <a:pt x="3033" y="138"/>
                  </a:cubicBezTo>
                  <a:lnTo>
                    <a:pt x="3071" y="158"/>
                  </a:lnTo>
                  <a:lnTo>
                    <a:pt x="3071" y="158"/>
                  </a:lnTo>
                  <a:close/>
                  <a:moveTo>
                    <a:pt x="2790" y="53"/>
                  </a:moveTo>
                  <a:lnTo>
                    <a:pt x="2790" y="53"/>
                  </a:lnTo>
                  <a:cubicBezTo>
                    <a:pt x="2787" y="63"/>
                    <a:pt x="2784" y="73"/>
                    <a:pt x="2781" y="83"/>
                  </a:cubicBezTo>
                  <a:cubicBezTo>
                    <a:pt x="2777" y="98"/>
                    <a:pt x="2770" y="121"/>
                    <a:pt x="2765" y="136"/>
                  </a:cubicBezTo>
                  <a:lnTo>
                    <a:pt x="2815" y="136"/>
                  </a:lnTo>
                  <a:lnTo>
                    <a:pt x="2790" y="53"/>
                  </a:lnTo>
                  <a:lnTo>
                    <a:pt x="2790" y="53"/>
                  </a:lnTo>
                  <a:close/>
                  <a:moveTo>
                    <a:pt x="2816" y="6"/>
                  </a:moveTo>
                  <a:lnTo>
                    <a:pt x="2816" y="6"/>
                  </a:lnTo>
                  <a:lnTo>
                    <a:pt x="2888" y="202"/>
                  </a:lnTo>
                  <a:lnTo>
                    <a:pt x="2836" y="202"/>
                  </a:lnTo>
                  <a:lnTo>
                    <a:pt x="2826" y="171"/>
                  </a:lnTo>
                  <a:lnTo>
                    <a:pt x="2754" y="171"/>
                  </a:lnTo>
                  <a:lnTo>
                    <a:pt x="2744" y="202"/>
                  </a:lnTo>
                  <a:lnTo>
                    <a:pt x="2692" y="202"/>
                  </a:lnTo>
                  <a:lnTo>
                    <a:pt x="2765" y="6"/>
                  </a:lnTo>
                  <a:lnTo>
                    <a:pt x="2816" y="6"/>
                  </a:lnTo>
                  <a:lnTo>
                    <a:pt x="2816" y="6"/>
                  </a:lnTo>
                  <a:close/>
                  <a:moveTo>
                    <a:pt x="2671" y="6"/>
                  </a:moveTo>
                  <a:lnTo>
                    <a:pt x="2671" y="6"/>
                  </a:lnTo>
                  <a:lnTo>
                    <a:pt x="2671" y="202"/>
                  </a:lnTo>
                  <a:lnTo>
                    <a:pt x="2624" y="202"/>
                  </a:lnTo>
                  <a:lnTo>
                    <a:pt x="2627" y="62"/>
                  </a:lnTo>
                  <a:lnTo>
                    <a:pt x="2628" y="43"/>
                  </a:lnTo>
                  <a:lnTo>
                    <a:pt x="2626" y="50"/>
                  </a:lnTo>
                  <a:cubicBezTo>
                    <a:pt x="2623" y="61"/>
                    <a:pt x="2623" y="62"/>
                    <a:pt x="2621" y="70"/>
                  </a:cubicBezTo>
                  <a:lnTo>
                    <a:pt x="2584" y="202"/>
                  </a:lnTo>
                  <a:lnTo>
                    <a:pt x="2541" y="202"/>
                  </a:lnTo>
                  <a:lnTo>
                    <a:pt x="2506" y="76"/>
                  </a:lnTo>
                  <a:lnTo>
                    <a:pt x="2497" y="41"/>
                  </a:lnTo>
                  <a:cubicBezTo>
                    <a:pt x="2498" y="56"/>
                    <a:pt x="2498" y="60"/>
                    <a:pt x="2499" y="78"/>
                  </a:cubicBezTo>
                  <a:lnTo>
                    <a:pt x="2501" y="202"/>
                  </a:lnTo>
                  <a:lnTo>
                    <a:pt x="2454" y="202"/>
                  </a:lnTo>
                  <a:lnTo>
                    <a:pt x="2454" y="6"/>
                  </a:lnTo>
                  <a:lnTo>
                    <a:pt x="2526" y="6"/>
                  </a:lnTo>
                  <a:lnTo>
                    <a:pt x="2556" y="116"/>
                  </a:lnTo>
                  <a:lnTo>
                    <a:pt x="2563" y="148"/>
                  </a:lnTo>
                  <a:cubicBezTo>
                    <a:pt x="2565" y="134"/>
                    <a:pt x="2566" y="133"/>
                    <a:pt x="2568" y="123"/>
                  </a:cubicBezTo>
                  <a:lnTo>
                    <a:pt x="2599" y="6"/>
                  </a:lnTo>
                  <a:lnTo>
                    <a:pt x="2671" y="6"/>
                  </a:lnTo>
                  <a:lnTo>
                    <a:pt x="2671" y="6"/>
                  </a:lnTo>
                  <a:close/>
                  <a:moveTo>
                    <a:pt x="2302" y="43"/>
                  </a:moveTo>
                  <a:lnTo>
                    <a:pt x="2302" y="43"/>
                  </a:lnTo>
                  <a:lnTo>
                    <a:pt x="2302" y="96"/>
                  </a:lnTo>
                  <a:lnTo>
                    <a:pt x="2343" y="96"/>
                  </a:lnTo>
                  <a:cubicBezTo>
                    <a:pt x="2350" y="95"/>
                    <a:pt x="2373" y="95"/>
                    <a:pt x="2373" y="69"/>
                  </a:cubicBezTo>
                  <a:cubicBezTo>
                    <a:pt x="2373" y="44"/>
                    <a:pt x="2354" y="43"/>
                    <a:pt x="2344" y="43"/>
                  </a:cubicBezTo>
                  <a:lnTo>
                    <a:pt x="2302" y="43"/>
                  </a:lnTo>
                  <a:lnTo>
                    <a:pt x="2302" y="43"/>
                  </a:lnTo>
                  <a:close/>
                  <a:moveTo>
                    <a:pt x="2253" y="6"/>
                  </a:moveTo>
                  <a:lnTo>
                    <a:pt x="2253" y="6"/>
                  </a:lnTo>
                  <a:lnTo>
                    <a:pt x="2342" y="6"/>
                  </a:lnTo>
                  <a:cubicBezTo>
                    <a:pt x="2362" y="6"/>
                    <a:pt x="2388" y="6"/>
                    <a:pt x="2406" y="26"/>
                  </a:cubicBezTo>
                  <a:cubicBezTo>
                    <a:pt x="2415" y="36"/>
                    <a:pt x="2422" y="52"/>
                    <a:pt x="2422" y="70"/>
                  </a:cubicBezTo>
                  <a:cubicBezTo>
                    <a:pt x="2422" y="109"/>
                    <a:pt x="2395" y="119"/>
                    <a:pt x="2381" y="124"/>
                  </a:cubicBezTo>
                  <a:lnTo>
                    <a:pt x="2427" y="202"/>
                  </a:lnTo>
                  <a:lnTo>
                    <a:pt x="2372" y="202"/>
                  </a:lnTo>
                  <a:lnTo>
                    <a:pt x="2333" y="132"/>
                  </a:lnTo>
                  <a:lnTo>
                    <a:pt x="2302" y="132"/>
                  </a:lnTo>
                  <a:lnTo>
                    <a:pt x="2302" y="202"/>
                  </a:lnTo>
                  <a:lnTo>
                    <a:pt x="2253" y="202"/>
                  </a:lnTo>
                  <a:lnTo>
                    <a:pt x="2253" y="6"/>
                  </a:lnTo>
                  <a:lnTo>
                    <a:pt x="2253" y="6"/>
                  </a:lnTo>
                  <a:close/>
                  <a:moveTo>
                    <a:pt x="2134" y="53"/>
                  </a:moveTo>
                  <a:lnTo>
                    <a:pt x="2134" y="53"/>
                  </a:lnTo>
                  <a:cubicBezTo>
                    <a:pt x="2131" y="63"/>
                    <a:pt x="2128" y="73"/>
                    <a:pt x="2125" y="83"/>
                  </a:cubicBezTo>
                  <a:cubicBezTo>
                    <a:pt x="2121" y="98"/>
                    <a:pt x="2114" y="121"/>
                    <a:pt x="2109" y="136"/>
                  </a:cubicBezTo>
                  <a:lnTo>
                    <a:pt x="2159" y="136"/>
                  </a:lnTo>
                  <a:lnTo>
                    <a:pt x="2134" y="53"/>
                  </a:lnTo>
                  <a:lnTo>
                    <a:pt x="2134" y="53"/>
                  </a:lnTo>
                  <a:close/>
                  <a:moveTo>
                    <a:pt x="2160" y="6"/>
                  </a:moveTo>
                  <a:lnTo>
                    <a:pt x="2160" y="6"/>
                  </a:lnTo>
                  <a:lnTo>
                    <a:pt x="2232" y="202"/>
                  </a:lnTo>
                  <a:lnTo>
                    <a:pt x="2180" y="202"/>
                  </a:lnTo>
                  <a:lnTo>
                    <a:pt x="2170" y="171"/>
                  </a:lnTo>
                  <a:lnTo>
                    <a:pt x="2098" y="171"/>
                  </a:lnTo>
                  <a:lnTo>
                    <a:pt x="2088" y="202"/>
                  </a:lnTo>
                  <a:lnTo>
                    <a:pt x="2036" y="202"/>
                  </a:lnTo>
                  <a:lnTo>
                    <a:pt x="2109" y="6"/>
                  </a:lnTo>
                  <a:lnTo>
                    <a:pt x="2160" y="6"/>
                  </a:lnTo>
                  <a:lnTo>
                    <a:pt x="2160" y="6"/>
                  </a:lnTo>
                  <a:close/>
                  <a:moveTo>
                    <a:pt x="2015" y="6"/>
                  </a:moveTo>
                  <a:lnTo>
                    <a:pt x="2015" y="6"/>
                  </a:lnTo>
                  <a:lnTo>
                    <a:pt x="2015" y="202"/>
                  </a:lnTo>
                  <a:lnTo>
                    <a:pt x="1966" y="202"/>
                  </a:lnTo>
                  <a:lnTo>
                    <a:pt x="1966" y="119"/>
                  </a:lnTo>
                  <a:lnTo>
                    <a:pt x="1894" y="119"/>
                  </a:lnTo>
                  <a:lnTo>
                    <a:pt x="1894" y="202"/>
                  </a:lnTo>
                  <a:lnTo>
                    <a:pt x="1845" y="202"/>
                  </a:lnTo>
                  <a:lnTo>
                    <a:pt x="1845" y="6"/>
                  </a:lnTo>
                  <a:lnTo>
                    <a:pt x="1894" y="6"/>
                  </a:lnTo>
                  <a:lnTo>
                    <a:pt x="1894" y="77"/>
                  </a:lnTo>
                  <a:lnTo>
                    <a:pt x="1966" y="77"/>
                  </a:lnTo>
                  <a:lnTo>
                    <a:pt x="1966" y="6"/>
                  </a:lnTo>
                  <a:lnTo>
                    <a:pt x="2015" y="6"/>
                  </a:lnTo>
                  <a:lnTo>
                    <a:pt x="2015" y="6"/>
                  </a:lnTo>
                  <a:close/>
                  <a:moveTo>
                    <a:pt x="1701" y="42"/>
                  </a:moveTo>
                  <a:lnTo>
                    <a:pt x="1701" y="42"/>
                  </a:lnTo>
                  <a:lnTo>
                    <a:pt x="1701" y="102"/>
                  </a:lnTo>
                  <a:lnTo>
                    <a:pt x="1731" y="102"/>
                  </a:lnTo>
                  <a:cubicBezTo>
                    <a:pt x="1749" y="102"/>
                    <a:pt x="1771" y="101"/>
                    <a:pt x="1771" y="71"/>
                  </a:cubicBezTo>
                  <a:cubicBezTo>
                    <a:pt x="1771" y="42"/>
                    <a:pt x="1747" y="42"/>
                    <a:pt x="1732" y="42"/>
                  </a:cubicBezTo>
                  <a:lnTo>
                    <a:pt x="1701" y="42"/>
                  </a:lnTo>
                  <a:lnTo>
                    <a:pt x="1701" y="42"/>
                  </a:lnTo>
                  <a:close/>
                  <a:moveTo>
                    <a:pt x="1652" y="6"/>
                  </a:moveTo>
                  <a:lnTo>
                    <a:pt x="1652" y="6"/>
                  </a:lnTo>
                  <a:lnTo>
                    <a:pt x="1731" y="6"/>
                  </a:lnTo>
                  <a:cubicBezTo>
                    <a:pt x="1763" y="6"/>
                    <a:pt x="1792" y="6"/>
                    <a:pt x="1809" y="31"/>
                  </a:cubicBezTo>
                  <a:cubicBezTo>
                    <a:pt x="1817" y="42"/>
                    <a:pt x="1820" y="58"/>
                    <a:pt x="1820" y="71"/>
                  </a:cubicBezTo>
                  <a:cubicBezTo>
                    <a:pt x="1820" y="82"/>
                    <a:pt x="1818" y="92"/>
                    <a:pt x="1814" y="102"/>
                  </a:cubicBezTo>
                  <a:cubicBezTo>
                    <a:pt x="1797" y="137"/>
                    <a:pt x="1761" y="138"/>
                    <a:pt x="1734" y="138"/>
                  </a:cubicBezTo>
                  <a:lnTo>
                    <a:pt x="1701" y="138"/>
                  </a:lnTo>
                  <a:lnTo>
                    <a:pt x="1701" y="202"/>
                  </a:lnTo>
                  <a:lnTo>
                    <a:pt x="1652" y="202"/>
                  </a:lnTo>
                  <a:lnTo>
                    <a:pt x="1652" y="6"/>
                  </a:lnTo>
                  <a:lnTo>
                    <a:pt x="1652" y="6"/>
                  </a:lnTo>
                  <a:close/>
                  <a:moveTo>
                    <a:pt x="1373" y="6"/>
                  </a:moveTo>
                  <a:lnTo>
                    <a:pt x="1373" y="6"/>
                  </a:lnTo>
                  <a:lnTo>
                    <a:pt x="1422" y="6"/>
                  </a:lnTo>
                  <a:lnTo>
                    <a:pt x="1464" y="78"/>
                  </a:lnTo>
                  <a:cubicBezTo>
                    <a:pt x="1480" y="106"/>
                    <a:pt x="1485" y="115"/>
                    <a:pt x="1494" y="132"/>
                  </a:cubicBezTo>
                  <a:lnTo>
                    <a:pt x="1492" y="6"/>
                  </a:lnTo>
                  <a:lnTo>
                    <a:pt x="1539" y="6"/>
                  </a:lnTo>
                  <a:lnTo>
                    <a:pt x="1539" y="202"/>
                  </a:lnTo>
                  <a:lnTo>
                    <a:pt x="1490" y="202"/>
                  </a:lnTo>
                  <a:lnTo>
                    <a:pt x="1454" y="140"/>
                  </a:lnTo>
                  <a:cubicBezTo>
                    <a:pt x="1436" y="111"/>
                    <a:pt x="1432" y="105"/>
                    <a:pt x="1419" y="79"/>
                  </a:cubicBezTo>
                  <a:lnTo>
                    <a:pt x="1420" y="202"/>
                  </a:lnTo>
                  <a:lnTo>
                    <a:pt x="1373" y="202"/>
                  </a:lnTo>
                  <a:lnTo>
                    <a:pt x="1373" y="6"/>
                  </a:lnTo>
                  <a:lnTo>
                    <a:pt x="1373" y="6"/>
                  </a:lnTo>
                  <a:close/>
                  <a:moveTo>
                    <a:pt x="1189" y="6"/>
                  </a:moveTo>
                  <a:lnTo>
                    <a:pt x="1189" y="6"/>
                  </a:lnTo>
                  <a:lnTo>
                    <a:pt x="1335" y="6"/>
                  </a:lnTo>
                  <a:lnTo>
                    <a:pt x="1335" y="44"/>
                  </a:lnTo>
                  <a:lnTo>
                    <a:pt x="1238" y="44"/>
                  </a:lnTo>
                  <a:lnTo>
                    <a:pt x="1238" y="80"/>
                  </a:lnTo>
                  <a:lnTo>
                    <a:pt x="1328" y="80"/>
                  </a:lnTo>
                  <a:lnTo>
                    <a:pt x="1328" y="117"/>
                  </a:lnTo>
                  <a:lnTo>
                    <a:pt x="1238" y="117"/>
                  </a:lnTo>
                  <a:lnTo>
                    <a:pt x="1238" y="164"/>
                  </a:lnTo>
                  <a:lnTo>
                    <a:pt x="1343" y="164"/>
                  </a:lnTo>
                  <a:lnTo>
                    <a:pt x="1343" y="202"/>
                  </a:lnTo>
                  <a:lnTo>
                    <a:pt x="1189" y="202"/>
                  </a:lnTo>
                  <a:lnTo>
                    <a:pt x="1189" y="6"/>
                  </a:lnTo>
                  <a:lnTo>
                    <a:pt x="1189" y="6"/>
                  </a:lnTo>
                  <a:close/>
                  <a:moveTo>
                    <a:pt x="1017" y="143"/>
                  </a:moveTo>
                  <a:lnTo>
                    <a:pt x="1017" y="143"/>
                  </a:lnTo>
                  <a:cubicBezTo>
                    <a:pt x="1022" y="149"/>
                    <a:pt x="1026" y="153"/>
                    <a:pt x="1036" y="159"/>
                  </a:cubicBezTo>
                  <a:cubicBezTo>
                    <a:pt x="1049" y="166"/>
                    <a:pt x="1062" y="168"/>
                    <a:pt x="1074" y="168"/>
                  </a:cubicBezTo>
                  <a:cubicBezTo>
                    <a:pt x="1093" y="168"/>
                    <a:pt x="1110" y="159"/>
                    <a:pt x="1110" y="145"/>
                  </a:cubicBezTo>
                  <a:cubicBezTo>
                    <a:pt x="1110" y="130"/>
                    <a:pt x="1090" y="127"/>
                    <a:pt x="1076" y="125"/>
                  </a:cubicBezTo>
                  <a:cubicBezTo>
                    <a:pt x="1065" y="124"/>
                    <a:pt x="1054" y="123"/>
                    <a:pt x="1043" y="120"/>
                  </a:cubicBezTo>
                  <a:cubicBezTo>
                    <a:pt x="1031" y="118"/>
                    <a:pt x="990" y="109"/>
                    <a:pt x="990" y="67"/>
                  </a:cubicBezTo>
                  <a:cubicBezTo>
                    <a:pt x="990" y="16"/>
                    <a:pt x="1035" y="1"/>
                    <a:pt x="1069" y="1"/>
                  </a:cubicBezTo>
                  <a:cubicBezTo>
                    <a:pt x="1115" y="1"/>
                    <a:pt x="1139" y="23"/>
                    <a:pt x="1156" y="38"/>
                  </a:cubicBezTo>
                  <a:lnTo>
                    <a:pt x="1120" y="64"/>
                  </a:lnTo>
                  <a:cubicBezTo>
                    <a:pt x="1114" y="58"/>
                    <a:pt x="1108" y="53"/>
                    <a:pt x="1101" y="48"/>
                  </a:cubicBezTo>
                  <a:cubicBezTo>
                    <a:pt x="1094" y="45"/>
                    <a:pt x="1081" y="40"/>
                    <a:pt x="1069" y="40"/>
                  </a:cubicBezTo>
                  <a:cubicBezTo>
                    <a:pt x="1049" y="40"/>
                    <a:pt x="1039" y="51"/>
                    <a:pt x="1039" y="60"/>
                  </a:cubicBezTo>
                  <a:cubicBezTo>
                    <a:pt x="1039" y="75"/>
                    <a:pt x="1056" y="78"/>
                    <a:pt x="1064" y="79"/>
                  </a:cubicBezTo>
                  <a:cubicBezTo>
                    <a:pt x="1085" y="81"/>
                    <a:pt x="1113" y="87"/>
                    <a:pt x="1125" y="90"/>
                  </a:cubicBezTo>
                  <a:cubicBezTo>
                    <a:pt x="1147" y="99"/>
                    <a:pt x="1159" y="116"/>
                    <a:pt x="1159" y="139"/>
                  </a:cubicBezTo>
                  <a:cubicBezTo>
                    <a:pt x="1159" y="153"/>
                    <a:pt x="1153" y="168"/>
                    <a:pt x="1143" y="180"/>
                  </a:cubicBezTo>
                  <a:cubicBezTo>
                    <a:pt x="1125" y="201"/>
                    <a:pt x="1097" y="207"/>
                    <a:pt x="1069" y="207"/>
                  </a:cubicBezTo>
                  <a:cubicBezTo>
                    <a:pt x="1014" y="207"/>
                    <a:pt x="992" y="181"/>
                    <a:pt x="979" y="167"/>
                  </a:cubicBezTo>
                  <a:lnTo>
                    <a:pt x="1017" y="143"/>
                  </a:lnTo>
                  <a:lnTo>
                    <a:pt x="1017" y="143"/>
                  </a:lnTo>
                  <a:close/>
                  <a:moveTo>
                    <a:pt x="823" y="143"/>
                  </a:moveTo>
                  <a:lnTo>
                    <a:pt x="823" y="143"/>
                  </a:lnTo>
                  <a:cubicBezTo>
                    <a:pt x="828" y="149"/>
                    <a:pt x="832" y="153"/>
                    <a:pt x="842" y="159"/>
                  </a:cubicBezTo>
                  <a:cubicBezTo>
                    <a:pt x="855" y="166"/>
                    <a:pt x="868" y="168"/>
                    <a:pt x="880" y="168"/>
                  </a:cubicBezTo>
                  <a:cubicBezTo>
                    <a:pt x="899" y="168"/>
                    <a:pt x="916" y="159"/>
                    <a:pt x="916" y="145"/>
                  </a:cubicBezTo>
                  <a:cubicBezTo>
                    <a:pt x="916" y="130"/>
                    <a:pt x="896" y="127"/>
                    <a:pt x="882" y="125"/>
                  </a:cubicBezTo>
                  <a:cubicBezTo>
                    <a:pt x="871" y="124"/>
                    <a:pt x="860" y="123"/>
                    <a:pt x="849" y="120"/>
                  </a:cubicBezTo>
                  <a:cubicBezTo>
                    <a:pt x="837" y="118"/>
                    <a:pt x="796" y="109"/>
                    <a:pt x="796" y="67"/>
                  </a:cubicBezTo>
                  <a:cubicBezTo>
                    <a:pt x="796" y="16"/>
                    <a:pt x="842" y="1"/>
                    <a:pt x="876" y="1"/>
                  </a:cubicBezTo>
                  <a:cubicBezTo>
                    <a:pt x="921" y="1"/>
                    <a:pt x="946" y="23"/>
                    <a:pt x="963" y="38"/>
                  </a:cubicBezTo>
                  <a:lnTo>
                    <a:pt x="926" y="64"/>
                  </a:lnTo>
                  <a:cubicBezTo>
                    <a:pt x="920" y="58"/>
                    <a:pt x="915" y="53"/>
                    <a:pt x="907" y="48"/>
                  </a:cubicBezTo>
                  <a:cubicBezTo>
                    <a:pt x="900" y="45"/>
                    <a:pt x="887" y="40"/>
                    <a:pt x="875" y="40"/>
                  </a:cubicBezTo>
                  <a:cubicBezTo>
                    <a:pt x="855" y="40"/>
                    <a:pt x="846" y="51"/>
                    <a:pt x="846" y="60"/>
                  </a:cubicBezTo>
                  <a:cubicBezTo>
                    <a:pt x="846" y="75"/>
                    <a:pt x="862" y="78"/>
                    <a:pt x="871" y="79"/>
                  </a:cubicBezTo>
                  <a:cubicBezTo>
                    <a:pt x="891" y="81"/>
                    <a:pt x="920" y="87"/>
                    <a:pt x="931" y="90"/>
                  </a:cubicBezTo>
                  <a:cubicBezTo>
                    <a:pt x="953" y="99"/>
                    <a:pt x="965" y="116"/>
                    <a:pt x="965" y="139"/>
                  </a:cubicBezTo>
                  <a:cubicBezTo>
                    <a:pt x="965" y="153"/>
                    <a:pt x="959" y="168"/>
                    <a:pt x="949" y="180"/>
                  </a:cubicBezTo>
                  <a:cubicBezTo>
                    <a:pt x="931" y="201"/>
                    <a:pt x="903" y="207"/>
                    <a:pt x="875" y="207"/>
                  </a:cubicBezTo>
                  <a:cubicBezTo>
                    <a:pt x="820" y="207"/>
                    <a:pt x="798" y="181"/>
                    <a:pt x="786" y="167"/>
                  </a:cubicBezTo>
                  <a:lnTo>
                    <a:pt x="823" y="143"/>
                  </a:lnTo>
                  <a:lnTo>
                    <a:pt x="823" y="143"/>
                  </a:lnTo>
                  <a:close/>
                  <a:moveTo>
                    <a:pt x="596" y="6"/>
                  </a:moveTo>
                  <a:lnTo>
                    <a:pt x="596" y="6"/>
                  </a:lnTo>
                  <a:lnTo>
                    <a:pt x="645" y="6"/>
                  </a:lnTo>
                  <a:lnTo>
                    <a:pt x="687" y="78"/>
                  </a:lnTo>
                  <a:cubicBezTo>
                    <a:pt x="703" y="106"/>
                    <a:pt x="708" y="115"/>
                    <a:pt x="717" y="132"/>
                  </a:cubicBezTo>
                  <a:lnTo>
                    <a:pt x="715" y="6"/>
                  </a:lnTo>
                  <a:lnTo>
                    <a:pt x="762" y="6"/>
                  </a:lnTo>
                  <a:lnTo>
                    <a:pt x="762" y="202"/>
                  </a:lnTo>
                  <a:lnTo>
                    <a:pt x="713" y="202"/>
                  </a:lnTo>
                  <a:lnTo>
                    <a:pt x="677" y="140"/>
                  </a:lnTo>
                  <a:cubicBezTo>
                    <a:pt x="659" y="111"/>
                    <a:pt x="656" y="105"/>
                    <a:pt x="642" y="79"/>
                  </a:cubicBezTo>
                  <a:lnTo>
                    <a:pt x="644" y="202"/>
                  </a:lnTo>
                  <a:lnTo>
                    <a:pt x="596" y="202"/>
                  </a:lnTo>
                  <a:lnTo>
                    <a:pt x="596" y="6"/>
                  </a:lnTo>
                  <a:lnTo>
                    <a:pt x="596" y="6"/>
                  </a:lnTo>
                  <a:close/>
                  <a:moveTo>
                    <a:pt x="477" y="53"/>
                  </a:moveTo>
                  <a:lnTo>
                    <a:pt x="477" y="53"/>
                  </a:lnTo>
                  <a:cubicBezTo>
                    <a:pt x="474" y="63"/>
                    <a:pt x="472" y="73"/>
                    <a:pt x="469" y="83"/>
                  </a:cubicBezTo>
                  <a:cubicBezTo>
                    <a:pt x="465" y="98"/>
                    <a:pt x="457" y="121"/>
                    <a:pt x="453" y="136"/>
                  </a:cubicBezTo>
                  <a:lnTo>
                    <a:pt x="503" y="136"/>
                  </a:lnTo>
                  <a:lnTo>
                    <a:pt x="477" y="53"/>
                  </a:lnTo>
                  <a:lnTo>
                    <a:pt x="477" y="53"/>
                  </a:lnTo>
                  <a:close/>
                  <a:moveTo>
                    <a:pt x="503" y="6"/>
                  </a:moveTo>
                  <a:lnTo>
                    <a:pt x="503" y="6"/>
                  </a:lnTo>
                  <a:lnTo>
                    <a:pt x="576" y="202"/>
                  </a:lnTo>
                  <a:lnTo>
                    <a:pt x="523" y="202"/>
                  </a:lnTo>
                  <a:lnTo>
                    <a:pt x="514" y="171"/>
                  </a:lnTo>
                  <a:lnTo>
                    <a:pt x="441" y="171"/>
                  </a:lnTo>
                  <a:lnTo>
                    <a:pt x="432" y="202"/>
                  </a:lnTo>
                  <a:lnTo>
                    <a:pt x="379" y="202"/>
                  </a:lnTo>
                  <a:lnTo>
                    <a:pt x="452" y="6"/>
                  </a:lnTo>
                  <a:lnTo>
                    <a:pt x="503" y="6"/>
                  </a:lnTo>
                  <a:lnTo>
                    <a:pt x="503" y="6"/>
                  </a:lnTo>
                  <a:close/>
                  <a:moveTo>
                    <a:pt x="315" y="6"/>
                  </a:moveTo>
                  <a:lnTo>
                    <a:pt x="315" y="6"/>
                  </a:lnTo>
                  <a:lnTo>
                    <a:pt x="365" y="6"/>
                  </a:lnTo>
                  <a:lnTo>
                    <a:pt x="365" y="148"/>
                  </a:lnTo>
                  <a:cubicBezTo>
                    <a:pt x="365" y="166"/>
                    <a:pt x="365" y="178"/>
                    <a:pt x="355" y="189"/>
                  </a:cubicBezTo>
                  <a:cubicBezTo>
                    <a:pt x="344" y="201"/>
                    <a:pt x="326" y="202"/>
                    <a:pt x="310" y="202"/>
                  </a:cubicBezTo>
                  <a:lnTo>
                    <a:pt x="277" y="202"/>
                  </a:lnTo>
                  <a:lnTo>
                    <a:pt x="277" y="163"/>
                  </a:lnTo>
                  <a:lnTo>
                    <a:pt x="285" y="163"/>
                  </a:lnTo>
                  <a:cubicBezTo>
                    <a:pt x="312" y="163"/>
                    <a:pt x="315" y="160"/>
                    <a:pt x="315" y="142"/>
                  </a:cubicBezTo>
                  <a:lnTo>
                    <a:pt x="315" y="6"/>
                  </a:lnTo>
                  <a:lnTo>
                    <a:pt x="315" y="6"/>
                  </a:lnTo>
                  <a:close/>
                  <a:moveTo>
                    <a:pt x="97" y="53"/>
                  </a:moveTo>
                  <a:lnTo>
                    <a:pt x="97" y="53"/>
                  </a:lnTo>
                  <a:cubicBezTo>
                    <a:pt x="95" y="63"/>
                    <a:pt x="92" y="73"/>
                    <a:pt x="89" y="83"/>
                  </a:cubicBezTo>
                  <a:cubicBezTo>
                    <a:pt x="85" y="98"/>
                    <a:pt x="78" y="121"/>
                    <a:pt x="73" y="136"/>
                  </a:cubicBezTo>
                  <a:lnTo>
                    <a:pt x="123" y="136"/>
                  </a:lnTo>
                  <a:lnTo>
                    <a:pt x="97" y="53"/>
                  </a:lnTo>
                  <a:lnTo>
                    <a:pt x="97" y="53"/>
                  </a:lnTo>
                  <a:close/>
                  <a:moveTo>
                    <a:pt x="124" y="6"/>
                  </a:moveTo>
                  <a:lnTo>
                    <a:pt x="124" y="6"/>
                  </a:lnTo>
                  <a:lnTo>
                    <a:pt x="196" y="202"/>
                  </a:lnTo>
                  <a:lnTo>
                    <a:pt x="144" y="202"/>
                  </a:lnTo>
                  <a:lnTo>
                    <a:pt x="134" y="171"/>
                  </a:lnTo>
                  <a:lnTo>
                    <a:pt x="62" y="171"/>
                  </a:lnTo>
                  <a:lnTo>
                    <a:pt x="52" y="202"/>
                  </a:lnTo>
                  <a:lnTo>
                    <a:pt x="0" y="202"/>
                  </a:lnTo>
                  <a:lnTo>
                    <a:pt x="73" y="6"/>
                  </a:lnTo>
                  <a:lnTo>
                    <a:pt x="124" y="6"/>
                  </a:lnTo>
                  <a:close/>
                </a:path>
              </a:pathLst>
            </a:custGeom>
            <a:solidFill>
              <a:srgbClr val="8C8C8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" name="Freeform 9"/>
            <p:cNvSpPr>
              <a:spLocks noEditPoints="1"/>
            </p:cNvSpPr>
            <p:nvPr userDrawn="1"/>
          </p:nvSpPr>
          <p:spPr bwMode="auto">
            <a:xfrm>
              <a:off x="4817" y="2964"/>
              <a:ext cx="408" cy="75"/>
            </a:xfrm>
            <a:custGeom>
              <a:avLst/>
              <a:gdLst>
                <a:gd name="T0" fmla="*/ 2879 w 3218"/>
                <a:gd name="T1" fmla="*/ 212 h 584"/>
                <a:gd name="T2" fmla="*/ 2035 w 3218"/>
                <a:gd name="T3" fmla="*/ 212 h 584"/>
                <a:gd name="T4" fmla="*/ 2198 w 3218"/>
                <a:gd name="T5" fmla="*/ 170 h 584"/>
                <a:gd name="T6" fmla="*/ 1787 w 3218"/>
                <a:gd name="T7" fmla="*/ 546 h 584"/>
                <a:gd name="T8" fmla="*/ 2686 w 3218"/>
                <a:gd name="T9" fmla="*/ 327 h 584"/>
                <a:gd name="T10" fmla="*/ 1850 w 3218"/>
                <a:gd name="T11" fmla="*/ 22 h 584"/>
                <a:gd name="T12" fmla="*/ 1848 w 3218"/>
                <a:gd name="T13" fmla="*/ 20 h 584"/>
                <a:gd name="T14" fmla="*/ 1736 w 3218"/>
                <a:gd name="T15" fmla="*/ 517 h 584"/>
                <a:gd name="T16" fmla="*/ 2011 w 3218"/>
                <a:gd name="T17" fmla="*/ 368 h 584"/>
                <a:gd name="T18" fmla="*/ 2201 w 3218"/>
                <a:gd name="T19" fmla="*/ 338 h 584"/>
                <a:gd name="T20" fmla="*/ 2322 w 3218"/>
                <a:gd name="T21" fmla="*/ 352 h 584"/>
                <a:gd name="T22" fmla="*/ 2456 w 3218"/>
                <a:gd name="T23" fmla="*/ 348 h 584"/>
                <a:gd name="T24" fmla="*/ 2590 w 3218"/>
                <a:gd name="T25" fmla="*/ 344 h 584"/>
                <a:gd name="T26" fmla="*/ 2716 w 3218"/>
                <a:gd name="T27" fmla="*/ 265 h 584"/>
                <a:gd name="T28" fmla="*/ 2973 w 3218"/>
                <a:gd name="T29" fmla="*/ 223 h 584"/>
                <a:gd name="T30" fmla="*/ 3104 w 3218"/>
                <a:gd name="T31" fmla="*/ 234 h 584"/>
                <a:gd name="T32" fmla="*/ 3218 w 3218"/>
                <a:gd name="T33" fmla="*/ 297 h 584"/>
                <a:gd name="T34" fmla="*/ 3137 w 3218"/>
                <a:gd name="T35" fmla="*/ 175 h 584"/>
                <a:gd name="T36" fmla="*/ 3017 w 3218"/>
                <a:gd name="T37" fmla="*/ 175 h 584"/>
                <a:gd name="T38" fmla="*/ 2909 w 3218"/>
                <a:gd name="T39" fmla="*/ 250 h 584"/>
                <a:gd name="T40" fmla="*/ 2849 w 3218"/>
                <a:gd name="T41" fmla="*/ 178 h 584"/>
                <a:gd name="T42" fmla="*/ 2661 w 3218"/>
                <a:gd name="T43" fmla="*/ 183 h 584"/>
                <a:gd name="T44" fmla="*/ 2516 w 3218"/>
                <a:gd name="T45" fmla="*/ 197 h 584"/>
                <a:gd name="T46" fmla="*/ 2396 w 3218"/>
                <a:gd name="T47" fmla="*/ 197 h 584"/>
                <a:gd name="T48" fmla="*/ 2251 w 3218"/>
                <a:gd name="T49" fmla="*/ 207 h 584"/>
                <a:gd name="T50" fmla="*/ 2222 w 3218"/>
                <a:gd name="T51" fmla="*/ 6 h 584"/>
                <a:gd name="T52" fmla="*/ 2066 w 3218"/>
                <a:gd name="T53" fmla="*/ 251 h 584"/>
                <a:gd name="T54" fmla="*/ 2005 w 3218"/>
                <a:gd name="T55" fmla="*/ 178 h 584"/>
                <a:gd name="T56" fmla="*/ 1862 w 3218"/>
                <a:gd name="T57" fmla="*/ 0 h 584"/>
                <a:gd name="T58" fmla="*/ 1659 w 3218"/>
                <a:gd name="T59" fmla="*/ 219 h 584"/>
                <a:gd name="T60" fmla="*/ 1572 w 3218"/>
                <a:gd name="T61" fmla="*/ 253 h 584"/>
                <a:gd name="T62" fmla="*/ 1674 w 3218"/>
                <a:gd name="T63" fmla="*/ 320 h 584"/>
                <a:gd name="T64" fmla="*/ 1612 w 3218"/>
                <a:gd name="T65" fmla="*/ 310 h 584"/>
                <a:gd name="T66" fmla="*/ 1168 w 3218"/>
                <a:gd name="T67" fmla="*/ 212 h 584"/>
                <a:gd name="T68" fmla="*/ 324 w 3218"/>
                <a:gd name="T69" fmla="*/ 212 h 584"/>
                <a:gd name="T70" fmla="*/ 487 w 3218"/>
                <a:gd name="T71" fmla="*/ 127 h 584"/>
                <a:gd name="T72" fmla="*/ 487 w 3218"/>
                <a:gd name="T73" fmla="*/ 127 h 584"/>
                <a:gd name="T74" fmla="*/ 1231 w 3218"/>
                <a:gd name="T75" fmla="*/ 243 h 584"/>
                <a:gd name="T76" fmla="*/ 1334 w 3218"/>
                <a:gd name="T77" fmla="*/ 348 h 584"/>
                <a:gd name="T78" fmla="*/ 1505 w 3218"/>
                <a:gd name="T79" fmla="*/ 303 h 584"/>
                <a:gd name="T80" fmla="*/ 1454 w 3218"/>
                <a:gd name="T81" fmla="*/ 214 h 584"/>
                <a:gd name="T82" fmla="*/ 1335 w 3218"/>
                <a:gd name="T83" fmla="*/ 214 h 584"/>
                <a:gd name="T84" fmla="*/ 1169 w 3218"/>
                <a:gd name="T85" fmla="*/ 246 h 584"/>
                <a:gd name="T86" fmla="*/ 1128 w 3218"/>
                <a:gd name="T87" fmla="*/ 194 h 584"/>
                <a:gd name="T88" fmla="*/ 958 w 3218"/>
                <a:gd name="T89" fmla="*/ 171 h 584"/>
                <a:gd name="T90" fmla="*/ 839 w 3218"/>
                <a:gd name="T91" fmla="*/ 175 h 584"/>
                <a:gd name="T92" fmla="*/ 720 w 3218"/>
                <a:gd name="T93" fmla="*/ 175 h 584"/>
                <a:gd name="T94" fmla="*/ 580 w 3218"/>
                <a:gd name="T95" fmla="*/ 175 h 584"/>
                <a:gd name="T96" fmla="*/ 546 w 3218"/>
                <a:gd name="T97" fmla="*/ 55 h 584"/>
                <a:gd name="T98" fmla="*/ 298 w 3218"/>
                <a:gd name="T99" fmla="*/ 207 h 584"/>
                <a:gd name="T100" fmla="*/ 285 w 3218"/>
                <a:gd name="T101" fmla="*/ 194 h 584"/>
                <a:gd name="T102" fmla="*/ 160 w 3218"/>
                <a:gd name="T103" fmla="*/ 7 h 584"/>
                <a:gd name="T104" fmla="*/ 163 w 3218"/>
                <a:gd name="T105" fmla="*/ 372 h 584"/>
                <a:gd name="T106" fmla="*/ 388 w 3218"/>
                <a:gd name="T107" fmla="*/ 248 h 584"/>
                <a:gd name="T108" fmla="*/ 555 w 3218"/>
                <a:gd name="T109" fmla="*/ 225 h 584"/>
                <a:gd name="T110" fmla="*/ 693 w 3218"/>
                <a:gd name="T111" fmla="*/ 228 h 584"/>
                <a:gd name="T112" fmla="*/ 812 w 3218"/>
                <a:gd name="T113" fmla="*/ 225 h 584"/>
                <a:gd name="T114" fmla="*/ 961 w 3218"/>
                <a:gd name="T115" fmla="*/ 277 h 584"/>
                <a:gd name="T116" fmla="*/ 1079 w 3218"/>
                <a:gd name="T117" fmla="*/ 213 h 584"/>
                <a:gd name="T118" fmla="*/ 118 w 3218"/>
                <a:gd name="T119" fmla="*/ 341 h 584"/>
                <a:gd name="T120" fmla="*/ 956 w 3218"/>
                <a:gd name="T121" fmla="*/ 332 h 584"/>
                <a:gd name="T122" fmla="*/ 99 w 3218"/>
                <a:gd name="T123" fmla="*/ 197 h 5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218" h="584">
                  <a:moveTo>
                    <a:pt x="2879" y="212"/>
                  </a:moveTo>
                  <a:lnTo>
                    <a:pt x="2879" y="212"/>
                  </a:lnTo>
                  <a:cubicBezTo>
                    <a:pt x="2879" y="206"/>
                    <a:pt x="2882" y="203"/>
                    <a:pt x="2887" y="203"/>
                  </a:cubicBezTo>
                  <a:cubicBezTo>
                    <a:pt x="2894" y="203"/>
                    <a:pt x="2906" y="212"/>
                    <a:pt x="2912" y="228"/>
                  </a:cubicBezTo>
                  <a:cubicBezTo>
                    <a:pt x="2910" y="228"/>
                    <a:pt x="2907" y="229"/>
                    <a:pt x="2904" y="229"/>
                  </a:cubicBezTo>
                  <a:cubicBezTo>
                    <a:pt x="2890" y="229"/>
                    <a:pt x="2879" y="222"/>
                    <a:pt x="2879" y="212"/>
                  </a:cubicBezTo>
                  <a:lnTo>
                    <a:pt x="2879" y="212"/>
                  </a:lnTo>
                  <a:close/>
                  <a:moveTo>
                    <a:pt x="2035" y="212"/>
                  </a:moveTo>
                  <a:lnTo>
                    <a:pt x="2035" y="212"/>
                  </a:lnTo>
                  <a:cubicBezTo>
                    <a:pt x="2035" y="206"/>
                    <a:pt x="2039" y="203"/>
                    <a:pt x="2043" y="203"/>
                  </a:cubicBezTo>
                  <a:cubicBezTo>
                    <a:pt x="2051" y="203"/>
                    <a:pt x="2062" y="212"/>
                    <a:pt x="2068" y="228"/>
                  </a:cubicBezTo>
                  <a:cubicBezTo>
                    <a:pt x="2047" y="228"/>
                    <a:pt x="2035" y="223"/>
                    <a:pt x="2035" y="212"/>
                  </a:cubicBezTo>
                  <a:lnTo>
                    <a:pt x="2035" y="212"/>
                  </a:lnTo>
                  <a:close/>
                  <a:moveTo>
                    <a:pt x="2198" y="127"/>
                  </a:moveTo>
                  <a:lnTo>
                    <a:pt x="2198" y="127"/>
                  </a:lnTo>
                  <a:cubicBezTo>
                    <a:pt x="2198" y="40"/>
                    <a:pt x="2215" y="27"/>
                    <a:pt x="2220" y="27"/>
                  </a:cubicBezTo>
                  <a:cubicBezTo>
                    <a:pt x="2229" y="27"/>
                    <a:pt x="2230" y="33"/>
                    <a:pt x="2230" y="66"/>
                  </a:cubicBezTo>
                  <a:cubicBezTo>
                    <a:pt x="2230" y="101"/>
                    <a:pt x="2216" y="146"/>
                    <a:pt x="2198" y="170"/>
                  </a:cubicBezTo>
                  <a:lnTo>
                    <a:pt x="2198" y="127"/>
                  </a:lnTo>
                  <a:lnTo>
                    <a:pt x="2198" y="127"/>
                  </a:lnTo>
                  <a:close/>
                  <a:moveTo>
                    <a:pt x="1829" y="341"/>
                  </a:moveTo>
                  <a:lnTo>
                    <a:pt x="1829" y="341"/>
                  </a:lnTo>
                  <a:cubicBezTo>
                    <a:pt x="1834" y="371"/>
                    <a:pt x="1838" y="402"/>
                    <a:pt x="1838" y="426"/>
                  </a:cubicBezTo>
                  <a:cubicBezTo>
                    <a:pt x="1838" y="482"/>
                    <a:pt x="1819" y="547"/>
                    <a:pt x="1787" y="546"/>
                  </a:cubicBezTo>
                  <a:cubicBezTo>
                    <a:pt x="1775" y="546"/>
                    <a:pt x="1764" y="534"/>
                    <a:pt x="1764" y="513"/>
                  </a:cubicBezTo>
                  <a:cubicBezTo>
                    <a:pt x="1763" y="443"/>
                    <a:pt x="1796" y="383"/>
                    <a:pt x="1829" y="341"/>
                  </a:cubicBezTo>
                  <a:lnTo>
                    <a:pt x="1829" y="341"/>
                  </a:lnTo>
                  <a:close/>
                  <a:moveTo>
                    <a:pt x="2681" y="301"/>
                  </a:moveTo>
                  <a:lnTo>
                    <a:pt x="2681" y="301"/>
                  </a:lnTo>
                  <a:cubicBezTo>
                    <a:pt x="2685" y="311"/>
                    <a:pt x="2686" y="319"/>
                    <a:pt x="2686" y="327"/>
                  </a:cubicBezTo>
                  <a:cubicBezTo>
                    <a:pt x="2686" y="336"/>
                    <a:pt x="2683" y="346"/>
                    <a:pt x="2676" y="346"/>
                  </a:cubicBezTo>
                  <a:cubicBezTo>
                    <a:pt x="2672" y="346"/>
                    <a:pt x="2667" y="341"/>
                    <a:pt x="2667" y="332"/>
                  </a:cubicBezTo>
                  <a:cubicBezTo>
                    <a:pt x="2667" y="324"/>
                    <a:pt x="2675" y="310"/>
                    <a:pt x="2681" y="301"/>
                  </a:cubicBezTo>
                  <a:lnTo>
                    <a:pt x="2681" y="301"/>
                  </a:lnTo>
                  <a:close/>
                  <a:moveTo>
                    <a:pt x="1850" y="22"/>
                  </a:moveTo>
                  <a:lnTo>
                    <a:pt x="1850" y="22"/>
                  </a:lnTo>
                  <a:cubicBezTo>
                    <a:pt x="1850" y="26"/>
                    <a:pt x="1842" y="42"/>
                    <a:pt x="1831" y="71"/>
                  </a:cubicBezTo>
                  <a:cubicBezTo>
                    <a:pt x="1820" y="102"/>
                    <a:pt x="1810" y="145"/>
                    <a:pt x="1810" y="197"/>
                  </a:cubicBezTo>
                  <a:cubicBezTo>
                    <a:pt x="1810" y="228"/>
                    <a:pt x="1818" y="269"/>
                    <a:pt x="1824" y="310"/>
                  </a:cubicBezTo>
                  <a:lnTo>
                    <a:pt x="1805" y="335"/>
                  </a:lnTo>
                  <a:cubicBezTo>
                    <a:pt x="1775" y="299"/>
                    <a:pt x="1757" y="258"/>
                    <a:pt x="1757" y="188"/>
                  </a:cubicBezTo>
                  <a:cubicBezTo>
                    <a:pt x="1757" y="89"/>
                    <a:pt x="1817" y="20"/>
                    <a:pt x="1848" y="20"/>
                  </a:cubicBezTo>
                  <a:cubicBezTo>
                    <a:pt x="1850" y="20"/>
                    <a:pt x="1850" y="21"/>
                    <a:pt x="1850" y="22"/>
                  </a:cubicBezTo>
                  <a:lnTo>
                    <a:pt x="1850" y="22"/>
                  </a:lnTo>
                  <a:close/>
                  <a:moveTo>
                    <a:pt x="1753" y="314"/>
                  </a:moveTo>
                  <a:lnTo>
                    <a:pt x="1753" y="314"/>
                  </a:lnTo>
                  <a:cubicBezTo>
                    <a:pt x="1763" y="328"/>
                    <a:pt x="1776" y="341"/>
                    <a:pt x="1791" y="356"/>
                  </a:cubicBezTo>
                  <a:cubicBezTo>
                    <a:pt x="1760" y="406"/>
                    <a:pt x="1736" y="465"/>
                    <a:pt x="1736" y="517"/>
                  </a:cubicBezTo>
                  <a:cubicBezTo>
                    <a:pt x="1736" y="555"/>
                    <a:pt x="1745" y="584"/>
                    <a:pt x="1773" y="584"/>
                  </a:cubicBezTo>
                  <a:cubicBezTo>
                    <a:pt x="1831" y="584"/>
                    <a:pt x="1875" y="462"/>
                    <a:pt x="1875" y="372"/>
                  </a:cubicBezTo>
                  <a:cubicBezTo>
                    <a:pt x="1875" y="346"/>
                    <a:pt x="1874" y="319"/>
                    <a:pt x="1871" y="292"/>
                  </a:cubicBezTo>
                  <a:cubicBezTo>
                    <a:pt x="1893" y="269"/>
                    <a:pt x="1926" y="238"/>
                    <a:pt x="1934" y="235"/>
                  </a:cubicBezTo>
                  <a:cubicBezTo>
                    <a:pt x="1931" y="248"/>
                    <a:pt x="1928" y="261"/>
                    <a:pt x="1928" y="273"/>
                  </a:cubicBezTo>
                  <a:cubicBezTo>
                    <a:pt x="1928" y="322"/>
                    <a:pt x="1956" y="368"/>
                    <a:pt x="2011" y="368"/>
                  </a:cubicBezTo>
                  <a:cubicBezTo>
                    <a:pt x="2061" y="368"/>
                    <a:pt x="2100" y="327"/>
                    <a:pt x="2100" y="269"/>
                  </a:cubicBezTo>
                  <a:cubicBezTo>
                    <a:pt x="2100" y="262"/>
                    <a:pt x="2099" y="255"/>
                    <a:pt x="2099" y="248"/>
                  </a:cubicBezTo>
                  <a:cubicBezTo>
                    <a:pt x="2117" y="245"/>
                    <a:pt x="2134" y="240"/>
                    <a:pt x="2151" y="230"/>
                  </a:cubicBezTo>
                  <a:lnTo>
                    <a:pt x="2151" y="347"/>
                  </a:lnTo>
                  <a:cubicBezTo>
                    <a:pt x="2151" y="363"/>
                    <a:pt x="2161" y="368"/>
                    <a:pt x="2171" y="368"/>
                  </a:cubicBezTo>
                  <a:cubicBezTo>
                    <a:pt x="2185" y="368"/>
                    <a:pt x="2191" y="359"/>
                    <a:pt x="2201" y="338"/>
                  </a:cubicBezTo>
                  <a:cubicBezTo>
                    <a:pt x="2210" y="320"/>
                    <a:pt x="2232" y="280"/>
                    <a:pt x="2245" y="256"/>
                  </a:cubicBezTo>
                  <a:cubicBezTo>
                    <a:pt x="2256" y="237"/>
                    <a:pt x="2261" y="225"/>
                    <a:pt x="2266" y="225"/>
                  </a:cubicBezTo>
                  <a:cubicBezTo>
                    <a:pt x="2267" y="225"/>
                    <a:pt x="2269" y="228"/>
                    <a:pt x="2269" y="235"/>
                  </a:cubicBezTo>
                  <a:lnTo>
                    <a:pt x="2269" y="335"/>
                  </a:lnTo>
                  <a:cubicBezTo>
                    <a:pt x="2269" y="362"/>
                    <a:pt x="2283" y="368"/>
                    <a:pt x="2295" y="368"/>
                  </a:cubicBezTo>
                  <a:cubicBezTo>
                    <a:pt x="2306" y="368"/>
                    <a:pt x="2314" y="362"/>
                    <a:pt x="2322" y="352"/>
                  </a:cubicBezTo>
                  <a:cubicBezTo>
                    <a:pt x="2352" y="308"/>
                    <a:pt x="2384" y="257"/>
                    <a:pt x="2397" y="235"/>
                  </a:cubicBezTo>
                  <a:cubicBezTo>
                    <a:pt x="2399" y="231"/>
                    <a:pt x="2402" y="228"/>
                    <a:pt x="2404" y="228"/>
                  </a:cubicBezTo>
                  <a:cubicBezTo>
                    <a:pt x="2407" y="228"/>
                    <a:pt x="2408" y="229"/>
                    <a:pt x="2408" y="236"/>
                  </a:cubicBezTo>
                  <a:lnTo>
                    <a:pt x="2408" y="341"/>
                  </a:lnTo>
                  <a:cubicBezTo>
                    <a:pt x="2408" y="360"/>
                    <a:pt x="2414" y="368"/>
                    <a:pt x="2428" y="368"/>
                  </a:cubicBezTo>
                  <a:cubicBezTo>
                    <a:pt x="2442" y="368"/>
                    <a:pt x="2450" y="359"/>
                    <a:pt x="2456" y="348"/>
                  </a:cubicBezTo>
                  <a:cubicBezTo>
                    <a:pt x="2475" y="308"/>
                    <a:pt x="2504" y="255"/>
                    <a:pt x="2516" y="234"/>
                  </a:cubicBezTo>
                  <a:cubicBezTo>
                    <a:pt x="2519" y="229"/>
                    <a:pt x="2522" y="225"/>
                    <a:pt x="2524" y="225"/>
                  </a:cubicBezTo>
                  <a:cubicBezTo>
                    <a:pt x="2526" y="225"/>
                    <a:pt x="2526" y="228"/>
                    <a:pt x="2526" y="235"/>
                  </a:cubicBezTo>
                  <a:lnTo>
                    <a:pt x="2526" y="335"/>
                  </a:lnTo>
                  <a:cubicBezTo>
                    <a:pt x="2526" y="362"/>
                    <a:pt x="2540" y="368"/>
                    <a:pt x="2552" y="368"/>
                  </a:cubicBezTo>
                  <a:cubicBezTo>
                    <a:pt x="2569" y="368"/>
                    <a:pt x="2580" y="357"/>
                    <a:pt x="2590" y="344"/>
                  </a:cubicBezTo>
                  <a:cubicBezTo>
                    <a:pt x="2609" y="318"/>
                    <a:pt x="2637" y="273"/>
                    <a:pt x="2654" y="245"/>
                  </a:cubicBezTo>
                  <a:cubicBezTo>
                    <a:pt x="2660" y="254"/>
                    <a:pt x="2666" y="265"/>
                    <a:pt x="2672" y="277"/>
                  </a:cubicBezTo>
                  <a:cubicBezTo>
                    <a:pt x="2657" y="294"/>
                    <a:pt x="2644" y="314"/>
                    <a:pt x="2644" y="334"/>
                  </a:cubicBezTo>
                  <a:cubicBezTo>
                    <a:pt x="2644" y="355"/>
                    <a:pt x="2659" y="368"/>
                    <a:pt x="2675" y="368"/>
                  </a:cubicBezTo>
                  <a:cubicBezTo>
                    <a:pt x="2701" y="368"/>
                    <a:pt x="2726" y="343"/>
                    <a:pt x="2726" y="307"/>
                  </a:cubicBezTo>
                  <a:cubicBezTo>
                    <a:pt x="2726" y="293"/>
                    <a:pt x="2722" y="279"/>
                    <a:pt x="2716" y="265"/>
                  </a:cubicBezTo>
                  <a:cubicBezTo>
                    <a:pt x="2740" y="241"/>
                    <a:pt x="2769" y="219"/>
                    <a:pt x="2790" y="213"/>
                  </a:cubicBezTo>
                  <a:cubicBezTo>
                    <a:pt x="2780" y="227"/>
                    <a:pt x="2772" y="247"/>
                    <a:pt x="2772" y="273"/>
                  </a:cubicBezTo>
                  <a:cubicBezTo>
                    <a:pt x="2772" y="322"/>
                    <a:pt x="2800" y="368"/>
                    <a:pt x="2854" y="368"/>
                  </a:cubicBezTo>
                  <a:cubicBezTo>
                    <a:pt x="2907" y="368"/>
                    <a:pt x="2943" y="327"/>
                    <a:pt x="2943" y="269"/>
                  </a:cubicBezTo>
                  <a:cubicBezTo>
                    <a:pt x="2943" y="252"/>
                    <a:pt x="2943" y="250"/>
                    <a:pt x="2942" y="243"/>
                  </a:cubicBezTo>
                  <a:cubicBezTo>
                    <a:pt x="2954" y="238"/>
                    <a:pt x="2965" y="230"/>
                    <a:pt x="2973" y="223"/>
                  </a:cubicBezTo>
                  <a:cubicBezTo>
                    <a:pt x="2980" y="218"/>
                    <a:pt x="2985" y="215"/>
                    <a:pt x="2989" y="215"/>
                  </a:cubicBezTo>
                  <a:cubicBezTo>
                    <a:pt x="2994" y="215"/>
                    <a:pt x="2997" y="219"/>
                    <a:pt x="2997" y="227"/>
                  </a:cubicBezTo>
                  <a:lnTo>
                    <a:pt x="2997" y="341"/>
                  </a:lnTo>
                  <a:cubicBezTo>
                    <a:pt x="2997" y="360"/>
                    <a:pt x="3002" y="368"/>
                    <a:pt x="3017" y="368"/>
                  </a:cubicBezTo>
                  <a:cubicBezTo>
                    <a:pt x="3030" y="368"/>
                    <a:pt x="3040" y="359"/>
                    <a:pt x="3045" y="348"/>
                  </a:cubicBezTo>
                  <a:cubicBezTo>
                    <a:pt x="3064" y="308"/>
                    <a:pt x="3092" y="254"/>
                    <a:pt x="3104" y="234"/>
                  </a:cubicBezTo>
                  <a:cubicBezTo>
                    <a:pt x="3108" y="229"/>
                    <a:pt x="3110" y="226"/>
                    <a:pt x="3111" y="226"/>
                  </a:cubicBezTo>
                  <a:cubicBezTo>
                    <a:pt x="3114" y="226"/>
                    <a:pt x="3115" y="227"/>
                    <a:pt x="3115" y="235"/>
                  </a:cubicBezTo>
                  <a:lnTo>
                    <a:pt x="3115" y="326"/>
                  </a:lnTo>
                  <a:cubicBezTo>
                    <a:pt x="3115" y="352"/>
                    <a:pt x="3127" y="368"/>
                    <a:pt x="3152" y="368"/>
                  </a:cubicBezTo>
                  <a:cubicBezTo>
                    <a:pt x="3179" y="368"/>
                    <a:pt x="3193" y="343"/>
                    <a:pt x="3216" y="303"/>
                  </a:cubicBezTo>
                  <a:cubicBezTo>
                    <a:pt x="3217" y="301"/>
                    <a:pt x="3218" y="299"/>
                    <a:pt x="3218" y="297"/>
                  </a:cubicBezTo>
                  <a:cubicBezTo>
                    <a:pt x="3218" y="292"/>
                    <a:pt x="3213" y="289"/>
                    <a:pt x="3208" y="289"/>
                  </a:cubicBezTo>
                  <a:cubicBezTo>
                    <a:pt x="3203" y="289"/>
                    <a:pt x="3200" y="294"/>
                    <a:pt x="3183" y="314"/>
                  </a:cubicBezTo>
                  <a:cubicBezTo>
                    <a:pt x="3179" y="317"/>
                    <a:pt x="3176" y="322"/>
                    <a:pt x="3169" y="322"/>
                  </a:cubicBezTo>
                  <a:cubicBezTo>
                    <a:pt x="3167" y="322"/>
                    <a:pt x="3165" y="320"/>
                    <a:pt x="3165" y="316"/>
                  </a:cubicBezTo>
                  <a:lnTo>
                    <a:pt x="3165" y="214"/>
                  </a:lnTo>
                  <a:cubicBezTo>
                    <a:pt x="3165" y="186"/>
                    <a:pt x="3153" y="175"/>
                    <a:pt x="3137" y="175"/>
                  </a:cubicBezTo>
                  <a:cubicBezTo>
                    <a:pt x="3124" y="175"/>
                    <a:pt x="3114" y="180"/>
                    <a:pt x="3103" y="197"/>
                  </a:cubicBezTo>
                  <a:cubicBezTo>
                    <a:pt x="3083" y="226"/>
                    <a:pt x="3063" y="267"/>
                    <a:pt x="3052" y="289"/>
                  </a:cubicBezTo>
                  <a:cubicBezTo>
                    <a:pt x="3050" y="291"/>
                    <a:pt x="3049" y="294"/>
                    <a:pt x="3047" y="294"/>
                  </a:cubicBezTo>
                  <a:cubicBezTo>
                    <a:pt x="3046" y="294"/>
                    <a:pt x="3046" y="292"/>
                    <a:pt x="3046" y="289"/>
                  </a:cubicBezTo>
                  <a:lnTo>
                    <a:pt x="3046" y="214"/>
                  </a:lnTo>
                  <a:cubicBezTo>
                    <a:pt x="3046" y="192"/>
                    <a:pt x="3040" y="175"/>
                    <a:pt x="3017" y="175"/>
                  </a:cubicBezTo>
                  <a:cubicBezTo>
                    <a:pt x="2993" y="175"/>
                    <a:pt x="2981" y="192"/>
                    <a:pt x="2963" y="204"/>
                  </a:cubicBezTo>
                  <a:cubicBezTo>
                    <a:pt x="2952" y="212"/>
                    <a:pt x="2942" y="218"/>
                    <a:pt x="2935" y="221"/>
                  </a:cubicBezTo>
                  <a:cubicBezTo>
                    <a:pt x="2923" y="192"/>
                    <a:pt x="2901" y="177"/>
                    <a:pt x="2883" y="177"/>
                  </a:cubicBezTo>
                  <a:cubicBezTo>
                    <a:pt x="2865" y="178"/>
                    <a:pt x="2853" y="188"/>
                    <a:pt x="2853" y="207"/>
                  </a:cubicBezTo>
                  <a:cubicBezTo>
                    <a:pt x="2853" y="227"/>
                    <a:pt x="2864" y="240"/>
                    <a:pt x="2880" y="246"/>
                  </a:cubicBezTo>
                  <a:cubicBezTo>
                    <a:pt x="2889" y="249"/>
                    <a:pt x="2897" y="250"/>
                    <a:pt x="2909" y="250"/>
                  </a:cubicBezTo>
                  <a:cubicBezTo>
                    <a:pt x="2912" y="250"/>
                    <a:pt x="2915" y="250"/>
                    <a:pt x="2918" y="249"/>
                  </a:cubicBezTo>
                  <a:cubicBezTo>
                    <a:pt x="2919" y="255"/>
                    <a:pt x="2918" y="263"/>
                    <a:pt x="2918" y="270"/>
                  </a:cubicBezTo>
                  <a:cubicBezTo>
                    <a:pt x="2918" y="298"/>
                    <a:pt x="2901" y="327"/>
                    <a:pt x="2870" y="327"/>
                  </a:cubicBezTo>
                  <a:cubicBezTo>
                    <a:pt x="2837" y="327"/>
                    <a:pt x="2818" y="295"/>
                    <a:pt x="2818" y="259"/>
                  </a:cubicBezTo>
                  <a:cubicBezTo>
                    <a:pt x="2818" y="232"/>
                    <a:pt x="2826" y="209"/>
                    <a:pt x="2840" y="194"/>
                  </a:cubicBezTo>
                  <a:cubicBezTo>
                    <a:pt x="2845" y="188"/>
                    <a:pt x="2849" y="184"/>
                    <a:pt x="2849" y="178"/>
                  </a:cubicBezTo>
                  <a:cubicBezTo>
                    <a:pt x="2849" y="176"/>
                    <a:pt x="2845" y="175"/>
                    <a:pt x="2842" y="175"/>
                  </a:cubicBezTo>
                  <a:cubicBezTo>
                    <a:pt x="2819" y="175"/>
                    <a:pt x="2795" y="185"/>
                    <a:pt x="2778" y="194"/>
                  </a:cubicBezTo>
                  <a:cubicBezTo>
                    <a:pt x="2756" y="206"/>
                    <a:pt x="2729" y="225"/>
                    <a:pt x="2708" y="244"/>
                  </a:cubicBezTo>
                  <a:cubicBezTo>
                    <a:pt x="2697" y="221"/>
                    <a:pt x="2685" y="200"/>
                    <a:pt x="2678" y="184"/>
                  </a:cubicBezTo>
                  <a:cubicBezTo>
                    <a:pt x="2676" y="178"/>
                    <a:pt x="2674" y="171"/>
                    <a:pt x="2669" y="171"/>
                  </a:cubicBezTo>
                  <a:cubicBezTo>
                    <a:pt x="2665" y="171"/>
                    <a:pt x="2663" y="175"/>
                    <a:pt x="2661" y="183"/>
                  </a:cubicBezTo>
                  <a:cubicBezTo>
                    <a:pt x="2650" y="214"/>
                    <a:pt x="2594" y="304"/>
                    <a:pt x="2582" y="316"/>
                  </a:cubicBezTo>
                  <a:cubicBezTo>
                    <a:pt x="2581" y="318"/>
                    <a:pt x="2579" y="320"/>
                    <a:pt x="2578" y="320"/>
                  </a:cubicBezTo>
                  <a:cubicBezTo>
                    <a:pt x="2577" y="320"/>
                    <a:pt x="2577" y="320"/>
                    <a:pt x="2577" y="316"/>
                  </a:cubicBezTo>
                  <a:lnTo>
                    <a:pt x="2577" y="214"/>
                  </a:lnTo>
                  <a:cubicBezTo>
                    <a:pt x="2577" y="186"/>
                    <a:pt x="2565" y="175"/>
                    <a:pt x="2550" y="175"/>
                  </a:cubicBezTo>
                  <a:cubicBezTo>
                    <a:pt x="2537" y="175"/>
                    <a:pt x="2526" y="180"/>
                    <a:pt x="2516" y="197"/>
                  </a:cubicBezTo>
                  <a:cubicBezTo>
                    <a:pt x="2497" y="226"/>
                    <a:pt x="2473" y="269"/>
                    <a:pt x="2462" y="290"/>
                  </a:cubicBezTo>
                  <a:cubicBezTo>
                    <a:pt x="2460" y="293"/>
                    <a:pt x="2459" y="294"/>
                    <a:pt x="2458" y="294"/>
                  </a:cubicBezTo>
                  <a:cubicBezTo>
                    <a:pt x="2457" y="294"/>
                    <a:pt x="2457" y="292"/>
                    <a:pt x="2457" y="289"/>
                  </a:cubicBezTo>
                  <a:lnTo>
                    <a:pt x="2457" y="214"/>
                  </a:lnTo>
                  <a:cubicBezTo>
                    <a:pt x="2457" y="186"/>
                    <a:pt x="2446" y="175"/>
                    <a:pt x="2431" y="175"/>
                  </a:cubicBezTo>
                  <a:cubicBezTo>
                    <a:pt x="2418" y="175"/>
                    <a:pt x="2405" y="180"/>
                    <a:pt x="2396" y="197"/>
                  </a:cubicBezTo>
                  <a:cubicBezTo>
                    <a:pt x="2371" y="238"/>
                    <a:pt x="2330" y="302"/>
                    <a:pt x="2323" y="312"/>
                  </a:cubicBezTo>
                  <a:cubicBezTo>
                    <a:pt x="2322" y="314"/>
                    <a:pt x="2321" y="316"/>
                    <a:pt x="2319" y="316"/>
                  </a:cubicBezTo>
                  <a:cubicBezTo>
                    <a:pt x="2318" y="316"/>
                    <a:pt x="2317" y="315"/>
                    <a:pt x="2317" y="312"/>
                  </a:cubicBezTo>
                  <a:lnTo>
                    <a:pt x="2317" y="214"/>
                  </a:lnTo>
                  <a:cubicBezTo>
                    <a:pt x="2317" y="186"/>
                    <a:pt x="2306" y="175"/>
                    <a:pt x="2291" y="175"/>
                  </a:cubicBezTo>
                  <a:cubicBezTo>
                    <a:pt x="2270" y="175"/>
                    <a:pt x="2258" y="195"/>
                    <a:pt x="2251" y="207"/>
                  </a:cubicBezTo>
                  <a:cubicBezTo>
                    <a:pt x="2241" y="224"/>
                    <a:pt x="2227" y="247"/>
                    <a:pt x="2215" y="267"/>
                  </a:cubicBezTo>
                  <a:cubicBezTo>
                    <a:pt x="2208" y="281"/>
                    <a:pt x="2201" y="294"/>
                    <a:pt x="2199" y="294"/>
                  </a:cubicBezTo>
                  <a:cubicBezTo>
                    <a:pt x="2198" y="294"/>
                    <a:pt x="2198" y="289"/>
                    <a:pt x="2198" y="279"/>
                  </a:cubicBezTo>
                  <a:lnTo>
                    <a:pt x="2198" y="201"/>
                  </a:lnTo>
                  <a:cubicBezTo>
                    <a:pt x="2235" y="160"/>
                    <a:pt x="2257" y="110"/>
                    <a:pt x="2257" y="55"/>
                  </a:cubicBezTo>
                  <a:cubicBezTo>
                    <a:pt x="2257" y="23"/>
                    <a:pt x="2243" y="6"/>
                    <a:pt x="2222" y="6"/>
                  </a:cubicBezTo>
                  <a:cubicBezTo>
                    <a:pt x="2181" y="6"/>
                    <a:pt x="2151" y="69"/>
                    <a:pt x="2151" y="144"/>
                  </a:cubicBezTo>
                  <a:lnTo>
                    <a:pt x="2151" y="204"/>
                  </a:lnTo>
                  <a:cubicBezTo>
                    <a:pt x="2132" y="216"/>
                    <a:pt x="2114" y="222"/>
                    <a:pt x="2093" y="226"/>
                  </a:cubicBezTo>
                  <a:cubicBezTo>
                    <a:pt x="2082" y="194"/>
                    <a:pt x="2058" y="177"/>
                    <a:pt x="2040" y="177"/>
                  </a:cubicBezTo>
                  <a:cubicBezTo>
                    <a:pt x="2022" y="178"/>
                    <a:pt x="2009" y="188"/>
                    <a:pt x="2009" y="207"/>
                  </a:cubicBezTo>
                  <a:cubicBezTo>
                    <a:pt x="2009" y="238"/>
                    <a:pt x="2039" y="251"/>
                    <a:pt x="2066" y="251"/>
                  </a:cubicBezTo>
                  <a:lnTo>
                    <a:pt x="2073" y="251"/>
                  </a:lnTo>
                  <a:cubicBezTo>
                    <a:pt x="2075" y="257"/>
                    <a:pt x="2075" y="263"/>
                    <a:pt x="2075" y="270"/>
                  </a:cubicBezTo>
                  <a:cubicBezTo>
                    <a:pt x="2075" y="298"/>
                    <a:pt x="2058" y="327"/>
                    <a:pt x="2026" y="327"/>
                  </a:cubicBezTo>
                  <a:cubicBezTo>
                    <a:pt x="1994" y="327"/>
                    <a:pt x="1974" y="295"/>
                    <a:pt x="1974" y="259"/>
                  </a:cubicBezTo>
                  <a:cubicBezTo>
                    <a:pt x="1974" y="232"/>
                    <a:pt x="1983" y="209"/>
                    <a:pt x="1996" y="194"/>
                  </a:cubicBezTo>
                  <a:cubicBezTo>
                    <a:pt x="2001" y="188"/>
                    <a:pt x="2005" y="183"/>
                    <a:pt x="2005" y="178"/>
                  </a:cubicBezTo>
                  <a:cubicBezTo>
                    <a:pt x="2005" y="176"/>
                    <a:pt x="2001" y="175"/>
                    <a:pt x="1998" y="175"/>
                  </a:cubicBezTo>
                  <a:cubicBezTo>
                    <a:pt x="1976" y="175"/>
                    <a:pt x="1927" y="205"/>
                    <a:pt x="1868" y="263"/>
                  </a:cubicBezTo>
                  <a:cubicBezTo>
                    <a:pt x="1863" y="217"/>
                    <a:pt x="1857" y="171"/>
                    <a:pt x="1857" y="127"/>
                  </a:cubicBezTo>
                  <a:cubicBezTo>
                    <a:pt x="1857" y="77"/>
                    <a:pt x="1867" y="35"/>
                    <a:pt x="1869" y="23"/>
                  </a:cubicBezTo>
                  <a:cubicBezTo>
                    <a:pt x="1871" y="16"/>
                    <a:pt x="1871" y="11"/>
                    <a:pt x="1871" y="7"/>
                  </a:cubicBezTo>
                  <a:cubicBezTo>
                    <a:pt x="1871" y="3"/>
                    <a:pt x="1869" y="0"/>
                    <a:pt x="1862" y="0"/>
                  </a:cubicBezTo>
                  <a:cubicBezTo>
                    <a:pt x="1815" y="0"/>
                    <a:pt x="1711" y="75"/>
                    <a:pt x="1711" y="188"/>
                  </a:cubicBezTo>
                  <a:cubicBezTo>
                    <a:pt x="1711" y="234"/>
                    <a:pt x="1721" y="267"/>
                    <a:pt x="1739" y="295"/>
                  </a:cubicBezTo>
                  <a:cubicBezTo>
                    <a:pt x="1732" y="294"/>
                    <a:pt x="1727" y="294"/>
                    <a:pt x="1722" y="294"/>
                  </a:cubicBezTo>
                  <a:cubicBezTo>
                    <a:pt x="1704" y="294"/>
                    <a:pt x="1686" y="299"/>
                    <a:pt x="1675" y="302"/>
                  </a:cubicBezTo>
                  <a:lnTo>
                    <a:pt x="1675" y="290"/>
                  </a:lnTo>
                  <a:cubicBezTo>
                    <a:pt x="1675" y="265"/>
                    <a:pt x="1669" y="230"/>
                    <a:pt x="1659" y="219"/>
                  </a:cubicBezTo>
                  <a:cubicBezTo>
                    <a:pt x="1657" y="217"/>
                    <a:pt x="1656" y="217"/>
                    <a:pt x="1654" y="217"/>
                  </a:cubicBezTo>
                  <a:cubicBezTo>
                    <a:pt x="1649" y="217"/>
                    <a:pt x="1644" y="219"/>
                    <a:pt x="1637" y="223"/>
                  </a:cubicBezTo>
                  <a:cubicBezTo>
                    <a:pt x="1630" y="226"/>
                    <a:pt x="1623" y="230"/>
                    <a:pt x="1623" y="232"/>
                  </a:cubicBezTo>
                  <a:cubicBezTo>
                    <a:pt x="1623" y="233"/>
                    <a:pt x="1623" y="234"/>
                    <a:pt x="1625" y="237"/>
                  </a:cubicBezTo>
                  <a:cubicBezTo>
                    <a:pt x="1629" y="243"/>
                    <a:pt x="1640" y="255"/>
                    <a:pt x="1644" y="282"/>
                  </a:cubicBezTo>
                  <a:cubicBezTo>
                    <a:pt x="1624" y="262"/>
                    <a:pt x="1602" y="253"/>
                    <a:pt x="1572" y="253"/>
                  </a:cubicBezTo>
                  <a:cubicBezTo>
                    <a:pt x="1537" y="253"/>
                    <a:pt x="1526" y="269"/>
                    <a:pt x="1526" y="285"/>
                  </a:cubicBezTo>
                  <a:cubicBezTo>
                    <a:pt x="1526" y="316"/>
                    <a:pt x="1567" y="331"/>
                    <a:pt x="1618" y="331"/>
                  </a:cubicBezTo>
                  <a:cubicBezTo>
                    <a:pt x="1627" y="331"/>
                    <a:pt x="1637" y="329"/>
                    <a:pt x="1648" y="326"/>
                  </a:cubicBezTo>
                  <a:cubicBezTo>
                    <a:pt x="1648" y="336"/>
                    <a:pt x="1649" y="344"/>
                    <a:pt x="1649" y="351"/>
                  </a:cubicBezTo>
                  <a:cubicBezTo>
                    <a:pt x="1649" y="361"/>
                    <a:pt x="1650" y="368"/>
                    <a:pt x="1657" y="368"/>
                  </a:cubicBezTo>
                  <a:cubicBezTo>
                    <a:pt x="1667" y="368"/>
                    <a:pt x="1673" y="349"/>
                    <a:pt x="1674" y="320"/>
                  </a:cubicBezTo>
                  <a:cubicBezTo>
                    <a:pt x="1692" y="316"/>
                    <a:pt x="1711" y="311"/>
                    <a:pt x="1727" y="311"/>
                  </a:cubicBezTo>
                  <a:cubicBezTo>
                    <a:pt x="1734" y="311"/>
                    <a:pt x="1743" y="312"/>
                    <a:pt x="1753" y="314"/>
                  </a:cubicBezTo>
                  <a:lnTo>
                    <a:pt x="1753" y="314"/>
                  </a:lnTo>
                  <a:close/>
                  <a:moveTo>
                    <a:pt x="1638" y="308"/>
                  </a:moveTo>
                  <a:lnTo>
                    <a:pt x="1638" y="308"/>
                  </a:lnTo>
                  <a:cubicBezTo>
                    <a:pt x="1628" y="310"/>
                    <a:pt x="1622" y="310"/>
                    <a:pt x="1612" y="310"/>
                  </a:cubicBezTo>
                  <a:cubicBezTo>
                    <a:pt x="1589" y="310"/>
                    <a:pt x="1572" y="301"/>
                    <a:pt x="1572" y="288"/>
                  </a:cubicBezTo>
                  <a:cubicBezTo>
                    <a:pt x="1572" y="280"/>
                    <a:pt x="1576" y="275"/>
                    <a:pt x="1588" y="275"/>
                  </a:cubicBezTo>
                  <a:cubicBezTo>
                    <a:pt x="1606" y="275"/>
                    <a:pt x="1621" y="288"/>
                    <a:pt x="1638" y="308"/>
                  </a:cubicBezTo>
                  <a:lnTo>
                    <a:pt x="1638" y="308"/>
                  </a:lnTo>
                  <a:close/>
                  <a:moveTo>
                    <a:pt x="1168" y="212"/>
                  </a:moveTo>
                  <a:lnTo>
                    <a:pt x="1168" y="212"/>
                  </a:lnTo>
                  <a:cubicBezTo>
                    <a:pt x="1168" y="206"/>
                    <a:pt x="1171" y="203"/>
                    <a:pt x="1176" y="203"/>
                  </a:cubicBezTo>
                  <a:cubicBezTo>
                    <a:pt x="1183" y="203"/>
                    <a:pt x="1195" y="212"/>
                    <a:pt x="1201" y="228"/>
                  </a:cubicBezTo>
                  <a:cubicBezTo>
                    <a:pt x="1199" y="228"/>
                    <a:pt x="1195" y="229"/>
                    <a:pt x="1193" y="229"/>
                  </a:cubicBezTo>
                  <a:cubicBezTo>
                    <a:pt x="1179" y="229"/>
                    <a:pt x="1168" y="222"/>
                    <a:pt x="1168" y="212"/>
                  </a:cubicBezTo>
                  <a:lnTo>
                    <a:pt x="1168" y="212"/>
                  </a:lnTo>
                  <a:close/>
                  <a:moveTo>
                    <a:pt x="324" y="212"/>
                  </a:moveTo>
                  <a:lnTo>
                    <a:pt x="324" y="212"/>
                  </a:lnTo>
                  <a:cubicBezTo>
                    <a:pt x="324" y="206"/>
                    <a:pt x="328" y="203"/>
                    <a:pt x="332" y="203"/>
                  </a:cubicBezTo>
                  <a:cubicBezTo>
                    <a:pt x="339" y="203"/>
                    <a:pt x="351" y="212"/>
                    <a:pt x="357" y="228"/>
                  </a:cubicBezTo>
                  <a:cubicBezTo>
                    <a:pt x="336" y="228"/>
                    <a:pt x="324" y="223"/>
                    <a:pt x="324" y="212"/>
                  </a:cubicBezTo>
                  <a:lnTo>
                    <a:pt x="324" y="212"/>
                  </a:lnTo>
                  <a:close/>
                  <a:moveTo>
                    <a:pt x="487" y="127"/>
                  </a:moveTo>
                  <a:lnTo>
                    <a:pt x="487" y="127"/>
                  </a:lnTo>
                  <a:cubicBezTo>
                    <a:pt x="487" y="40"/>
                    <a:pt x="504" y="27"/>
                    <a:pt x="509" y="27"/>
                  </a:cubicBezTo>
                  <a:cubicBezTo>
                    <a:pt x="518" y="27"/>
                    <a:pt x="519" y="33"/>
                    <a:pt x="519" y="66"/>
                  </a:cubicBezTo>
                  <a:cubicBezTo>
                    <a:pt x="519" y="101"/>
                    <a:pt x="505" y="146"/>
                    <a:pt x="487" y="170"/>
                  </a:cubicBezTo>
                  <a:lnTo>
                    <a:pt x="487" y="127"/>
                  </a:lnTo>
                  <a:lnTo>
                    <a:pt x="487" y="127"/>
                  </a:lnTo>
                  <a:close/>
                  <a:moveTo>
                    <a:pt x="1079" y="213"/>
                  </a:moveTo>
                  <a:lnTo>
                    <a:pt x="1079" y="213"/>
                  </a:lnTo>
                  <a:cubicBezTo>
                    <a:pt x="1069" y="227"/>
                    <a:pt x="1061" y="247"/>
                    <a:pt x="1061" y="273"/>
                  </a:cubicBezTo>
                  <a:cubicBezTo>
                    <a:pt x="1061" y="322"/>
                    <a:pt x="1089" y="368"/>
                    <a:pt x="1143" y="368"/>
                  </a:cubicBezTo>
                  <a:cubicBezTo>
                    <a:pt x="1195" y="368"/>
                    <a:pt x="1233" y="327"/>
                    <a:pt x="1233" y="269"/>
                  </a:cubicBezTo>
                  <a:cubicBezTo>
                    <a:pt x="1233" y="252"/>
                    <a:pt x="1232" y="250"/>
                    <a:pt x="1231" y="243"/>
                  </a:cubicBezTo>
                  <a:cubicBezTo>
                    <a:pt x="1243" y="238"/>
                    <a:pt x="1253" y="230"/>
                    <a:pt x="1262" y="223"/>
                  </a:cubicBezTo>
                  <a:cubicBezTo>
                    <a:pt x="1269" y="218"/>
                    <a:pt x="1274" y="215"/>
                    <a:pt x="1278" y="215"/>
                  </a:cubicBezTo>
                  <a:cubicBezTo>
                    <a:pt x="1283" y="215"/>
                    <a:pt x="1285" y="219"/>
                    <a:pt x="1285" y="227"/>
                  </a:cubicBezTo>
                  <a:lnTo>
                    <a:pt x="1285" y="341"/>
                  </a:lnTo>
                  <a:cubicBezTo>
                    <a:pt x="1285" y="360"/>
                    <a:pt x="1291" y="368"/>
                    <a:pt x="1306" y="368"/>
                  </a:cubicBezTo>
                  <a:cubicBezTo>
                    <a:pt x="1319" y="368"/>
                    <a:pt x="1329" y="359"/>
                    <a:pt x="1334" y="348"/>
                  </a:cubicBezTo>
                  <a:cubicBezTo>
                    <a:pt x="1353" y="308"/>
                    <a:pt x="1381" y="254"/>
                    <a:pt x="1393" y="234"/>
                  </a:cubicBezTo>
                  <a:cubicBezTo>
                    <a:pt x="1396" y="229"/>
                    <a:pt x="1398" y="226"/>
                    <a:pt x="1400" y="226"/>
                  </a:cubicBezTo>
                  <a:cubicBezTo>
                    <a:pt x="1403" y="226"/>
                    <a:pt x="1404" y="227"/>
                    <a:pt x="1404" y="235"/>
                  </a:cubicBezTo>
                  <a:lnTo>
                    <a:pt x="1404" y="326"/>
                  </a:lnTo>
                  <a:cubicBezTo>
                    <a:pt x="1404" y="352"/>
                    <a:pt x="1416" y="368"/>
                    <a:pt x="1441" y="368"/>
                  </a:cubicBezTo>
                  <a:cubicBezTo>
                    <a:pt x="1468" y="368"/>
                    <a:pt x="1482" y="343"/>
                    <a:pt x="1505" y="303"/>
                  </a:cubicBezTo>
                  <a:cubicBezTo>
                    <a:pt x="1506" y="301"/>
                    <a:pt x="1506" y="299"/>
                    <a:pt x="1506" y="297"/>
                  </a:cubicBezTo>
                  <a:cubicBezTo>
                    <a:pt x="1506" y="292"/>
                    <a:pt x="1502" y="289"/>
                    <a:pt x="1497" y="289"/>
                  </a:cubicBezTo>
                  <a:cubicBezTo>
                    <a:pt x="1492" y="289"/>
                    <a:pt x="1489" y="294"/>
                    <a:pt x="1472" y="314"/>
                  </a:cubicBezTo>
                  <a:cubicBezTo>
                    <a:pt x="1468" y="317"/>
                    <a:pt x="1464" y="322"/>
                    <a:pt x="1458" y="322"/>
                  </a:cubicBezTo>
                  <a:cubicBezTo>
                    <a:pt x="1456" y="322"/>
                    <a:pt x="1454" y="320"/>
                    <a:pt x="1454" y="316"/>
                  </a:cubicBezTo>
                  <a:lnTo>
                    <a:pt x="1454" y="214"/>
                  </a:lnTo>
                  <a:cubicBezTo>
                    <a:pt x="1454" y="186"/>
                    <a:pt x="1442" y="175"/>
                    <a:pt x="1426" y="175"/>
                  </a:cubicBezTo>
                  <a:cubicBezTo>
                    <a:pt x="1413" y="175"/>
                    <a:pt x="1403" y="180"/>
                    <a:pt x="1392" y="197"/>
                  </a:cubicBezTo>
                  <a:cubicBezTo>
                    <a:pt x="1372" y="226"/>
                    <a:pt x="1352" y="267"/>
                    <a:pt x="1340" y="289"/>
                  </a:cubicBezTo>
                  <a:cubicBezTo>
                    <a:pt x="1339" y="291"/>
                    <a:pt x="1337" y="294"/>
                    <a:pt x="1336" y="294"/>
                  </a:cubicBezTo>
                  <a:cubicBezTo>
                    <a:pt x="1335" y="294"/>
                    <a:pt x="1335" y="292"/>
                    <a:pt x="1335" y="289"/>
                  </a:cubicBezTo>
                  <a:lnTo>
                    <a:pt x="1335" y="214"/>
                  </a:lnTo>
                  <a:cubicBezTo>
                    <a:pt x="1335" y="192"/>
                    <a:pt x="1329" y="175"/>
                    <a:pt x="1306" y="175"/>
                  </a:cubicBezTo>
                  <a:cubicBezTo>
                    <a:pt x="1282" y="175"/>
                    <a:pt x="1270" y="192"/>
                    <a:pt x="1252" y="204"/>
                  </a:cubicBezTo>
                  <a:cubicBezTo>
                    <a:pt x="1241" y="212"/>
                    <a:pt x="1231" y="218"/>
                    <a:pt x="1224" y="221"/>
                  </a:cubicBezTo>
                  <a:cubicBezTo>
                    <a:pt x="1212" y="192"/>
                    <a:pt x="1190" y="177"/>
                    <a:pt x="1173" y="177"/>
                  </a:cubicBezTo>
                  <a:cubicBezTo>
                    <a:pt x="1154" y="178"/>
                    <a:pt x="1141" y="188"/>
                    <a:pt x="1141" y="207"/>
                  </a:cubicBezTo>
                  <a:cubicBezTo>
                    <a:pt x="1141" y="227"/>
                    <a:pt x="1153" y="240"/>
                    <a:pt x="1169" y="246"/>
                  </a:cubicBezTo>
                  <a:cubicBezTo>
                    <a:pt x="1178" y="249"/>
                    <a:pt x="1186" y="250"/>
                    <a:pt x="1197" y="250"/>
                  </a:cubicBezTo>
                  <a:cubicBezTo>
                    <a:pt x="1201" y="250"/>
                    <a:pt x="1204" y="250"/>
                    <a:pt x="1206" y="249"/>
                  </a:cubicBezTo>
                  <a:cubicBezTo>
                    <a:pt x="1208" y="255"/>
                    <a:pt x="1207" y="263"/>
                    <a:pt x="1207" y="270"/>
                  </a:cubicBezTo>
                  <a:cubicBezTo>
                    <a:pt x="1207" y="298"/>
                    <a:pt x="1190" y="327"/>
                    <a:pt x="1159" y="327"/>
                  </a:cubicBezTo>
                  <a:cubicBezTo>
                    <a:pt x="1126" y="327"/>
                    <a:pt x="1107" y="295"/>
                    <a:pt x="1107" y="259"/>
                  </a:cubicBezTo>
                  <a:cubicBezTo>
                    <a:pt x="1107" y="232"/>
                    <a:pt x="1115" y="209"/>
                    <a:pt x="1128" y="194"/>
                  </a:cubicBezTo>
                  <a:cubicBezTo>
                    <a:pt x="1134" y="188"/>
                    <a:pt x="1138" y="184"/>
                    <a:pt x="1138" y="178"/>
                  </a:cubicBezTo>
                  <a:cubicBezTo>
                    <a:pt x="1138" y="176"/>
                    <a:pt x="1134" y="175"/>
                    <a:pt x="1130" y="175"/>
                  </a:cubicBezTo>
                  <a:cubicBezTo>
                    <a:pt x="1108" y="175"/>
                    <a:pt x="1084" y="185"/>
                    <a:pt x="1067" y="194"/>
                  </a:cubicBezTo>
                  <a:cubicBezTo>
                    <a:pt x="1045" y="206"/>
                    <a:pt x="1018" y="225"/>
                    <a:pt x="997" y="244"/>
                  </a:cubicBezTo>
                  <a:cubicBezTo>
                    <a:pt x="986" y="221"/>
                    <a:pt x="973" y="200"/>
                    <a:pt x="967" y="184"/>
                  </a:cubicBezTo>
                  <a:cubicBezTo>
                    <a:pt x="964" y="178"/>
                    <a:pt x="963" y="171"/>
                    <a:pt x="958" y="171"/>
                  </a:cubicBezTo>
                  <a:cubicBezTo>
                    <a:pt x="954" y="171"/>
                    <a:pt x="952" y="175"/>
                    <a:pt x="949" y="183"/>
                  </a:cubicBezTo>
                  <a:cubicBezTo>
                    <a:pt x="939" y="214"/>
                    <a:pt x="883" y="304"/>
                    <a:pt x="871" y="316"/>
                  </a:cubicBezTo>
                  <a:cubicBezTo>
                    <a:pt x="869" y="318"/>
                    <a:pt x="868" y="320"/>
                    <a:pt x="867" y="320"/>
                  </a:cubicBezTo>
                  <a:cubicBezTo>
                    <a:pt x="866" y="320"/>
                    <a:pt x="865" y="320"/>
                    <a:pt x="865" y="316"/>
                  </a:cubicBezTo>
                  <a:lnTo>
                    <a:pt x="865" y="214"/>
                  </a:lnTo>
                  <a:cubicBezTo>
                    <a:pt x="865" y="186"/>
                    <a:pt x="854" y="175"/>
                    <a:pt x="839" y="175"/>
                  </a:cubicBezTo>
                  <a:cubicBezTo>
                    <a:pt x="826" y="175"/>
                    <a:pt x="815" y="180"/>
                    <a:pt x="805" y="197"/>
                  </a:cubicBezTo>
                  <a:cubicBezTo>
                    <a:pt x="786" y="226"/>
                    <a:pt x="762" y="269"/>
                    <a:pt x="751" y="290"/>
                  </a:cubicBezTo>
                  <a:cubicBezTo>
                    <a:pt x="749" y="293"/>
                    <a:pt x="748" y="294"/>
                    <a:pt x="747" y="294"/>
                  </a:cubicBezTo>
                  <a:cubicBezTo>
                    <a:pt x="746" y="294"/>
                    <a:pt x="746" y="292"/>
                    <a:pt x="746" y="289"/>
                  </a:cubicBezTo>
                  <a:lnTo>
                    <a:pt x="746" y="214"/>
                  </a:lnTo>
                  <a:cubicBezTo>
                    <a:pt x="746" y="186"/>
                    <a:pt x="735" y="175"/>
                    <a:pt x="720" y="175"/>
                  </a:cubicBezTo>
                  <a:cubicBezTo>
                    <a:pt x="707" y="175"/>
                    <a:pt x="694" y="180"/>
                    <a:pt x="684" y="197"/>
                  </a:cubicBezTo>
                  <a:cubicBezTo>
                    <a:pt x="660" y="238"/>
                    <a:pt x="619" y="302"/>
                    <a:pt x="611" y="312"/>
                  </a:cubicBezTo>
                  <a:cubicBezTo>
                    <a:pt x="610" y="314"/>
                    <a:pt x="609" y="316"/>
                    <a:pt x="608" y="316"/>
                  </a:cubicBezTo>
                  <a:cubicBezTo>
                    <a:pt x="607" y="316"/>
                    <a:pt x="606" y="315"/>
                    <a:pt x="606" y="312"/>
                  </a:cubicBezTo>
                  <a:lnTo>
                    <a:pt x="606" y="214"/>
                  </a:lnTo>
                  <a:cubicBezTo>
                    <a:pt x="606" y="186"/>
                    <a:pt x="595" y="175"/>
                    <a:pt x="580" y="175"/>
                  </a:cubicBezTo>
                  <a:cubicBezTo>
                    <a:pt x="559" y="175"/>
                    <a:pt x="548" y="195"/>
                    <a:pt x="540" y="207"/>
                  </a:cubicBezTo>
                  <a:cubicBezTo>
                    <a:pt x="529" y="224"/>
                    <a:pt x="515" y="247"/>
                    <a:pt x="504" y="267"/>
                  </a:cubicBezTo>
                  <a:cubicBezTo>
                    <a:pt x="497" y="281"/>
                    <a:pt x="490" y="294"/>
                    <a:pt x="488" y="294"/>
                  </a:cubicBezTo>
                  <a:cubicBezTo>
                    <a:pt x="487" y="294"/>
                    <a:pt x="487" y="289"/>
                    <a:pt x="487" y="279"/>
                  </a:cubicBezTo>
                  <a:lnTo>
                    <a:pt x="487" y="201"/>
                  </a:lnTo>
                  <a:cubicBezTo>
                    <a:pt x="524" y="160"/>
                    <a:pt x="546" y="110"/>
                    <a:pt x="546" y="55"/>
                  </a:cubicBezTo>
                  <a:cubicBezTo>
                    <a:pt x="546" y="23"/>
                    <a:pt x="532" y="6"/>
                    <a:pt x="511" y="6"/>
                  </a:cubicBezTo>
                  <a:cubicBezTo>
                    <a:pt x="470" y="6"/>
                    <a:pt x="440" y="69"/>
                    <a:pt x="440" y="144"/>
                  </a:cubicBezTo>
                  <a:lnTo>
                    <a:pt x="440" y="204"/>
                  </a:lnTo>
                  <a:cubicBezTo>
                    <a:pt x="421" y="216"/>
                    <a:pt x="403" y="222"/>
                    <a:pt x="382" y="226"/>
                  </a:cubicBezTo>
                  <a:cubicBezTo>
                    <a:pt x="371" y="194"/>
                    <a:pt x="347" y="177"/>
                    <a:pt x="329" y="177"/>
                  </a:cubicBezTo>
                  <a:cubicBezTo>
                    <a:pt x="311" y="178"/>
                    <a:pt x="298" y="188"/>
                    <a:pt x="298" y="207"/>
                  </a:cubicBezTo>
                  <a:cubicBezTo>
                    <a:pt x="298" y="238"/>
                    <a:pt x="328" y="251"/>
                    <a:pt x="355" y="251"/>
                  </a:cubicBezTo>
                  <a:lnTo>
                    <a:pt x="362" y="251"/>
                  </a:lnTo>
                  <a:cubicBezTo>
                    <a:pt x="364" y="257"/>
                    <a:pt x="364" y="263"/>
                    <a:pt x="364" y="270"/>
                  </a:cubicBezTo>
                  <a:cubicBezTo>
                    <a:pt x="364" y="298"/>
                    <a:pt x="347" y="327"/>
                    <a:pt x="315" y="327"/>
                  </a:cubicBezTo>
                  <a:cubicBezTo>
                    <a:pt x="283" y="327"/>
                    <a:pt x="263" y="295"/>
                    <a:pt x="263" y="259"/>
                  </a:cubicBezTo>
                  <a:cubicBezTo>
                    <a:pt x="263" y="232"/>
                    <a:pt x="271" y="209"/>
                    <a:pt x="285" y="194"/>
                  </a:cubicBezTo>
                  <a:cubicBezTo>
                    <a:pt x="290" y="188"/>
                    <a:pt x="294" y="183"/>
                    <a:pt x="294" y="178"/>
                  </a:cubicBezTo>
                  <a:cubicBezTo>
                    <a:pt x="294" y="176"/>
                    <a:pt x="290" y="175"/>
                    <a:pt x="286" y="175"/>
                  </a:cubicBezTo>
                  <a:cubicBezTo>
                    <a:pt x="265" y="175"/>
                    <a:pt x="215" y="205"/>
                    <a:pt x="157" y="263"/>
                  </a:cubicBezTo>
                  <a:cubicBezTo>
                    <a:pt x="152" y="217"/>
                    <a:pt x="146" y="171"/>
                    <a:pt x="146" y="127"/>
                  </a:cubicBezTo>
                  <a:cubicBezTo>
                    <a:pt x="146" y="77"/>
                    <a:pt x="156" y="35"/>
                    <a:pt x="158" y="23"/>
                  </a:cubicBezTo>
                  <a:cubicBezTo>
                    <a:pt x="159" y="16"/>
                    <a:pt x="160" y="11"/>
                    <a:pt x="160" y="7"/>
                  </a:cubicBezTo>
                  <a:cubicBezTo>
                    <a:pt x="160" y="3"/>
                    <a:pt x="158" y="0"/>
                    <a:pt x="151" y="0"/>
                  </a:cubicBezTo>
                  <a:cubicBezTo>
                    <a:pt x="104" y="0"/>
                    <a:pt x="0" y="75"/>
                    <a:pt x="0" y="188"/>
                  </a:cubicBezTo>
                  <a:cubicBezTo>
                    <a:pt x="0" y="268"/>
                    <a:pt x="29" y="306"/>
                    <a:pt x="80" y="356"/>
                  </a:cubicBezTo>
                  <a:cubicBezTo>
                    <a:pt x="49" y="406"/>
                    <a:pt x="25" y="465"/>
                    <a:pt x="25" y="517"/>
                  </a:cubicBezTo>
                  <a:cubicBezTo>
                    <a:pt x="25" y="555"/>
                    <a:pt x="34" y="584"/>
                    <a:pt x="61" y="584"/>
                  </a:cubicBezTo>
                  <a:cubicBezTo>
                    <a:pt x="120" y="584"/>
                    <a:pt x="163" y="462"/>
                    <a:pt x="163" y="372"/>
                  </a:cubicBezTo>
                  <a:cubicBezTo>
                    <a:pt x="163" y="346"/>
                    <a:pt x="162" y="319"/>
                    <a:pt x="160" y="292"/>
                  </a:cubicBezTo>
                  <a:cubicBezTo>
                    <a:pt x="182" y="269"/>
                    <a:pt x="215" y="238"/>
                    <a:pt x="223" y="235"/>
                  </a:cubicBezTo>
                  <a:cubicBezTo>
                    <a:pt x="220" y="248"/>
                    <a:pt x="217" y="261"/>
                    <a:pt x="217" y="273"/>
                  </a:cubicBezTo>
                  <a:cubicBezTo>
                    <a:pt x="217" y="322"/>
                    <a:pt x="245" y="368"/>
                    <a:pt x="299" y="368"/>
                  </a:cubicBezTo>
                  <a:cubicBezTo>
                    <a:pt x="350" y="368"/>
                    <a:pt x="389" y="327"/>
                    <a:pt x="389" y="269"/>
                  </a:cubicBezTo>
                  <a:cubicBezTo>
                    <a:pt x="389" y="262"/>
                    <a:pt x="388" y="255"/>
                    <a:pt x="388" y="248"/>
                  </a:cubicBezTo>
                  <a:cubicBezTo>
                    <a:pt x="406" y="245"/>
                    <a:pt x="423" y="240"/>
                    <a:pt x="440" y="230"/>
                  </a:cubicBezTo>
                  <a:lnTo>
                    <a:pt x="440" y="347"/>
                  </a:lnTo>
                  <a:cubicBezTo>
                    <a:pt x="440" y="363"/>
                    <a:pt x="450" y="368"/>
                    <a:pt x="460" y="368"/>
                  </a:cubicBezTo>
                  <a:cubicBezTo>
                    <a:pt x="473" y="368"/>
                    <a:pt x="480" y="359"/>
                    <a:pt x="490" y="338"/>
                  </a:cubicBezTo>
                  <a:cubicBezTo>
                    <a:pt x="499" y="320"/>
                    <a:pt x="521" y="280"/>
                    <a:pt x="534" y="256"/>
                  </a:cubicBezTo>
                  <a:cubicBezTo>
                    <a:pt x="544" y="237"/>
                    <a:pt x="550" y="225"/>
                    <a:pt x="555" y="225"/>
                  </a:cubicBezTo>
                  <a:cubicBezTo>
                    <a:pt x="556" y="225"/>
                    <a:pt x="558" y="228"/>
                    <a:pt x="558" y="235"/>
                  </a:cubicBezTo>
                  <a:lnTo>
                    <a:pt x="558" y="335"/>
                  </a:lnTo>
                  <a:cubicBezTo>
                    <a:pt x="558" y="362"/>
                    <a:pt x="571" y="368"/>
                    <a:pt x="584" y="368"/>
                  </a:cubicBezTo>
                  <a:cubicBezTo>
                    <a:pt x="595" y="368"/>
                    <a:pt x="603" y="362"/>
                    <a:pt x="610" y="352"/>
                  </a:cubicBezTo>
                  <a:cubicBezTo>
                    <a:pt x="641" y="308"/>
                    <a:pt x="673" y="257"/>
                    <a:pt x="686" y="235"/>
                  </a:cubicBezTo>
                  <a:cubicBezTo>
                    <a:pt x="688" y="231"/>
                    <a:pt x="691" y="228"/>
                    <a:pt x="693" y="228"/>
                  </a:cubicBezTo>
                  <a:cubicBezTo>
                    <a:pt x="696" y="228"/>
                    <a:pt x="697" y="229"/>
                    <a:pt x="697" y="236"/>
                  </a:cubicBezTo>
                  <a:lnTo>
                    <a:pt x="697" y="341"/>
                  </a:lnTo>
                  <a:cubicBezTo>
                    <a:pt x="697" y="360"/>
                    <a:pt x="703" y="368"/>
                    <a:pt x="717" y="368"/>
                  </a:cubicBezTo>
                  <a:cubicBezTo>
                    <a:pt x="731" y="368"/>
                    <a:pt x="739" y="359"/>
                    <a:pt x="745" y="348"/>
                  </a:cubicBezTo>
                  <a:cubicBezTo>
                    <a:pt x="764" y="308"/>
                    <a:pt x="793" y="255"/>
                    <a:pt x="805" y="234"/>
                  </a:cubicBezTo>
                  <a:cubicBezTo>
                    <a:pt x="807" y="229"/>
                    <a:pt x="811" y="225"/>
                    <a:pt x="812" y="225"/>
                  </a:cubicBezTo>
                  <a:cubicBezTo>
                    <a:pt x="815" y="225"/>
                    <a:pt x="815" y="228"/>
                    <a:pt x="815" y="235"/>
                  </a:cubicBezTo>
                  <a:lnTo>
                    <a:pt x="815" y="335"/>
                  </a:lnTo>
                  <a:cubicBezTo>
                    <a:pt x="815" y="362"/>
                    <a:pt x="829" y="368"/>
                    <a:pt x="842" y="368"/>
                  </a:cubicBezTo>
                  <a:cubicBezTo>
                    <a:pt x="858" y="368"/>
                    <a:pt x="868" y="357"/>
                    <a:pt x="879" y="344"/>
                  </a:cubicBezTo>
                  <a:cubicBezTo>
                    <a:pt x="898" y="318"/>
                    <a:pt x="926" y="273"/>
                    <a:pt x="943" y="245"/>
                  </a:cubicBezTo>
                  <a:cubicBezTo>
                    <a:pt x="949" y="254"/>
                    <a:pt x="955" y="265"/>
                    <a:pt x="961" y="277"/>
                  </a:cubicBezTo>
                  <a:cubicBezTo>
                    <a:pt x="947" y="294"/>
                    <a:pt x="933" y="314"/>
                    <a:pt x="933" y="334"/>
                  </a:cubicBezTo>
                  <a:cubicBezTo>
                    <a:pt x="933" y="355"/>
                    <a:pt x="948" y="368"/>
                    <a:pt x="963" y="368"/>
                  </a:cubicBezTo>
                  <a:cubicBezTo>
                    <a:pt x="990" y="368"/>
                    <a:pt x="1015" y="343"/>
                    <a:pt x="1015" y="307"/>
                  </a:cubicBezTo>
                  <a:cubicBezTo>
                    <a:pt x="1015" y="293"/>
                    <a:pt x="1011" y="279"/>
                    <a:pt x="1005" y="265"/>
                  </a:cubicBezTo>
                  <a:cubicBezTo>
                    <a:pt x="1029" y="241"/>
                    <a:pt x="1058" y="219"/>
                    <a:pt x="1079" y="213"/>
                  </a:cubicBezTo>
                  <a:lnTo>
                    <a:pt x="1079" y="213"/>
                  </a:lnTo>
                  <a:close/>
                  <a:moveTo>
                    <a:pt x="118" y="341"/>
                  </a:moveTo>
                  <a:lnTo>
                    <a:pt x="118" y="341"/>
                  </a:lnTo>
                  <a:cubicBezTo>
                    <a:pt x="123" y="371"/>
                    <a:pt x="127" y="402"/>
                    <a:pt x="127" y="426"/>
                  </a:cubicBezTo>
                  <a:cubicBezTo>
                    <a:pt x="127" y="482"/>
                    <a:pt x="108" y="547"/>
                    <a:pt x="76" y="546"/>
                  </a:cubicBezTo>
                  <a:cubicBezTo>
                    <a:pt x="64" y="546"/>
                    <a:pt x="53" y="534"/>
                    <a:pt x="53" y="513"/>
                  </a:cubicBezTo>
                  <a:cubicBezTo>
                    <a:pt x="52" y="443"/>
                    <a:pt x="85" y="383"/>
                    <a:pt x="118" y="341"/>
                  </a:cubicBezTo>
                  <a:lnTo>
                    <a:pt x="118" y="341"/>
                  </a:lnTo>
                  <a:close/>
                  <a:moveTo>
                    <a:pt x="970" y="301"/>
                  </a:moveTo>
                  <a:lnTo>
                    <a:pt x="970" y="301"/>
                  </a:lnTo>
                  <a:cubicBezTo>
                    <a:pt x="973" y="311"/>
                    <a:pt x="975" y="319"/>
                    <a:pt x="975" y="327"/>
                  </a:cubicBezTo>
                  <a:cubicBezTo>
                    <a:pt x="975" y="336"/>
                    <a:pt x="972" y="346"/>
                    <a:pt x="965" y="346"/>
                  </a:cubicBezTo>
                  <a:cubicBezTo>
                    <a:pt x="961" y="346"/>
                    <a:pt x="956" y="341"/>
                    <a:pt x="956" y="332"/>
                  </a:cubicBezTo>
                  <a:cubicBezTo>
                    <a:pt x="956" y="324"/>
                    <a:pt x="963" y="310"/>
                    <a:pt x="970" y="301"/>
                  </a:cubicBezTo>
                  <a:lnTo>
                    <a:pt x="970" y="301"/>
                  </a:lnTo>
                  <a:close/>
                  <a:moveTo>
                    <a:pt x="139" y="22"/>
                  </a:moveTo>
                  <a:lnTo>
                    <a:pt x="139" y="22"/>
                  </a:lnTo>
                  <a:cubicBezTo>
                    <a:pt x="139" y="26"/>
                    <a:pt x="131" y="42"/>
                    <a:pt x="120" y="71"/>
                  </a:cubicBezTo>
                  <a:cubicBezTo>
                    <a:pt x="109" y="102"/>
                    <a:pt x="99" y="145"/>
                    <a:pt x="99" y="197"/>
                  </a:cubicBezTo>
                  <a:cubicBezTo>
                    <a:pt x="99" y="228"/>
                    <a:pt x="106" y="269"/>
                    <a:pt x="113" y="310"/>
                  </a:cubicBezTo>
                  <a:lnTo>
                    <a:pt x="94" y="335"/>
                  </a:lnTo>
                  <a:cubicBezTo>
                    <a:pt x="64" y="299"/>
                    <a:pt x="46" y="258"/>
                    <a:pt x="46" y="188"/>
                  </a:cubicBezTo>
                  <a:cubicBezTo>
                    <a:pt x="46" y="89"/>
                    <a:pt x="106" y="20"/>
                    <a:pt x="137" y="20"/>
                  </a:cubicBezTo>
                  <a:cubicBezTo>
                    <a:pt x="139" y="20"/>
                    <a:pt x="139" y="21"/>
                    <a:pt x="139" y="22"/>
                  </a:cubicBezTo>
                  <a:close/>
                </a:path>
              </a:pathLst>
            </a:custGeom>
            <a:solidFill>
              <a:srgbClr val="EC1C2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</p:grpSp>
      <p:sp>
        <p:nvSpPr>
          <p:cNvPr id="23" name="Freeform 22"/>
          <p:cNvSpPr>
            <a:spLocks/>
          </p:cNvSpPr>
          <p:nvPr userDrawn="1"/>
        </p:nvSpPr>
        <p:spPr bwMode="auto">
          <a:xfrm>
            <a:off x="4876802" y="5836245"/>
            <a:ext cx="5447271" cy="1045633"/>
          </a:xfrm>
          <a:custGeom>
            <a:avLst/>
            <a:gdLst>
              <a:gd name="connsiteX0" fmla="*/ 1543994 w 4085453"/>
              <a:gd name="connsiteY0" fmla="*/ 0 h 784225"/>
              <a:gd name="connsiteX1" fmla="*/ 4083688 w 4085453"/>
              <a:gd name="connsiteY1" fmla="*/ 783468 h 784225"/>
              <a:gd name="connsiteX2" fmla="*/ 4085453 w 4085453"/>
              <a:gd name="connsiteY2" fmla="*/ 784225 h 784225"/>
              <a:gd name="connsiteX3" fmla="*/ 2975528 w 4085453"/>
              <a:gd name="connsiteY3" fmla="*/ 784225 h 784225"/>
              <a:gd name="connsiteX4" fmla="*/ 2752683 w 4085453"/>
              <a:gd name="connsiteY4" fmla="*/ 732482 h 784225"/>
              <a:gd name="connsiteX5" fmla="*/ 0 w 4085453"/>
              <a:gd name="connsiteY5" fmla="*/ 579981 h 784225"/>
              <a:gd name="connsiteX6" fmla="*/ 1543994 w 4085453"/>
              <a:gd name="connsiteY6" fmla="*/ 0 h 784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85453" h="784225">
                <a:moveTo>
                  <a:pt x="1543994" y="0"/>
                </a:moveTo>
                <a:cubicBezTo>
                  <a:pt x="2377399" y="92270"/>
                  <a:pt x="3549650" y="556913"/>
                  <a:pt x="4083688" y="783468"/>
                </a:cubicBezTo>
                <a:lnTo>
                  <a:pt x="4085453" y="784225"/>
                </a:lnTo>
                <a:lnTo>
                  <a:pt x="2975528" y="784225"/>
                </a:lnTo>
                <a:lnTo>
                  <a:pt x="2752683" y="732482"/>
                </a:lnTo>
                <a:cubicBezTo>
                  <a:pt x="1186598" y="400568"/>
                  <a:pt x="0" y="579981"/>
                  <a:pt x="0" y="579981"/>
                </a:cubicBezTo>
                <a:cubicBezTo>
                  <a:pt x="614089" y="322212"/>
                  <a:pt x="1543994" y="0"/>
                  <a:pt x="1543994" y="0"/>
                </a:cubicBezTo>
                <a:close/>
              </a:path>
            </a:pathLst>
          </a:custGeom>
          <a:solidFill>
            <a:srgbClr val="5261AC">
              <a:alpha val="4000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sz="3200" dirty="0"/>
          </a:p>
        </p:txBody>
      </p:sp>
    </p:spTree>
    <p:extLst>
      <p:ext uri="{BB962C8B-B14F-4D97-AF65-F5344CB8AC3E}">
        <p14:creationId xmlns:p14="http://schemas.microsoft.com/office/powerpoint/2010/main" val="214428307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763763"/>
            <a:ext cx="10363200" cy="1470025"/>
          </a:xfrm>
        </p:spPr>
        <p:txBody>
          <a:bodyPr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2917373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93960664"/>
      </p:ext>
    </p:extLst>
  </p:cSld>
  <p:clrMapOvr>
    <a:masterClrMapping/>
  </p:clrMapOvr>
  <p:hf hdr="0" ft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112FB6-CC62-4EF4-91D0-558E53DD20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3890467-0235-4D1D-85D0-E73B893CC33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66BDEF-92A8-4B4E-8059-16D66BF105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F4E69A-BB2F-466C-88DD-1FA19F2F8991}" type="datetimeFigureOut">
              <a:rPr lang="ru-RU" smtClean="0"/>
              <a:pPr/>
              <a:t>10.08.2021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12435C-6ADF-4620-9C3D-35B43D689A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02BD49-8019-4C4E-8C0A-5BD80F7199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F129E6-4A33-49BF-A50E-91A2115A923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8504416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19100" y="5939791"/>
            <a:ext cx="2844800" cy="365125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2CE770C9-4A57-4903-9CAF-A03266DAAF4D}" type="datetime1">
              <a:rPr lang="en-US" sz="3200" smtClean="0">
                <a:solidFill>
                  <a:srgbClr val="5F5F5F"/>
                </a:solidFill>
                <a:ea typeface="MS PGothic" pitchFamily="34" charset="-128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8/10/2021</a:t>
            </a:fld>
            <a:endParaRPr lang="en-GB" sz="3200">
              <a:solidFill>
                <a:srgbClr val="5F5F5F"/>
              </a:solidFill>
              <a:ea typeface="MS PGothic" pitchFamily="34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9100" y="6519546"/>
            <a:ext cx="3860800" cy="365125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200">
              <a:solidFill>
                <a:srgbClr val="5F5F5F"/>
              </a:solidFill>
              <a:ea typeface="MS PGothic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915400" y="6519546"/>
            <a:ext cx="2844800" cy="365125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141945D8-3F61-4F85-8283-2597F7F35B98}" type="slidenum">
              <a:rPr lang="en-GB" sz="3200" smtClean="0">
                <a:solidFill>
                  <a:srgbClr val="5F5F5F"/>
                </a:solidFill>
                <a:ea typeface="MS PGothic" pitchFamily="34" charset="-128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sz="3200">
              <a:solidFill>
                <a:srgbClr val="5F5F5F"/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4597296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1"/>
            <a:ext cx="12192000" cy="4171951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4168775"/>
            <a:ext cx="12192000" cy="2552700"/>
          </a:xfrm>
          <a:prstGeom prst="rect">
            <a:avLst/>
          </a:prstGeom>
          <a:solidFill>
            <a:srgbClr val="C8C8C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auto">
          <a:xfrm>
            <a:off x="0" y="6505576"/>
            <a:ext cx="12192000" cy="365125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350965"/>
            <a:ext cx="10363200" cy="1470025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4424680"/>
            <a:ext cx="10451253" cy="121412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b="1">
                <a:solidFill>
                  <a:srgbClr val="000000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2018720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BC6369-4E08-429E-BE73-DB3F365402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560C45-2D84-4A16-864C-E0B4912DE44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9F183CD-4879-4F38-880A-38C6EA5624A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C136FFC-0FB5-4DD7-80A6-0AAB726DC6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C07FA9-3898-466A-8E9C-7EF47BD238A7}" type="datetimeFigureOut">
              <a:rPr lang="ru-RU" smtClean="0"/>
              <a:pPr/>
              <a:t>10.08.2021</a:t>
            </a:fld>
            <a:endParaRPr lang="ru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C087B94-954B-4BEB-9287-CD03462E96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F84EEE7-B4EF-41F7-BFB3-E53338CFEE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764D1-9A3F-4A84-A628-D9AB7118B16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4193989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42CDC22D-28D2-4B9C-90CE-61738ED8A5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-3828" y="0"/>
            <a:ext cx="12195828" cy="6855847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3C54544-7D33-4965-83EA-228C6B66154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161335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795613-8608-4CBA-B29A-020C4B49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48F093B-0340-4B59-BFAD-76217FA4E6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363"/>
          <a:stretch/>
        </p:blipFill>
        <p:spPr>
          <a:xfrm>
            <a:off x="0" y="0"/>
            <a:ext cx="1166022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816572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>
  <p:cSld name="Title Slide">
    <p:bg>
      <p:bgPr>
        <a:gradFill>
          <a:gsLst>
            <a:gs pos="0">
              <a:schemeClr val="bg2"/>
            </a:gs>
            <a:gs pos="100000">
              <a:schemeClr val="bg2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364794" y="1044411"/>
            <a:ext cx="8049953" cy="5247871"/>
          </a:xfrm>
          <a:custGeom>
            <a:avLst/>
            <a:gdLst>
              <a:gd name="connsiteX0" fmla="*/ 0 w 5976664"/>
              <a:gd name="connsiteY0" fmla="*/ 0 h 3888431"/>
              <a:gd name="connsiteX1" fmla="*/ 5976664 w 5976664"/>
              <a:gd name="connsiteY1" fmla="*/ 0 h 3888431"/>
              <a:gd name="connsiteX2" fmla="*/ 5976664 w 5976664"/>
              <a:gd name="connsiteY2" fmla="*/ 3888431 h 3888431"/>
              <a:gd name="connsiteX3" fmla="*/ 0 w 5976664"/>
              <a:gd name="connsiteY3" fmla="*/ 3888431 h 3888431"/>
              <a:gd name="connsiteX4" fmla="*/ 0 w 5976664"/>
              <a:gd name="connsiteY4" fmla="*/ 0 h 3888431"/>
              <a:gd name="connsiteX0" fmla="*/ 13447 w 5990111"/>
              <a:gd name="connsiteY0" fmla="*/ 0 h 3888431"/>
              <a:gd name="connsiteX1" fmla="*/ 5990111 w 5990111"/>
              <a:gd name="connsiteY1" fmla="*/ 0 h 3888431"/>
              <a:gd name="connsiteX2" fmla="*/ 5990111 w 5990111"/>
              <a:gd name="connsiteY2" fmla="*/ 3888431 h 3888431"/>
              <a:gd name="connsiteX3" fmla="*/ 0 w 5990111"/>
              <a:gd name="connsiteY3" fmla="*/ 2933690 h 3888431"/>
              <a:gd name="connsiteX4" fmla="*/ 13447 w 5990111"/>
              <a:gd name="connsiteY4" fmla="*/ 0 h 3888431"/>
              <a:gd name="connsiteX0" fmla="*/ 228600 w 5990111"/>
              <a:gd name="connsiteY0" fmla="*/ 336177 h 3888431"/>
              <a:gd name="connsiteX1" fmla="*/ 5990111 w 5990111"/>
              <a:gd name="connsiteY1" fmla="*/ 0 h 3888431"/>
              <a:gd name="connsiteX2" fmla="*/ 5990111 w 5990111"/>
              <a:gd name="connsiteY2" fmla="*/ 3888431 h 3888431"/>
              <a:gd name="connsiteX3" fmla="*/ 0 w 5990111"/>
              <a:gd name="connsiteY3" fmla="*/ 2933690 h 3888431"/>
              <a:gd name="connsiteX4" fmla="*/ 228600 w 5990111"/>
              <a:gd name="connsiteY4" fmla="*/ 336177 h 3888431"/>
              <a:gd name="connsiteX0" fmla="*/ 228600 w 5990111"/>
              <a:gd name="connsiteY0" fmla="*/ 282389 h 3834643"/>
              <a:gd name="connsiteX1" fmla="*/ 5048817 w 5990111"/>
              <a:gd name="connsiteY1" fmla="*/ 0 h 3834643"/>
              <a:gd name="connsiteX2" fmla="*/ 5990111 w 5990111"/>
              <a:gd name="connsiteY2" fmla="*/ 3834643 h 3834643"/>
              <a:gd name="connsiteX3" fmla="*/ 0 w 5990111"/>
              <a:gd name="connsiteY3" fmla="*/ 2879902 h 3834643"/>
              <a:gd name="connsiteX4" fmla="*/ 228600 w 5990111"/>
              <a:gd name="connsiteY4" fmla="*/ 282389 h 3834643"/>
              <a:gd name="connsiteX0" fmla="*/ 228600 w 6138029"/>
              <a:gd name="connsiteY0" fmla="*/ 282389 h 2879902"/>
              <a:gd name="connsiteX1" fmla="*/ 5048817 w 6138029"/>
              <a:gd name="connsiteY1" fmla="*/ 0 h 2879902"/>
              <a:gd name="connsiteX2" fmla="*/ 6138029 w 6138029"/>
              <a:gd name="connsiteY2" fmla="*/ 1575537 h 2879902"/>
              <a:gd name="connsiteX3" fmla="*/ 0 w 6138029"/>
              <a:gd name="connsiteY3" fmla="*/ 2879902 h 2879902"/>
              <a:gd name="connsiteX4" fmla="*/ 228600 w 6138029"/>
              <a:gd name="connsiteY4" fmla="*/ 282389 h 2879902"/>
              <a:gd name="connsiteX0" fmla="*/ 228600 w 6138029"/>
              <a:gd name="connsiteY0" fmla="*/ 282389 h 3857600"/>
              <a:gd name="connsiteX1" fmla="*/ 5048817 w 6138029"/>
              <a:gd name="connsiteY1" fmla="*/ 0 h 3857600"/>
              <a:gd name="connsiteX2" fmla="*/ 6138029 w 6138029"/>
              <a:gd name="connsiteY2" fmla="*/ 1575537 h 3857600"/>
              <a:gd name="connsiteX3" fmla="*/ 3601689 w 6138029"/>
              <a:gd name="connsiteY3" fmla="*/ 3857600 h 3857600"/>
              <a:gd name="connsiteX4" fmla="*/ 0 w 6138029"/>
              <a:gd name="connsiteY4" fmla="*/ 2879902 h 3857600"/>
              <a:gd name="connsiteX5" fmla="*/ 228600 w 6138029"/>
              <a:gd name="connsiteY5" fmla="*/ 282389 h 3857600"/>
              <a:gd name="connsiteX0" fmla="*/ 228600 w 6138029"/>
              <a:gd name="connsiteY0" fmla="*/ 282389 h 3857600"/>
              <a:gd name="connsiteX1" fmla="*/ 5048817 w 6138029"/>
              <a:gd name="connsiteY1" fmla="*/ 0 h 3857600"/>
              <a:gd name="connsiteX2" fmla="*/ 6138029 w 6138029"/>
              <a:gd name="connsiteY2" fmla="*/ 1575537 h 3857600"/>
              <a:gd name="connsiteX3" fmla="*/ 3601689 w 6138029"/>
              <a:gd name="connsiteY3" fmla="*/ 3857600 h 3857600"/>
              <a:gd name="connsiteX4" fmla="*/ 0 w 6138029"/>
              <a:gd name="connsiteY4" fmla="*/ 2879902 h 3857600"/>
              <a:gd name="connsiteX5" fmla="*/ 228600 w 6138029"/>
              <a:gd name="connsiteY5" fmla="*/ 282389 h 3857600"/>
              <a:gd name="connsiteX0" fmla="*/ 228600 w 6138029"/>
              <a:gd name="connsiteY0" fmla="*/ 282389 h 3857600"/>
              <a:gd name="connsiteX1" fmla="*/ 5048817 w 6138029"/>
              <a:gd name="connsiteY1" fmla="*/ 0 h 3857600"/>
              <a:gd name="connsiteX2" fmla="*/ 6138029 w 6138029"/>
              <a:gd name="connsiteY2" fmla="*/ 1575537 h 3857600"/>
              <a:gd name="connsiteX3" fmla="*/ 3601689 w 6138029"/>
              <a:gd name="connsiteY3" fmla="*/ 3857600 h 3857600"/>
              <a:gd name="connsiteX4" fmla="*/ 0 w 6138029"/>
              <a:gd name="connsiteY4" fmla="*/ 2879902 h 3857600"/>
              <a:gd name="connsiteX5" fmla="*/ 228600 w 6138029"/>
              <a:gd name="connsiteY5" fmla="*/ 282389 h 3857600"/>
              <a:gd name="connsiteX0" fmla="*/ 228600 w 6017006"/>
              <a:gd name="connsiteY0" fmla="*/ 282389 h 3857600"/>
              <a:gd name="connsiteX1" fmla="*/ 5048817 w 6017006"/>
              <a:gd name="connsiteY1" fmla="*/ 0 h 3857600"/>
              <a:gd name="connsiteX2" fmla="*/ 6017006 w 6017006"/>
              <a:gd name="connsiteY2" fmla="*/ 1521749 h 3857600"/>
              <a:gd name="connsiteX3" fmla="*/ 3601689 w 6017006"/>
              <a:gd name="connsiteY3" fmla="*/ 3857600 h 3857600"/>
              <a:gd name="connsiteX4" fmla="*/ 0 w 6017006"/>
              <a:gd name="connsiteY4" fmla="*/ 2879902 h 3857600"/>
              <a:gd name="connsiteX5" fmla="*/ 228600 w 6017006"/>
              <a:gd name="connsiteY5" fmla="*/ 282389 h 3857600"/>
              <a:gd name="connsiteX0" fmla="*/ 228600 w 6070794"/>
              <a:gd name="connsiteY0" fmla="*/ 282389 h 3857600"/>
              <a:gd name="connsiteX1" fmla="*/ 5048817 w 6070794"/>
              <a:gd name="connsiteY1" fmla="*/ 0 h 3857600"/>
              <a:gd name="connsiteX2" fmla="*/ 6070794 w 6070794"/>
              <a:gd name="connsiteY2" fmla="*/ 1441067 h 3857600"/>
              <a:gd name="connsiteX3" fmla="*/ 3601689 w 6070794"/>
              <a:gd name="connsiteY3" fmla="*/ 3857600 h 3857600"/>
              <a:gd name="connsiteX4" fmla="*/ 0 w 6070794"/>
              <a:gd name="connsiteY4" fmla="*/ 2879902 h 3857600"/>
              <a:gd name="connsiteX5" fmla="*/ 228600 w 6070794"/>
              <a:gd name="connsiteY5" fmla="*/ 282389 h 3857600"/>
              <a:gd name="connsiteX0" fmla="*/ 228600 w 6070794"/>
              <a:gd name="connsiteY0" fmla="*/ 282389 h 3857600"/>
              <a:gd name="connsiteX1" fmla="*/ 5048817 w 6070794"/>
              <a:gd name="connsiteY1" fmla="*/ 0 h 3857600"/>
              <a:gd name="connsiteX2" fmla="*/ 6070794 w 6070794"/>
              <a:gd name="connsiteY2" fmla="*/ 1441067 h 3857600"/>
              <a:gd name="connsiteX3" fmla="*/ 3601689 w 6070794"/>
              <a:gd name="connsiteY3" fmla="*/ 3857600 h 3857600"/>
              <a:gd name="connsiteX4" fmla="*/ 0 w 6070794"/>
              <a:gd name="connsiteY4" fmla="*/ 2879902 h 3857600"/>
              <a:gd name="connsiteX5" fmla="*/ 228600 w 6070794"/>
              <a:gd name="connsiteY5" fmla="*/ 282389 h 3857600"/>
              <a:gd name="connsiteX0" fmla="*/ 228600 w 6070794"/>
              <a:gd name="connsiteY0" fmla="*/ 282389 h 3857600"/>
              <a:gd name="connsiteX1" fmla="*/ 5048817 w 6070794"/>
              <a:gd name="connsiteY1" fmla="*/ 0 h 3857600"/>
              <a:gd name="connsiteX2" fmla="*/ 6070794 w 6070794"/>
              <a:gd name="connsiteY2" fmla="*/ 1441067 h 3857600"/>
              <a:gd name="connsiteX3" fmla="*/ 3601689 w 6070794"/>
              <a:gd name="connsiteY3" fmla="*/ 3857600 h 3857600"/>
              <a:gd name="connsiteX4" fmla="*/ 0 w 6070794"/>
              <a:gd name="connsiteY4" fmla="*/ 2879902 h 3857600"/>
              <a:gd name="connsiteX5" fmla="*/ 228600 w 6070794"/>
              <a:gd name="connsiteY5" fmla="*/ 282389 h 3857600"/>
              <a:gd name="connsiteX0" fmla="*/ 215153 w 6057347"/>
              <a:gd name="connsiteY0" fmla="*/ 282389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215153 w 6057347"/>
              <a:gd name="connsiteY5" fmla="*/ 282389 h 3857600"/>
              <a:gd name="connsiteX0" fmla="*/ 215153 w 6057347"/>
              <a:gd name="connsiteY0" fmla="*/ 282389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215153 w 6057347"/>
              <a:gd name="connsiteY5" fmla="*/ 282389 h 3857600"/>
              <a:gd name="connsiteX0" fmla="*/ 215153 w 6057347"/>
              <a:gd name="connsiteY0" fmla="*/ 282389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215153 w 6057347"/>
              <a:gd name="connsiteY5" fmla="*/ 282389 h 3857600"/>
              <a:gd name="connsiteX0" fmla="*/ 389965 w 6057347"/>
              <a:gd name="connsiteY0" fmla="*/ 497542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389965 w 6057347"/>
              <a:gd name="connsiteY5" fmla="*/ 497542 h 3857600"/>
              <a:gd name="connsiteX0" fmla="*/ 255494 w 6057347"/>
              <a:gd name="connsiteY0" fmla="*/ 295836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255494 w 6057347"/>
              <a:gd name="connsiteY5" fmla="*/ 295836 h 3857600"/>
              <a:gd name="connsiteX0" fmla="*/ 255494 w 6057347"/>
              <a:gd name="connsiteY0" fmla="*/ 295836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255494 w 6057347"/>
              <a:gd name="connsiteY5" fmla="*/ 295836 h 3857600"/>
              <a:gd name="connsiteX0" fmla="*/ 252169 w 6057347"/>
              <a:gd name="connsiteY0" fmla="*/ 335737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252169 w 6057347"/>
              <a:gd name="connsiteY5" fmla="*/ 335737 h 3857600"/>
              <a:gd name="connsiteX0" fmla="*/ 252169 w 6057347"/>
              <a:gd name="connsiteY0" fmla="*/ 335737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252169 w 6057347"/>
              <a:gd name="connsiteY5" fmla="*/ 335737 h 3857600"/>
              <a:gd name="connsiteX0" fmla="*/ 235544 w 6057347"/>
              <a:gd name="connsiteY0" fmla="*/ 335737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235544 w 6057347"/>
              <a:gd name="connsiteY5" fmla="*/ 335737 h 3857600"/>
              <a:gd name="connsiteX0" fmla="*/ 235544 w 6057347"/>
              <a:gd name="connsiteY0" fmla="*/ 335737 h 3877551"/>
              <a:gd name="connsiteX1" fmla="*/ 5035370 w 6057347"/>
              <a:gd name="connsiteY1" fmla="*/ 0 h 3877551"/>
              <a:gd name="connsiteX2" fmla="*/ 6057347 w 6057347"/>
              <a:gd name="connsiteY2" fmla="*/ 1441067 h 3877551"/>
              <a:gd name="connsiteX3" fmla="*/ 3621492 w 6057347"/>
              <a:gd name="connsiteY3" fmla="*/ 3877551 h 3877551"/>
              <a:gd name="connsiteX4" fmla="*/ 0 w 6057347"/>
              <a:gd name="connsiteY4" fmla="*/ 2853008 h 3877551"/>
              <a:gd name="connsiteX5" fmla="*/ 235544 w 6057347"/>
              <a:gd name="connsiteY5" fmla="*/ 335737 h 3877551"/>
              <a:gd name="connsiteX0" fmla="*/ 235544 w 6047372"/>
              <a:gd name="connsiteY0" fmla="*/ 335737 h 3877551"/>
              <a:gd name="connsiteX1" fmla="*/ 5035370 w 6047372"/>
              <a:gd name="connsiteY1" fmla="*/ 0 h 3877551"/>
              <a:gd name="connsiteX2" fmla="*/ 6047372 w 6047372"/>
              <a:gd name="connsiteY2" fmla="*/ 1431092 h 3877551"/>
              <a:gd name="connsiteX3" fmla="*/ 3621492 w 6047372"/>
              <a:gd name="connsiteY3" fmla="*/ 3877551 h 3877551"/>
              <a:gd name="connsiteX4" fmla="*/ 0 w 6047372"/>
              <a:gd name="connsiteY4" fmla="*/ 2853008 h 3877551"/>
              <a:gd name="connsiteX5" fmla="*/ 235544 w 6047372"/>
              <a:gd name="connsiteY5" fmla="*/ 335737 h 3877551"/>
              <a:gd name="connsiteX0" fmla="*/ 235544 w 6047372"/>
              <a:gd name="connsiteY0" fmla="*/ 335737 h 3877551"/>
              <a:gd name="connsiteX1" fmla="*/ 5035370 w 6047372"/>
              <a:gd name="connsiteY1" fmla="*/ 0 h 3877551"/>
              <a:gd name="connsiteX2" fmla="*/ 6047372 w 6047372"/>
              <a:gd name="connsiteY2" fmla="*/ 1434417 h 3877551"/>
              <a:gd name="connsiteX3" fmla="*/ 3621492 w 6047372"/>
              <a:gd name="connsiteY3" fmla="*/ 3877551 h 3877551"/>
              <a:gd name="connsiteX4" fmla="*/ 0 w 6047372"/>
              <a:gd name="connsiteY4" fmla="*/ 2853008 h 3877551"/>
              <a:gd name="connsiteX5" fmla="*/ 235544 w 6047372"/>
              <a:gd name="connsiteY5" fmla="*/ 335737 h 3877551"/>
              <a:gd name="connsiteX0" fmla="*/ 235544 w 6047372"/>
              <a:gd name="connsiteY0" fmla="*/ 335737 h 3867576"/>
              <a:gd name="connsiteX1" fmla="*/ 5035370 w 6047372"/>
              <a:gd name="connsiteY1" fmla="*/ 0 h 3867576"/>
              <a:gd name="connsiteX2" fmla="*/ 6047372 w 6047372"/>
              <a:gd name="connsiteY2" fmla="*/ 1434417 h 3867576"/>
              <a:gd name="connsiteX3" fmla="*/ 3608192 w 6047372"/>
              <a:gd name="connsiteY3" fmla="*/ 3867576 h 3867576"/>
              <a:gd name="connsiteX4" fmla="*/ 0 w 6047372"/>
              <a:gd name="connsiteY4" fmla="*/ 2853008 h 3867576"/>
              <a:gd name="connsiteX5" fmla="*/ 235544 w 6047372"/>
              <a:gd name="connsiteY5" fmla="*/ 335737 h 3867576"/>
              <a:gd name="connsiteX0" fmla="*/ 235544 w 6047372"/>
              <a:gd name="connsiteY0" fmla="*/ 335737 h 3870901"/>
              <a:gd name="connsiteX1" fmla="*/ 5035370 w 6047372"/>
              <a:gd name="connsiteY1" fmla="*/ 0 h 3870901"/>
              <a:gd name="connsiteX2" fmla="*/ 6047372 w 6047372"/>
              <a:gd name="connsiteY2" fmla="*/ 1434417 h 3870901"/>
              <a:gd name="connsiteX3" fmla="*/ 3614842 w 6047372"/>
              <a:gd name="connsiteY3" fmla="*/ 3870901 h 3870901"/>
              <a:gd name="connsiteX4" fmla="*/ 0 w 6047372"/>
              <a:gd name="connsiteY4" fmla="*/ 2853008 h 3870901"/>
              <a:gd name="connsiteX5" fmla="*/ 235544 w 6047372"/>
              <a:gd name="connsiteY5" fmla="*/ 335737 h 3870901"/>
              <a:gd name="connsiteX0" fmla="*/ 235544 w 6047372"/>
              <a:gd name="connsiteY0" fmla="*/ 359013 h 3894177"/>
              <a:gd name="connsiteX1" fmla="*/ 5065296 w 6047372"/>
              <a:gd name="connsiteY1" fmla="*/ 0 h 3894177"/>
              <a:gd name="connsiteX2" fmla="*/ 6047372 w 6047372"/>
              <a:gd name="connsiteY2" fmla="*/ 1457693 h 3894177"/>
              <a:gd name="connsiteX3" fmla="*/ 3614842 w 6047372"/>
              <a:gd name="connsiteY3" fmla="*/ 3894177 h 3894177"/>
              <a:gd name="connsiteX4" fmla="*/ 0 w 6047372"/>
              <a:gd name="connsiteY4" fmla="*/ 2876284 h 3894177"/>
              <a:gd name="connsiteX5" fmla="*/ 235544 w 6047372"/>
              <a:gd name="connsiteY5" fmla="*/ 359013 h 3894177"/>
              <a:gd name="connsiteX0" fmla="*/ 251446 w 6047372"/>
              <a:gd name="connsiteY0" fmla="*/ 0 h 4054649"/>
              <a:gd name="connsiteX1" fmla="*/ 5065296 w 6047372"/>
              <a:gd name="connsiteY1" fmla="*/ 160472 h 4054649"/>
              <a:gd name="connsiteX2" fmla="*/ 6047372 w 6047372"/>
              <a:gd name="connsiteY2" fmla="*/ 1618165 h 4054649"/>
              <a:gd name="connsiteX3" fmla="*/ 3614842 w 6047372"/>
              <a:gd name="connsiteY3" fmla="*/ 4054649 h 4054649"/>
              <a:gd name="connsiteX4" fmla="*/ 0 w 6047372"/>
              <a:gd name="connsiteY4" fmla="*/ 3036756 h 4054649"/>
              <a:gd name="connsiteX5" fmla="*/ 251446 w 6047372"/>
              <a:gd name="connsiteY5" fmla="*/ 0 h 4054649"/>
              <a:gd name="connsiteX0" fmla="*/ 251446 w 6047372"/>
              <a:gd name="connsiteY0" fmla="*/ 0 h 4054649"/>
              <a:gd name="connsiteX1" fmla="*/ 5065296 w 6047372"/>
              <a:gd name="connsiteY1" fmla="*/ 160472 h 4054649"/>
              <a:gd name="connsiteX2" fmla="*/ 6047372 w 6047372"/>
              <a:gd name="connsiteY2" fmla="*/ 1618165 h 4054649"/>
              <a:gd name="connsiteX3" fmla="*/ 3614842 w 6047372"/>
              <a:gd name="connsiteY3" fmla="*/ 4054649 h 4054649"/>
              <a:gd name="connsiteX4" fmla="*/ 0 w 6047372"/>
              <a:gd name="connsiteY4" fmla="*/ 3450224 h 4054649"/>
              <a:gd name="connsiteX5" fmla="*/ 251446 w 6047372"/>
              <a:gd name="connsiteY5" fmla="*/ 0 h 4054649"/>
              <a:gd name="connsiteX0" fmla="*/ 251446 w 6047372"/>
              <a:gd name="connsiteY0" fmla="*/ 0 h 4054649"/>
              <a:gd name="connsiteX1" fmla="*/ 5065296 w 6047372"/>
              <a:gd name="connsiteY1" fmla="*/ 160472 h 4054649"/>
              <a:gd name="connsiteX2" fmla="*/ 6047372 w 6047372"/>
              <a:gd name="connsiteY2" fmla="*/ 1618165 h 4054649"/>
              <a:gd name="connsiteX3" fmla="*/ 3614842 w 6047372"/>
              <a:gd name="connsiteY3" fmla="*/ 4054649 h 4054649"/>
              <a:gd name="connsiteX4" fmla="*/ 0 w 6047372"/>
              <a:gd name="connsiteY4" fmla="*/ 3450224 h 4054649"/>
              <a:gd name="connsiteX5" fmla="*/ 251446 w 6047372"/>
              <a:gd name="connsiteY5" fmla="*/ 0 h 4054649"/>
              <a:gd name="connsiteX0" fmla="*/ 251446 w 6047372"/>
              <a:gd name="connsiteY0" fmla="*/ 0 h 4722558"/>
              <a:gd name="connsiteX1" fmla="*/ 5065296 w 6047372"/>
              <a:gd name="connsiteY1" fmla="*/ 160472 h 4722558"/>
              <a:gd name="connsiteX2" fmla="*/ 6047372 w 6047372"/>
              <a:gd name="connsiteY2" fmla="*/ 1618165 h 4722558"/>
              <a:gd name="connsiteX3" fmla="*/ 3614842 w 6047372"/>
              <a:gd name="connsiteY3" fmla="*/ 4722558 h 4722558"/>
              <a:gd name="connsiteX4" fmla="*/ 0 w 6047372"/>
              <a:gd name="connsiteY4" fmla="*/ 3450224 h 4722558"/>
              <a:gd name="connsiteX5" fmla="*/ 251446 w 6047372"/>
              <a:gd name="connsiteY5" fmla="*/ 0 h 4722558"/>
              <a:gd name="connsiteX0" fmla="*/ 251446 w 6063275"/>
              <a:gd name="connsiteY0" fmla="*/ 0 h 4722558"/>
              <a:gd name="connsiteX1" fmla="*/ 5065296 w 6063275"/>
              <a:gd name="connsiteY1" fmla="*/ 160472 h 4722558"/>
              <a:gd name="connsiteX2" fmla="*/ 6063275 w 6063275"/>
              <a:gd name="connsiteY2" fmla="*/ 1501546 h 4722558"/>
              <a:gd name="connsiteX3" fmla="*/ 3614842 w 6063275"/>
              <a:gd name="connsiteY3" fmla="*/ 4722558 h 4722558"/>
              <a:gd name="connsiteX4" fmla="*/ 0 w 6063275"/>
              <a:gd name="connsiteY4" fmla="*/ 3450224 h 4722558"/>
              <a:gd name="connsiteX5" fmla="*/ 251446 w 6063275"/>
              <a:gd name="connsiteY5" fmla="*/ 0 h 4722558"/>
              <a:gd name="connsiteX0" fmla="*/ 251446 w 6063275"/>
              <a:gd name="connsiteY0" fmla="*/ 0 h 4722558"/>
              <a:gd name="connsiteX1" fmla="*/ 5065296 w 6063275"/>
              <a:gd name="connsiteY1" fmla="*/ 160472 h 4722558"/>
              <a:gd name="connsiteX2" fmla="*/ 6063275 w 6063275"/>
              <a:gd name="connsiteY2" fmla="*/ 1501546 h 4722558"/>
              <a:gd name="connsiteX3" fmla="*/ 3614842 w 6063275"/>
              <a:gd name="connsiteY3" fmla="*/ 4722558 h 4722558"/>
              <a:gd name="connsiteX4" fmla="*/ 0 w 6063275"/>
              <a:gd name="connsiteY4" fmla="*/ 3450224 h 4722558"/>
              <a:gd name="connsiteX5" fmla="*/ 251446 w 6063275"/>
              <a:gd name="connsiteY5" fmla="*/ 0 h 4722558"/>
              <a:gd name="connsiteX0" fmla="*/ 251446 w 6031470"/>
              <a:gd name="connsiteY0" fmla="*/ 0 h 4722558"/>
              <a:gd name="connsiteX1" fmla="*/ 5065296 w 6031470"/>
              <a:gd name="connsiteY1" fmla="*/ 160472 h 4722558"/>
              <a:gd name="connsiteX2" fmla="*/ 6031470 w 6031470"/>
              <a:gd name="connsiteY2" fmla="*/ 1459140 h 4722558"/>
              <a:gd name="connsiteX3" fmla="*/ 3614842 w 6031470"/>
              <a:gd name="connsiteY3" fmla="*/ 4722558 h 4722558"/>
              <a:gd name="connsiteX4" fmla="*/ 0 w 6031470"/>
              <a:gd name="connsiteY4" fmla="*/ 3450224 h 4722558"/>
              <a:gd name="connsiteX5" fmla="*/ 251446 w 6031470"/>
              <a:gd name="connsiteY5" fmla="*/ 0 h 4722558"/>
              <a:gd name="connsiteX0" fmla="*/ 251446 w 6031470"/>
              <a:gd name="connsiteY0" fmla="*/ 454429 h 5176987"/>
              <a:gd name="connsiteX1" fmla="*/ 5073247 w 6031470"/>
              <a:gd name="connsiteY1" fmla="*/ 0 h 5176987"/>
              <a:gd name="connsiteX2" fmla="*/ 6031470 w 6031470"/>
              <a:gd name="connsiteY2" fmla="*/ 1913569 h 5176987"/>
              <a:gd name="connsiteX3" fmla="*/ 3614842 w 6031470"/>
              <a:gd name="connsiteY3" fmla="*/ 5176987 h 5176987"/>
              <a:gd name="connsiteX4" fmla="*/ 0 w 6031470"/>
              <a:gd name="connsiteY4" fmla="*/ 3904653 h 5176987"/>
              <a:gd name="connsiteX5" fmla="*/ 251446 w 6031470"/>
              <a:gd name="connsiteY5" fmla="*/ 454429 h 5176987"/>
              <a:gd name="connsiteX0" fmla="*/ 251446 w 6031470"/>
              <a:gd name="connsiteY0" fmla="*/ 454429 h 5176987"/>
              <a:gd name="connsiteX1" fmla="*/ 5073247 w 6031470"/>
              <a:gd name="connsiteY1" fmla="*/ 0 h 5176987"/>
              <a:gd name="connsiteX2" fmla="*/ 6031470 w 6031470"/>
              <a:gd name="connsiteY2" fmla="*/ 1913569 h 5176987"/>
              <a:gd name="connsiteX3" fmla="*/ 3614842 w 6031470"/>
              <a:gd name="connsiteY3" fmla="*/ 5176987 h 5176987"/>
              <a:gd name="connsiteX4" fmla="*/ 0 w 6031470"/>
              <a:gd name="connsiteY4" fmla="*/ 3904653 h 5176987"/>
              <a:gd name="connsiteX5" fmla="*/ 251446 w 6031470"/>
              <a:gd name="connsiteY5" fmla="*/ 454429 h 5176987"/>
              <a:gd name="connsiteX0" fmla="*/ 251446 w 6055324"/>
              <a:gd name="connsiteY0" fmla="*/ 454429 h 5176987"/>
              <a:gd name="connsiteX1" fmla="*/ 5073247 w 6055324"/>
              <a:gd name="connsiteY1" fmla="*/ 0 h 5176987"/>
              <a:gd name="connsiteX2" fmla="*/ 6055324 w 6055324"/>
              <a:gd name="connsiteY2" fmla="*/ 1924170 h 5176987"/>
              <a:gd name="connsiteX3" fmla="*/ 3614842 w 6055324"/>
              <a:gd name="connsiteY3" fmla="*/ 5176987 h 5176987"/>
              <a:gd name="connsiteX4" fmla="*/ 0 w 6055324"/>
              <a:gd name="connsiteY4" fmla="*/ 3904653 h 5176987"/>
              <a:gd name="connsiteX5" fmla="*/ 251446 w 6055324"/>
              <a:gd name="connsiteY5" fmla="*/ 454429 h 5176987"/>
              <a:gd name="connsiteX0" fmla="*/ 251446 w 6055324"/>
              <a:gd name="connsiteY0" fmla="*/ 454429 h 5176987"/>
              <a:gd name="connsiteX1" fmla="*/ 5073247 w 6055324"/>
              <a:gd name="connsiteY1" fmla="*/ 0 h 5176987"/>
              <a:gd name="connsiteX2" fmla="*/ 6055324 w 6055324"/>
              <a:gd name="connsiteY2" fmla="*/ 1924170 h 5176987"/>
              <a:gd name="connsiteX3" fmla="*/ 3614842 w 6055324"/>
              <a:gd name="connsiteY3" fmla="*/ 5176987 h 5176987"/>
              <a:gd name="connsiteX4" fmla="*/ 0 w 6055324"/>
              <a:gd name="connsiteY4" fmla="*/ 3904653 h 5176987"/>
              <a:gd name="connsiteX5" fmla="*/ 251446 w 6055324"/>
              <a:gd name="connsiteY5" fmla="*/ 454429 h 5176987"/>
              <a:gd name="connsiteX0" fmla="*/ 251446 w 6055324"/>
              <a:gd name="connsiteY0" fmla="*/ 454429 h 5176987"/>
              <a:gd name="connsiteX1" fmla="*/ 5073247 w 6055324"/>
              <a:gd name="connsiteY1" fmla="*/ 0 h 5176987"/>
              <a:gd name="connsiteX2" fmla="*/ 6055324 w 6055324"/>
              <a:gd name="connsiteY2" fmla="*/ 1924170 h 5176987"/>
              <a:gd name="connsiteX3" fmla="*/ 3614842 w 6055324"/>
              <a:gd name="connsiteY3" fmla="*/ 5176987 h 5176987"/>
              <a:gd name="connsiteX4" fmla="*/ 0 w 6055324"/>
              <a:gd name="connsiteY4" fmla="*/ 3904653 h 5176987"/>
              <a:gd name="connsiteX5" fmla="*/ 251446 w 6055324"/>
              <a:gd name="connsiteY5" fmla="*/ 454429 h 5176987"/>
              <a:gd name="connsiteX0" fmla="*/ 235544 w 6039422"/>
              <a:gd name="connsiteY0" fmla="*/ 454429 h 5176987"/>
              <a:gd name="connsiteX1" fmla="*/ 5057345 w 6039422"/>
              <a:gd name="connsiteY1" fmla="*/ 0 h 5176987"/>
              <a:gd name="connsiteX2" fmla="*/ 6039422 w 6039422"/>
              <a:gd name="connsiteY2" fmla="*/ 1924170 h 5176987"/>
              <a:gd name="connsiteX3" fmla="*/ 3598940 w 6039422"/>
              <a:gd name="connsiteY3" fmla="*/ 5176987 h 5176987"/>
              <a:gd name="connsiteX4" fmla="*/ 0 w 6039422"/>
              <a:gd name="connsiteY4" fmla="*/ 3862246 h 5176987"/>
              <a:gd name="connsiteX5" fmla="*/ 235544 w 6039422"/>
              <a:gd name="connsiteY5" fmla="*/ 454429 h 5176987"/>
              <a:gd name="connsiteX0" fmla="*/ 235544 w 6015568"/>
              <a:gd name="connsiteY0" fmla="*/ 454429 h 5176987"/>
              <a:gd name="connsiteX1" fmla="*/ 5057345 w 6015568"/>
              <a:gd name="connsiteY1" fmla="*/ 0 h 5176987"/>
              <a:gd name="connsiteX2" fmla="*/ 6015568 w 6015568"/>
              <a:gd name="connsiteY2" fmla="*/ 1934773 h 5176987"/>
              <a:gd name="connsiteX3" fmla="*/ 3598940 w 6015568"/>
              <a:gd name="connsiteY3" fmla="*/ 5176987 h 5176987"/>
              <a:gd name="connsiteX4" fmla="*/ 0 w 6015568"/>
              <a:gd name="connsiteY4" fmla="*/ 3862246 h 5176987"/>
              <a:gd name="connsiteX5" fmla="*/ 235544 w 6015568"/>
              <a:gd name="connsiteY5" fmla="*/ 454429 h 5176987"/>
              <a:gd name="connsiteX0" fmla="*/ 235544 w 6015568"/>
              <a:gd name="connsiteY0" fmla="*/ 454429 h 5176987"/>
              <a:gd name="connsiteX1" fmla="*/ 5057345 w 6015568"/>
              <a:gd name="connsiteY1" fmla="*/ 0 h 5176987"/>
              <a:gd name="connsiteX2" fmla="*/ 6015568 w 6015568"/>
              <a:gd name="connsiteY2" fmla="*/ 1955976 h 5176987"/>
              <a:gd name="connsiteX3" fmla="*/ 3598940 w 6015568"/>
              <a:gd name="connsiteY3" fmla="*/ 5176987 h 5176987"/>
              <a:gd name="connsiteX4" fmla="*/ 0 w 6015568"/>
              <a:gd name="connsiteY4" fmla="*/ 3862246 h 5176987"/>
              <a:gd name="connsiteX5" fmla="*/ 235544 w 6015568"/>
              <a:gd name="connsiteY5" fmla="*/ 454429 h 5176987"/>
              <a:gd name="connsiteX0" fmla="*/ 235544 w 6031471"/>
              <a:gd name="connsiteY0" fmla="*/ 454429 h 5176987"/>
              <a:gd name="connsiteX1" fmla="*/ 5057345 w 6031471"/>
              <a:gd name="connsiteY1" fmla="*/ 0 h 5176987"/>
              <a:gd name="connsiteX2" fmla="*/ 6031471 w 6031471"/>
              <a:gd name="connsiteY2" fmla="*/ 1966577 h 5176987"/>
              <a:gd name="connsiteX3" fmla="*/ 3598940 w 6031471"/>
              <a:gd name="connsiteY3" fmla="*/ 5176987 h 5176987"/>
              <a:gd name="connsiteX4" fmla="*/ 0 w 6031471"/>
              <a:gd name="connsiteY4" fmla="*/ 3862246 h 5176987"/>
              <a:gd name="connsiteX5" fmla="*/ 235544 w 6031471"/>
              <a:gd name="connsiteY5" fmla="*/ 454429 h 5176987"/>
              <a:gd name="connsiteX0" fmla="*/ 235544 w 6031471"/>
              <a:gd name="connsiteY0" fmla="*/ 454429 h 5176987"/>
              <a:gd name="connsiteX1" fmla="*/ 5057345 w 6031471"/>
              <a:gd name="connsiteY1" fmla="*/ 0 h 5176987"/>
              <a:gd name="connsiteX2" fmla="*/ 6031471 w 6031471"/>
              <a:gd name="connsiteY2" fmla="*/ 1966577 h 5176987"/>
              <a:gd name="connsiteX3" fmla="*/ 3598940 w 6031471"/>
              <a:gd name="connsiteY3" fmla="*/ 5176987 h 5176987"/>
              <a:gd name="connsiteX4" fmla="*/ 0 w 6031471"/>
              <a:gd name="connsiteY4" fmla="*/ 3862246 h 5176987"/>
              <a:gd name="connsiteX5" fmla="*/ 235544 w 6031471"/>
              <a:gd name="connsiteY5" fmla="*/ 454429 h 5176987"/>
              <a:gd name="connsiteX0" fmla="*/ 252170 w 6048097"/>
              <a:gd name="connsiteY0" fmla="*/ 454429 h 5176987"/>
              <a:gd name="connsiteX1" fmla="*/ 5073971 w 6048097"/>
              <a:gd name="connsiteY1" fmla="*/ 0 h 5176987"/>
              <a:gd name="connsiteX2" fmla="*/ 6048097 w 6048097"/>
              <a:gd name="connsiteY2" fmla="*/ 1966577 h 5176987"/>
              <a:gd name="connsiteX3" fmla="*/ 3615566 w 6048097"/>
              <a:gd name="connsiteY3" fmla="*/ 5176987 h 5176987"/>
              <a:gd name="connsiteX4" fmla="*/ 0 w 6048097"/>
              <a:gd name="connsiteY4" fmla="*/ 3913970 h 5176987"/>
              <a:gd name="connsiteX5" fmla="*/ 252170 w 6048097"/>
              <a:gd name="connsiteY5" fmla="*/ 454429 h 5176987"/>
              <a:gd name="connsiteX0" fmla="*/ 252170 w 6048097"/>
              <a:gd name="connsiteY0" fmla="*/ 454429 h 5176987"/>
              <a:gd name="connsiteX1" fmla="*/ 5073971 w 6048097"/>
              <a:gd name="connsiteY1" fmla="*/ 0 h 5176987"/>
              <a:gd name="connsiteX2" fmla="*/ 6048097 w 6048097"/>
              <a:gd name="connsiteY2" fmla="*/ 1966577 h 5176987"/>
              <a:gd name="connsiteX3" fmla="*/ 3615566 w 6048097"/>
              <a:gd name="connsiteY3" fmla="*/ 5176987 h 5176987"/>
              <a:gd name="connsiteX4" fmla="*/ 0 w 6048097"/>
              <a:gd name="connsiteY4" fmla="*/ 3913970 h 5176987"/>
              <a:gd name="connsiteX5" fmla="*/ 252170 w 6048097"/>
              <a:gd name="connsiteY5" fmla="*/ 454429 h 5176987"/>
              <a:gd name="connsiteX0" fmla="*/ 252170 w 6048097"/>
              <a:gd name="connsiteY0" fmla="*/ 454429 h 5176987"/>
              <a:gd name="connsiteX1" fmla="*/ 5073971 w 6048097"/>
              <a:gd name="connsiteY1" fmla="*/ 0 h 5176987"/>
              <a:gd name="connsiteX2" fmla="*/ 6048097 w 6048097"/>
              <a:gd name="connsiteY2" fmla="*/ 1966577 h 5176987"/>
              <a:gd name="connsiteX3" fmla="*/ 3615566 w 6048097"/>
              <a:gd name="connsiteY3" fmla="*/ 5176987 h 5176987"/>
              <a:gd name="connsiteX4" fmla="*/ 0 w 6048097"/>
              <a:gd name="connsiteY4" fmla="*/ 3913970 h 5176987"/>
              <a:gd name="connsiteX5" fmla="*/ 252170 w 6048097"/>
              <a:gd name="connsiteY5" fmla="*/ 454429 h 5176987"/>
              <a:gd name="connsiteX0" fmla="*/ 252170 w 6048097"/>
              <a:gd name="connsiteY0" fmla="*/ 454429 h 5176987"/>
              <a:gd name="connsiteX1" fmla="*/ 5073971 w 6048097"/>
              <a:gd name="connsiteY1" fmla="*/ 0 h 5176987"/>
              <a:gd name="connsiteX2" fmla="*/ 6048097 w 6048097"/>
              <a:gd name="connsiteY2" fmla="*/ 1966577 h 5176987"/>
              <a:gd name="connsiteX3" fmla="*/ 3615566 w 6048097"/>
              <a:gd name="connsiteY3" fmla="*/ 5176987 h 5176987"/>
              <a:gd name="connsiteX4" fmla="*/ 0 w 6048097"/>
              <a:gd name="connsiteY4" fmla="*/ 3913970 h 5176987"/>
              <a:gd name="connsiteX5" fmla="*/ 252170 w 6048097"/>
              <a:gd name="connsiteY5" fmla="*/ 454429 h 5176987"/>
              <a:gd name="connsiteX0" fmla="*/ 167110 w 5963037"/>
              <a:gd name="connsiteY0" fmla="*/ 454429 h 5176987"/>
              <a:gd name="connsiteX1" fmla="*/ 4988911 w 5963037"/>
              <a:gd name="connsiteY1" fmla="*/ 0 h 5176987"/>
              <a:gd name="connsiteX2" fmla="*/ 5963037 w 5963037"/>
              <a:gd name="connsiteY2" fmla="*/ 1966577 h 5176987"/>
              <a:gd name="connsiteX3" fmla="*/ 3530506 w 5963037"/>
              <a:gd name="connsiteY3" fmla="*/ 5176987 h 5176987"/>
              <a:gd name="connsiteX4" fmla="*/ 0 w 5963037"/>
              <a:gd name="connsiteY4" fmla="*/ 3758026 h 5176987"/>
              <a:gd name="connsiteX5" fmla="*/ 167110 w 5963037"/>
              <a:gd name="connsiteY5" fmla="*/ 454429 h 5176987"/>
              <a:gd name="connsiteX0" fmla="*/ 241538 w 6037465"/>
              <a:gd name="connsiteY0" fmla="*/ 454429 h 5176987"/>
              <a:gd name="connsiteX1" fmla="*/ 5063339 w 6037465"/>
              <a:gd name="connsiteY1" fmla="*/ 0 h 5176987"/>
              <a:gd name="connsiteX2" fmla="*/ 6037465 w 6037465"/>
              <a:gd name="connsiteY2" fmla="*/ 1966577 h 5176987"/>
              <a:gd name="connsiteX3" fmla="*/ 3604934 w 6037465"/>
              <a:gd name="connsiteY3" fmla="*/ 5176987 h 5176987"/>
              <a:gd name="connsiteX4" fmla="*/ 0 w 6037465"/>
              <a:gd name="connsiteY4" fmla="*/ 3885617 h 5176987"/>
              <a:gd name="connsiteX5" fmla="*/ 241538 w 6037465"/>
              <a:gd name="connsiteY5" fmla="*/ 454429 h 5176987"/>
              <a:gd name="connsiteX0" fmla="*/ 241538 w 6037465"/>
              <a:gd name="connsiteY0" fmla="*/ 454429 h 4907628"/>
              <a:gd name="connsiteX1" fmla="*/ 5063339 w 6037465"/>
              <a:gd name="connsiteY1" fmla="*/ 0 h 4907628"/>
              <a:gd name="connsiteX2" fmla="*/ 6037465 w 6037465"/>
              <a:gd name="connsiteY2" fmla="*/ 1966577 h 4907628"/>
              <a:gd name="connsiteX3" fmla="*/ 3466711 w 6037465"/>
              <a:gd name="connsiteY3" fmla="*/ 4907628 h 4907628"/>
              <a:gd name="connsiteX4" fmla="*/ 0 w 6037465"/>
              <a:gd name="connsiteY4" fmla="*/ 3885617 h 4907628"/>
              <a:gd name="connsiteX5" fmla="*/ 241538 w 6037465"/>
              <a:gd name="connsiteY5" fmla="*/ 454429 h 4907628"/>
              <a:gd name="connsiteX0" fmla="*/ 241538 w 6037465"/>
              <a:gd name="connsiteY0" fmla="*/ 454429 h 5247869"/>
              <a:gd name="connsiteX1" fmla="*/ 5063339 w 6037465"/>
              <a:gd name="connsiteY1" fmla="*/ 0 h 5247869"/>
              <a:gd name="connsiteX2" fmla="*/ 6037465 w 6037465"/>
              <a:gd name="connsiteY2" fmla="*/ 1966577 h 5247869"/>
              <a:gd name="connsiteX3" fmla="*/ 3604934 w 6037465"/>
              <a:gd name="connsiteY3" fmla="*/ 5247869 h 5247869"/>
              <a:gd name="connsiteX4" fmla="*/ 0 w 6037465"/>
              <a:gd name="connsiteY4" fmla="*/ 3885617 h 5247869"/>
              <a:gd name="connsiteX5" fmla="*/ 241538 w 6037465"/>
              <a:gd name="connsiteY5" fmla="*/ 454429 h 5247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37465" h="5247869">
                <a:moveTo>
                  <a:pt x="241538" y="454429"/>
                </a:moveTo>
                <a:lnTo>
                  <a:pt x="5063339" y="0"/>
                </a:lnTo>
                <a:lnTo>
                  <a:pt x="6037465" y="1966577"/>
                </a:lnTo>
                <a:lnTo>
                  <a:pt x="3604934" y="5247869"/>
                </a:lnTo>
                <a:lnTo>
                  <a:pt x="0" y="3885617"/>
                </a:lnTo>
                <a:cubicBezTo>
                  <a:pt x="64395" y="2945397"/>
                  <a:pt x="170927" y="1474518"/>
                  <a:pt x="241538" y="454429"/>
                </a:cubicBezTo>
                <a:close/>
              </a:path>
            </a:pathLst>
          </a:custGeom>
          <a:ln w="19050">
            <a:solidFill>
              <a:schemeClr val="bg1"/>
            </a:solidFill>
          </a:ln>
        </p:spPr>
        <p:txBody>
          <a:bodyPr wrap="square" lIns="432000" tIns="1044000" rIns="792000" bIns="72000"/>
          <a:lstStyle>
            <a:lvl1pPr algn="ctr">
              <a:lnSpc>
                <a:spcPts val="3733"/>
              </a:lnSpc>
              <a:defRPr sz="3200" cap="all" baseline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68F66BB7-3A5C-4443-ABA2-99B015F73338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0977" y="4579922"/>
            <a:ext cx="1689596" cy="913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6090909"/>
      </p:ext>
    </p:extLst>
  </p:cSld>
  <p:clrMapOvr>
    <a:masterClrMapping/>
  </p:clrMapOvr>
  <p:hf hdr="0" ftr="0" dt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1916112"/>
            <a:ext cx="5653087" cy="1177284"/>
          </a:xfrm>
        </p:spPr>
        <p:txBody>
          <a:bodyPr anchor="b"/>
          <a:lstStyle>
            <a:lvl1pPr>
              <a:defRPr sz="22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2886074" y="2728309"/>
            <a:ext cx="9305925" cy="4129691"/>
            <a:chOff x="2579646" y="2248344"/>
            <a:chExt cx="6564354" cy="2913064"/>
          </a:xfrm>
        </p:grpSpPr>
        <p:sp>
          <p:nvSpPr>
            <p:cNvPr id="15" name="Freeform 14"/>
            <p:cNvSpPr>
              <a:spLocks/>
            </p:cNvSpPr>
            <p:nvPr userDrawn="1"/>
          </p:nvSpPr>
          <p:spPr bwMode="auto">
            <a:xfrm>
              <a:off x="2579646" y="2248344"/>
              <a:ext cx="6564354" cy="2913063"/>
            </a:xfrm>
            <a:custGeom>
              <a:avLst/>
              <a:gdLst>
                <a:gd name="connsiteX0" fmla="*/ 6564354 w 6564354"/>
                <a:gd name="connsiteY0" fmla="*/ 0 h 2913063"/>
                <a:gd name="connsiteX1" fmla="*/ 6564354 w 6564354"/>
                <a:gd name="connsiteY1" fmla="*/ 1240190 h 2913063"/>
                <a:gd name="connsiteX2" fmla="*/ 662256 w 6564354"/>
                <a:gd name="connsiteY2" fmla="*/ 2882854 h 2913063"/>
                <a:gd name="connsiteX3" fmla="*/ 589330 w 6564354"/>
                <a:gd name="connsiteY3" fmla="*/ 2913063 h 2913063"/>
                <a:gd name="connsiteX4" fmla="*/ 0 w 6564354"/>
                <a:gd name="connsiteY4" fmla="*/ 2913063 h 2913063"/>
                <a:gd name="connsiteX5" fmla="*/ 323355 w 6564354"/>
                <a:gd name="connsiteY5" fmla="*/ 2720335 h 2913063"/>
                <a:gd name="connsiteX6" fmla="*/ 6564354 w 6564354"/>
                <a:gd name="connsiteY6" fmla="*/ 0 h 2913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564354" h="2913063">
                  <a:moveTo>
                    <a:pt x="6564354" y="0"/>
                  </a:moveTo>
                  <a:lnTo>
                    <a:pt x="6564354" y="1240190"/>
                  </a:lnTo>
                  <a:cubicBezTo>
                    <a:pt x="3910384" y="1646031"/>
                    <a:pt x="2731793" y="2031305"/>
                    <a:pt x="662256" y="2882854"/>
                  </a:cubicBezTo>
                  <a:lnTo>
                    <a:pt x="589330" y="2913063"/>
                  </a:lnTo>
                  <a:lnTo>
                    <a:pt x="0" y="2913063"/>
                  </a:lnTo>
                  <a:lnTo>
                    <a:pt x="323355" y="2720335"/>
                  </a:lnTo>
                  <a:cubicBezTo>
                    <a:pt x="3116317" y="1062246"/>
                    <a:pt x="4436791" y="394872"/>
                    <a:pt x="6564354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dirty="0"/>
            </a:p>
          </p:txBody>
        </p:sp>
        <p:sp>
          <p:nvSpPr>
            <p:cNvPr id="13" name="Freeform 16"/>
            <p:cNvSpPr>
              <a:spLocks/>
            </p:cNvSpPr>
            <p:nvPr userDrawn="1"/>
          </p:nvSpPr>
          <p:spPr bwMode="auto">
            <a:xfrm>
              <a:off x="3857625" y="3488182"/>
              <a:ext cx="5286375" cy="1673225"/>
            </a:xfrm>
            <a:custGeom>
              <a:avLst/>
              <a:gdLst>
                <a:gd name="T0" fmla="*/ 0 w 904"/>
                <a:gd name="T1" fmla="*/ 284 h 286"/>
                <a:gd name="T2" fmla="*/ 904 w 904"/>
                <a:gd name="T3" fmla="*/ 0 h 286"/>
                <a:gd name="T4" fmla="*/ 904 w 904"/>
                <a:gd name="T5" fmla="*/ 7 h 286"/>
                <a:gd name="T6" fmla="*/ 319 w 904"/>
                <a:gd name="T7" fmla="*/ 286 h 286"/>
                <a:gd name="T8" fmla="*/ 0 w 904"/>
                <a:gd name="T9" fmla="*/ 284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4" h="286">
                  <a:moveTo>
                    <a:pt x="0" y="284"/>
                  </a:moveTo>
                  <a:cubicBezTo>
                    <a:pt x="281" y="153"/>
                    <a:pt x="584" y="57"/>
                    <a:pt x="904" y="0"/>
                  </a:cubicBezTo>
                  <a:cubicBezTo>
                    <a:pt x="904" y="13"/>
                    <a:pt x="904" y="4"/>
                    <a:pt x="904" y="7"/>
                  </a:cubicBezTo>
                  <a:cubicBezTo>
                    <a:pt x="677" y="89"/>
                    <a:pt x="516" y="169"/>
                    <a:pt x="319" y="286"/>
                  </a:cubicBezTo>
                  <a:cubicBezTo>
                    <a:pt x="232" y="286"/>
                    <a:pt x="86" y="286"/>
                    <a:pt x="0" y="284"/>
                  </a:cubicBezTo>
                </a:path>
              </a:pathLst>
            </a:custGeom>
            <a:solidFill>
              <a:schemeClr val="accent2">
                <a:alpha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4" name="Freeform 13"/>
            <p:cNvSpPr>
              <a:spLocks/>
            </p:cNvSpPr>
            <p:nvPr userDrawn="1"/>
          </p:nvSpPr>
          <p:spPr bwMode="auto">
            <a:xfrm>
              <a:off x="3657601" y="4377183"/>
              <a:ext cx="4085453" cy="784225"/>
            </a:xfrm>
            <a:custGeom>
              <a:avLst/>
              <a:gdLst>
                <a:gd name="connsiteX0" fmla="*/ 1543994 w 4085453"/>
                <a:gd name="connsiteY0" fmla="*/ 0 h 784225"/>
                <a:gd name="connsiteX1" fmla="*/ 4083688 w 4085453"/>
                <a:gd name="connsiteY1" fmla="*/ 783468 h 784225"/>
                <a:gd name="connsiteX2" fmla="*/ 4085453 w 4085453"/>
                <a:gd name="connsiteY2" fmla="*/ 784225 h 784225"/>
                <a:gd name="connsiteX3" fmla="*/ 2975528 w 4085453"/>
                <a:gd name="connsiteY3" fmla="*/ 784225 h 784225"/>
                <a:gd name="connsiteX4" fmla="*/ 2752683 w 4085453"/>
                <a:gd name="connsiteY4" fmla="*/ 732482 h 784225"/>
                <a:gd name="connsiteX5" fmla="*/ 0 w 4085453"/>
                <a:gd name="connsiteY5" fmla="*/ 579981 h 784225"/>
                <a:gd name="connsiteX6" fmla="*/ 1543994 w 4085453"/>
                <a:gd name="connsiteY6" fmla="*/ 0 h 784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5453" h="784225">
                  <a:moveTo>
                    <a:pt x="1543994" y="0"/>
                  </a:moveTo>
                  <a:cubicBezTo>
                    <a:pt x="2377399" y="92270"/>
                    <a:pt x="3549650" y="556913"/>
                    <a:pt x="4083688" y="783468"/>
                  </a:cubicBezTo>
                  <a:lnTo>
                    <a:pt x="4085453" y="784225"/>
                  </a:lnTo>
                  <a:lnTo>
                    <a:pt x="2975528" y="784225"/>
                  </a:lnTo>
                  <a:lnTo>
                    <a:pt x="2752683" y="732482"/>
                  </a:lnTo>
                  <a:cubicBezTo>
                    <a:pt x="1186598" y="400568"/>
                    <a:pt x="0" y="579981"/>
                    <a:pt x="0" y="579981"/>
                  </a:cubicBezTo>
                  <a:cubicBezTo>
                    <a:pt x="614089" y="322212"/>
                    <a:pt x="1543994" y="0"/>
                    <a:pt x="1543994" y="0"/>
                  </a:cubicBezTo>
                  <a:close/>
                </a:path>
              </a:pathLst>
            </a:custGeom>
            <a:solidFill>
              <a:schemeClr val="bg2">
                <a:alpha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dirty="0"/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42913" y="3093396"/>
            <a:ext cx="5653087" cy="1557980"/>
          </a:xfrm>
        </p:spPr>
        <p:txBody>
          <a:bodyPr lIns="0" tIns="0" rIns="0" bIns="0">
            <a:noAutofit/>
          </a:bodyPr>
          <a:lstStyle>
            <a:lvl1pPr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61771438"/>
      </p:ext>
    </p:extLst>
  </p:cSld>
  <p:clrMapOvr>
    <a:masterClrMapping/>
  </p:clrMapOvr>
  <p:hf hdr="0" ftr="0" dt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763763"/>
            <a:ext cx="10363200" cy="1470025"/>
          </a:xfrm>
        </p:spPr>
        <p:txBody>
          <a:bodyPr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60632546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442913" y="439573"/>
            <a:ext cx="11306175" cy="901866"/>
          </a:xfrm>
        </p:spPr>
        <p:txBody>
          <a:bodyPr/>
          <a:lstStyle>
            <a:lvl1pPr>
              <a:defRPr sz="1800" cap="none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42913" y="1341439"/>
            <a:ext cx="11306175" cy="45831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948940" y="6000750"/>
            <a:ext cx="7490335" cy="727098"/>
          </a:xfrm>
        </p:spPr>
        <p:txBody>
          <a:bodyPr anchor="b" anchorCtr="0"/>
          <a:lstStyle>
            <a:lvl1pPr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insert references…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912337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45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6"/>
          <p:cNvSpPr>
            <a:spLocks noChangeArrowheads="1"/>
          </p:cNvSpPr>
          <p:nvPr userDrawn="1"/>
        </p:nvSpPr>
        <p:spPr bwMode="auto">
          <a:xfrm>
            <a:off x="0" y="-9525"/>
            <a:ext cx="12201525" cy="686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4504531" y="1462076"/>
            <a:ext cx="3173411" cy="1141425"/>
            <a:chOff x="4214813" y="817826"/>
            <a:chExt cx="4143637" cy="1490400"/>
          </a:xfrm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grpSpPr>
        <p:sp>
          <p:nvSpPr>
            <p:cNvPr id="27" name="Freeform 9"/>
            <p:cNvSpPr>
              <a:spLocks/>
            </p:cNvSpPr>
            <p:nvPr userDrawn="1"/>
          </p:nvSpPr>
          <p:spPr bwMode="auto">
            <a:xfrm>
              <a:off x="5597525" y="817826"/>
              <a:ext cx="2058987" cy="695326"/>
            </a:xfrm>
            <a:custGeom>
              <a:avLst/>
              <a:gdLst>
                <a:gd name="T0" fmla="*/ 216 w 216"/>
                <a:gd name="T1" fmla="*/ 70 h 73"/>
                <a:gd name="T2" fmla="*/ 0 w 216"/>
                <a:gd name="T3" fmla="*/ 0 h 73"/>
                <a:gd name="T4" fmla="*/ 4 w 216"/>
                <a:gd name="T5" fmla="*/ 2 h 73"/>
                <a:gd name="T6" fmla="*/ 155 w 216"/>
                <a:gd name="T7" fmla="*/ 73 h 73"/>
                <a:gd name="T8" fmla="*/ 216 w 216"/>
                <a:gd name="T9" fmla="*/ 7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6" h="73">
                  <a:moveTo>
                    <a:pt x="216" y="70"/>
                  </a:moveTo>
                  <a:cubicBezTo>
                    <a:pt x="149" y="39"/>
                    <a:pt x="77" y="15"/>
                    <a:pt x="0" y="0"/>
                  </a:cubicBezTo>
                  <a:cubicBezTo>
                    <a:pt x="2" y="0"/>
                    <a:pt x="3" y="1"/>
                    <a:pt x="4" y="2"/>
                  </a:cubicBezTo>
                  <a:cubicBezTo>
                    <a:pt x="58" y="21"/>
                    <a:pt x="108" y="46"/>
                    <a:pt x="155" y="73"/>
                  </a:cubicBezTo>
                  <a:cubicBezTo>
                    <a:pt x="175" y="71"/>
                    <a:pt x="195" y="70"/>
                    <a:pt x="216" y="70"/>
                  </a:cubicBezTo>
                  <a:close/>
                </a:path>
              </a:pathLst>
            </a:custGeom>
            <a:solidFill>
              <a:schemeClr val="accent5">
                <a:alpha val="7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4262438" y="836875"/>
              <a:ext cx="3222625" cy="1439863"/>
            </a:xfrm>
            <a:custGeom>
              <a:avLst/>
              <a:gdLst>
                <a:gd name="T0" fmla="*/ 295 w 338"/>
                <a:gd name="T1" fmla="*/ 71 h 151"/>
                <a:gd name="T2" fmla="*/ 144 w 338"/>
                <a:gd name="T3" fmla="*/ 0 h 151"/>
                <a:gd name="T4" fmla="*/ 207 w 338"/>
                <a:gd name="T5" fmla="*/ 50 h 151"/>
                <a:gd name="T6" fmla="*/ 207 w 338"/>
                <a:gd name="T7" fmla="*/ 50 h 151"/>
                <a:gd name="T8" fmla="*/ 240 w 338"/>
                <a:gd name="T9" fmla="*/ 78 h 151"/>
                <a:gd name="T10" fmla="*/ 0 w 338"/>
                <a:gd name="T11" fmla="*/ 151 h 151"/>
                <a:gd name="T12" fmla="*/ 262 w 338"/>
                <a:gd name="T13" fmla="*/ 98 h 151"/>
                <a:gd name="T14" fmla="*/ 338 w 338"/>
                <a:gd name="T15" fmla="*/ 98 h 151"/>
                <a:gd name="T16" fmla="*/ 295 w 338"/>
                <a:gd name="T17" fmla="*/ 7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8" h="151">
                  <a:moveTo>
                    <a:pt x="295" y="71"/>
                  </a:moveTo>
                  <a:cubicBezTo>
                    <a:pt x="248" y="44"/>
                    <a:pt x="198" y="19"/>
                    <a:pt x="144" y="0"/>
                  </a:cubicBezTo>
                  <a:cubicBezTo>
                    <a:pt x="166" y="16"/>
                    <a:pt x="187" y="32"/>
                    <a:pt x="207" y="50"/>
                  </a:cubicBezTo>
                  <a:cubicBezTo>
                    <a:pt x="207" y="50"/>
                    <a:pt x="207" y="50"/>
                    <a:pt x="207" y="50"/>
                  </a:cubicBezTo>
                  <a:cubicBezTo>
                    <a:pt x="218" y="59"/>
                    <a:pt x="229" y="68"/>
                    <a:pt x="240" y="78"/>
                  </a:cubicBezTo>
                  <a:cubicBezTo>
                    <a:pt x="155" y="91"/>
                    <a:pt x="74" y="116"/>
                    <a:pt x="0" y="151"/>
                  </a:cubicBezTo>
                  <a:cubicBezTo>
                    <a:pt x="82" y="121"/>
                    <a:pt x="171" y="103"/>
                    <a:pt x="262" y="98"/>
                  </a:cubicBezTo>
                  <a:cubicBezTo>
                    <a:pt x="287" y="97"/>
                    <a:pt x="313" y="97"/>
                    <a:pt x="338" y="98"/>
                  </a:cubicBezTo>
                  <a:cubicBezTo>
                    <a:pt x="324" y="89"/>
                    <a:pt x="310" y="80"/>
                    <a:pt x="295" y="71"/>
                  </a:cubicBezTo>
                </a:path>
              </a:pathLst>
            </a:custGeom>
            <a:solidFill>
              <a:schemeClr val="accent1">
                <a:alpha val="7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6" name="Freeform 7"/>
            <p:cNvSpPr>
              <a:spLocks/>
            </p:cNvSpPr>
            <p:nvPr userDrawn="1"/>
          </p:nvSpPr>
          <p:spPr bwMode="auto">
            <a:xfrm>
              <a:off x="4214813" y="1325563"/>
              <a:ext cx="2335213" cy="982663"/>
            </a:xfrm>
            <a:custGeom>
              <a:avLst/>
              <a:gdLst>
                <a:gd name="T0" fmla="*/ 212 w 245"/>
                <a:gd name="T1" fmla="*/ 0 h 103"/>
                <a:gd name="T2" fmla="*/ 0 w 245"/>
                <a:gd name="T3" fmla="*/ 103 h 103"/>
                <a:gd name="T4" fmla="*/ 6 w 245"/>
                <a:gd name="T5" fmla="*/ 101 h 103"/>
                <a:gd name="T6" fmla="*/ 245 w 245"/>
                <a:gd name="T7" fmla="*/ 28 h 103"/>
                <a:gd name="T8" fmla="*/ 212 w 245"/>
                <a:gd name="T9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5" h="103">
                  <a:moveTo>
                    <a:pt x="212" y="0"/>
                  </a:moveTo>
                  <a:cubicBezTo>
                    <a:pt x="135" y="25"/>
                    <a:pt x="63" y="60"/>
                    <a:pt x="0" y="103"/>
                  </a:cubicBezTo>
                  <a:cubicBezTo>
                    <a:pt x="2" y="102"/>
                    <a:pt x="4" y="101"/>
                    <a:pt x="6" y="101"/>
                  </a:cubicBezTo>
                  <a:cubicBezTo>
                    <a:pt x="79" y="66"/>
                    <a:pt x="160" y="41"/>
                    <a:pt x="245" y="28"/>
                  </a:cubicBezTo>
                  <a:cubicBezTo>
                    <a:pt x="235" y="18"/>
                    <a:pt x="224" y="9"/>
                    <a:pt x="212" y="0"/>
                  </a:cubicBezTo>
                </a:path>
              </a:pathLst>
            </a:custGeom>
            <a:solidFill>
              <a:schemeClr val="accent6">
                <a:alpha val="7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8" name="Freeform 10"/>
            <p:cNvSpPr>
              <a:spLocks/>
            </p:cNvSpPr>
            <p:nvPr userDrawn="1"/>
          </p:nvSpPr>
          <p:spPr bwMode="auto">
            <a:xfrm>
              <a:off x="7061463" y="1484575"/>
              <a:ext cx="1296987" cy="373063"/>
            </a:xfrm>
            <a:custGeom>
              <a:avLst/>
              <a:gdLst>
                <a:gd name="T0" fmla="*/ 61 w 136"/>
                <a:gd name="T1" fmla="*/ 0 h 39"/>
                <a:gd name="T2" fmla="*/ 0 w 136"/>
                <a:gd name="T3" fmla="*/ 3 h 39"/>
                <a:gd name="T4" fmla="*/ 43 w 136"/>
                <a:gd name="T5" fmla="*/ 30 h 39"/>
                <a:gd name="T6" fmla="*/ 136 w 136"/>
                <a:gd name="T7" fmla="*/ 39 h 39"/>
                <a:gd name="T8" fmla="*/ 61 w 136"/>
                <a:gd name="T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6" h="39">
                  <a:moveTo>
                    <a:pt x="61" y="0"/>
                  </a:moveTo>
                  <a:cubicBezTo>
                    <a:pt x="40" y="0"/>
                    <a:pt x="20" y="1"/>
                    <a:pt x="0" y="3"/>
                  </a:cubicBezTo>
                  <a:cubicBezTo>
                    <a:pt x="15" y="12"/>
                    <a:pt x="29" y="21"/>
                    <a:pt x="43" y="30"/>
                  </a:cubicBezTo>
                  <a:cubicBezTo>
                    <a:pt x="74" y="32"/>
                    <a:pt x="105" y="35"/>
                    <a:pt x="136" y="39"/>
                  </a:cubicBezTo>
                  <a:cubicBezTo>
                    <a:pt x="112" y="25"/>
                    <a:pt x="87" y="12"/>
                    <a:pt x="61" y="0"/>
                  </a:cubicBezTo>
                  <a:close/>
                </a:path>
              </a:pathLst>
            </a:custGeom>
            <a:solidFill>
              <a:schemeClr val="accent6">
                <a:alpha val="7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21" name="Group 20"/>
          <p:cNvGrpSpPr/>
          <p:nvPr userDrawn="1"/>
        </p:nvGrpSpPr>
        <p:grpSpPr>
          <a:xfrm>
            <a:off x="4803775" y="2108200"/>
            <a:ext cx="7397751" cy="4749801"/>
            <a:chOff x="4803775" y="2108200"/>
            <a:chExt cx="7397751" cy="4749801"/>
          </a:xfrm>
        </p:grpSpPr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8912225" y="2108200"/>
              <a:ext cx="3289300" cy="1430338"/>
            </a:xfrm>
            <a:custGeom>
              <a:avLst/>
              <a:gdLst>
                <a:gd name="T0" fmla="*/ 345 w 345"/>
                <a:gd name="T1" fmla="*/ 87 h 150"/>
                <a:gd name="T2" fmla="*/ 0 w 345"/>
                <a:gd name="T3" fmla="*/ 0 h 150"/>
                <a:gd name="T4" fmla="*/ 11 w 345"/>
                <a:gd name="T5" fmla="*/ 7 h 150"/>
                <a:gd name="T6" fmla="*/ 345 w 345"/>
                <a:gd name="T7" fmla="*/ 150 h 150"/>
                <a:gd name="T8" fmla="*/ 345 w 345"/>
                <a:gd name="T9" fmla="*/ 87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5" h="150">
                  <a:moveTo>
                    <a:pt x="345" y="87"/>
                  </a:moveTo>
                  <a:cubicBezTo>
                    <a:pt x="233" y="52"/>
                    <a:pt x="117" y="23"/>
                    <a:pt x="0" y="0"/>
                  </a:cubicBezTo>
                  <a:cubicBezTo>
                    <a:pt x="3" y="2"/>
                    <a:pt x="7" y="5"/>
                    <a:pt x="11" y="7"/>
                  </a:cubicBezTo>
                  <a:cubicBezTo>
                    <a:pt x="127" y="50"/>
                    <a:pt x="238" y="98"/>
                    <a:pt x="345" y="150"/>
                  </a:cubicBezTo>
                  <a:lnTo>
                    <a:pt x="345" y="87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9017000" y="2174875"/>
              <a:ext cx="3184525" cy="2574925"/>
            </a:xfrm>
            <a:custGeom>
              <a:avLst/>
              <a:gdLst>
                <a:gd name="T0" fmla="*/ 228 w 334"/>
                <a:gd name="T1" fmla="*/ 180 h 270"/>
                <a:gd name="T2" fmla="*/ 334 w 334"/>
                <a:gd name="T3" fmla="*/ 270 h 270"/>
                <a:gd name="T4" fmla="*/ 334 w 334"/>
                <a:gd name="T5" fmla="*/ 143 h 270"/>
                <a:gd name="T6" fmla="*/ 0 w 334"/>
                <a:gd name="T7" fmla="*/ 0 h 270"/>
                <a:gd name="T8" fmla="*/ 229 w 334"/>
                <a:gd name="T9" fmla="*/ 179 h 270"/>
                <a:gd name="T10" fmla="*/ 228 w 334"/>
                <a:gd name="T11" fmla="*/ 18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4" h="270">
                  <a:moveTo>
                    <a:pt x="228" y="180"/>
                  </a:moveTo>
                  <a:cubicBezTo>
                    <a:pt x="264" y="209"/>
                    <a:pt x="300" y="240"/>
                    <a:pt x="334" y="270"/>
                  </a:cubicBezTo>
                  <a:cubicBezTo>
                    <a:pt x="334" y="143"/>
                    <a:pt x="334" y="143"/>
                    <a:pt x="334" y="143"/>
                  </a:cubicBezTo>
                  <a:cubicBezTo>
                    <a:pt x="227" y="91"/>
                    <a:pt x="116" y="43"/>
                    <a:pt x="0" y="0"/>
                  </a:cubicBezTo>
                  <a:cubicBezTo>
                    <a:pt x="81" y="57"/>
                    <a:pt x="156" y="117"/>
                    <a:pt x="229" y="179"/>
                  </a:cubicBezTo>
                  <a:cubicBezTo>
                    <a:pt x="228" y="180"/>
                    <a:pt x="228" y="180"/>
                    <a:pt x="228" y="18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4803775" y="3890963"/>
              <a:ext cx="7397750" cy="2967038"/>
            </a:xfrm>
            <a:custGeom>
              <a:avLst/>
              <a:gdLst>
                <a:gd name="T0" fmla="*/ 776 w 776"/>
                <a:gd name="T1" fmla="*/ 89 h 311"/>
                <a:gd name="T2" fmla="*/ 671 w 776"/>
                <a:gd name="T3" fmla="*/ 0 h 311"/>
                <a:gd name="T4" fmla="*/ 0 w 776"/>
                <a:gd name="T5" fmla="*/ 311 h 311"/>
                <a:gd name="T6" fmla="*/ 43 w 776"/>
                <a:gd name="T7" fmla="*/ 311 h 311"/>
                <a:gd name="T8" fmla="*/ 776 w 776"/>
                <a:gd name="T9" fmla="*/ 103 h 311"/>
                <a:gd name="T10" fmla="*/ 776 w 776"/>
                <a:gd name="T11" fmla="*/ 89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76" h="311">
                  <a:moveTo>
                    <a:pt x="776" y="89"/>
                  </a:moveTo>
                  <a:cubicBezTo>
                    <a:pt x="742" y="59"/>
                    <a:pt x="707" y="29"/>
                    <a:pt x="671" y="0"/>
                  </a:cubicBezTo>
                  <a:cubicBezTo>
                    <a:pt x="428" y="79"/>
                    <a:pt x="203" y="185"/>
                    <a:pt x="0" y="311"/>
                  </a:cubicBezTo>
                  <a:cubicBezTo>
                    <a:pt x="43" y="311"/>
                    <a:pt x="43" y="311"/>
                    <a:pt x="43" y="311"/>
                  </a:cubicBezTo>
                  <a:cubicBezTo>
                    <a:pt x="272" y="214"/>
                    <a:pt x="518" y="143"/>
                    <a:pt x="776" y="103"/>
                  </a:cubicBezTo>
                  <a:lnTo>
                    <a:pt x="776" y="89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5205413" y="4873625"/>
              <a:ext cx="6996113" cy="1984375"/>
            </a:xfrm>
            <a:custGeom>
              <a:avLst/>
              <a:gdLst>
                <a:gd name="T0" fmla="*/ 37 w 734"/>
                <a:gd name="T1" fmla="*/ 208 h 208"/>
                <a:gd name="T2" fmla="*/ 734 w 734"/>
                <a:gd name="T3" fmla="*/ 77 h 208"/>
                <a:gd name="T4" fmla="*/ 734 w 734"/>
                <a:gd name="T5" fmla="*/ 0 h 208"/>
                <a:gd name="T6" fmla="*/ 0 w 734"/>
                <a:gd name="T7" fmla="*/ 208 h 208"/>
                <a:gd name="T8" fmla="*/ 37 w 734"/>
                <a:gd name="T9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4" h="208">
                  <a:moveTo>
                    <a:pt x="37" y="208"/>
                  </a:moveTo>
                  <a:cubicBezTo>
                    <a:pt x="260" y="139"/>
                    <a:pt x="494" y="94"/>
                    <a:pt x="734" y="77"/>
                  </a:cubicBezTo>
                  <a:cubicBezTo>
                    <a:pt x="734" y="0"/>
                    <a:pt x="734" y="0"/>
                    <a:pt x="734" y="0"/>
                  </a:cubicBezTo>
                  <a:cubicBezTo>
                    <a:pt x="476" y="40"/>
                    <a:pt x="229" y="111"/>
                    <a:pt x="0" y="208"/>
                  </a:cubicBezTo>
                  <a:lnTo>
                    <a:pt x="37" y="208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</p:spTree>
    <p:extLst>
      <p:ext uri="{BB962C8B-B14F-4D97-AF65-F5344CB8AC3E}">
        <p14:creationId xmlns:p14="http://schemas.microsoft.com/office/powerpoint/2010/main" val="3367601634"/>
      </p:ext>
    </p:extLst>
  </p:cSld>
  <p:clrMapOvr>
    <a:masterClrMapping/>
  </p:clrMapOvr>
  <p:hf hdr="0" ftr="0" dt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1800" cap="none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4"/>
          </p:nvPr>
        </p:nvSpPr>
        <p:spPr>
          <a:xfrm>
            <a:off x="442800" y="940751"/>
            <a:ext cx="11235796" cy="3718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de-CH" sz="1867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>
              <a:lnSpc>
                <a:spcPts val="2880"/>
              </a:lnSpc>
              <a:spcAft>
                <a:spcPts val="0"/>
              </a:spcAft>
            </a:pP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42913" y="1916113"/>
            <a:ext cx="11306175" cy="40084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948940" y="6000750"/>
            <a:ext cx="7490335" cy="727098"/>
          </a:xfrm>
        </p:spPr>
        <p:txBody>
          <a:bodyPr anchor="b" anchorCtr="0"/>
          <a:lstStyle>
            <a:lvl1pPr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insert references…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9191917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1800" cap="none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843382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Image Only" preserve="1">
  <p:cSld name="Full 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85747"/>
          </a:xfrm>
          <a:prstGeom prst="rect">
            <a:avLst/>
          </a:prstGeom>
        </p:spPr>
        <p:txBody>
          <a:bodyPr tIns="540000"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191309"/>
            <a:ext cx="12192000" cy="0"/>
          </a:xfrm>
          <a:prstGeom prst="line">
            <a:avLst/>
          </a:prstGeom>
          <a:ln w="12700">
            <a:solidFill>
              <a:srgbClr val="E5004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819837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328391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6"/>
          <p:cNvSpPr>
            <a:spLocks/>
          </p:cNvSpPr>
          <p:nvPr userDrawn="1"/>
        </p:nvSpPr>
        <p:spPr bwMode="auto">
          <a:xfrm>
            <a:off x="6690228" y="0"/>
            <a:ext cx="3621088" cy="6858000"/>
          </a:xfrm>
          <a:custGeom>
            <a:avLst/>
            <a:gdLst>
              <a:gd name="T0" fmla="*/ 19 w 419"/>
              <a:gd name="T1" fmla="*/ 1 h 794"/>
              <a:gd name="T2" fmla="*/ 19 w 419"/>
              <a:gd name="T3" fmla="*/ 0 h 794"/>
              <a:gd name="T4" fmla="*/ 4 w 419"/>
              <a:gd name="T5" fmla="*/ 0 h 794"/>
              <a:gd name="T6" fmla="*/ 324 w 419"/>
              <a:gd name="T7" fmla="*/ 320 h 794"/>
              <a:gd name="T8" fmla="*/ 324 w 419"/>
              <a:gd name="T9" fmla="*/ 470 h 794"/>
              <a:gd name="T10" fmla="*/ 0 w 419"/>
              <a:gd name="T11" fmla="*/ 794 h 794"/>
              <a:gd name="T12" fmla="*/ 92 w 419"/>
              <a:gd name="T13" fmla="*/ 794 h 794"/>
              <a:gd name="T14" fmla="*/ 377 w 419"/>
              <a:gd name="T15" fmla="*/ 509 h 794"/>
              <a:gd name="T16" fmla="*/ 377 w 419"/>
              <a:gd name="T17" fmla="*/ 359 h 794"/>
              <a:gd name="T18" fmla="*/ 19 w 419"/>
              <a:gd name="T19" fmla="*/ 1 h 7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19" h="794">
                <a:moveTo>
                  <a:pt x="19" y="1"/>
                </a:moveTo>
                <a:cubicBezTo>
                  <a:pt x="19" y="0"/>
                  <a:pt x="19" y="0"/>
                  <a:pt x="19" y="0"/>
                </a:cubicBezTo>
                <a:cubicBezTo>
                  <a:pt x="4" y="0"/>
                  <a:pt x="4" y="0"/>
                  <a:pt x="4" y="0"/>
                </a:cubicBezTo>
                <a:cubicBezTo>
                  <a:pt x="324" y="320"/>
                  <a:pt x="324" y="320"/>
                  <a:pt x="324" y="320"/>
                </a:cubicBezTo>
                <a:cubicBezTo>
                  <a:pt x="365" y="362"/>
                  <a:pt x="365" y="429"/>
                  <a:pt x="324" y="470"/>
                </a:cubicBezTo>
                <a:cubicBezTo>
                  <a:pt x="0" y="794"/>
                  <a:pt x="0" y="794"/>
                  <a:pt x="0" y="794"/>
                </a:cubicBezTo>
                <a:cubicBezTo>
                  <a:pt x="92" y="794"/>
                  <a:pt x="92" y="794"/>
                  <a:pt x="92" y="794"/>
                </a:cubicBezTo>
                <a:cubicBezTo>
                  <a:pt x="377" y="509"/>
                  <a:pt x="377" y="509"/>
                  <a:pt x="377" y="509"/>
                </a:cubicBezTo>
                <a:cubicBezTo>
                  <a:pt x="419" y="467"/>
                  <a:pt x="419" y="400"/>
                  <a:pt x="377" y="359"/>
                </a:cubicBezTo>
                <a:lnTo>
                  <a:pt x="19" y="1"/>
                </a:lnTo>
                <a:close/>
              </a:path>
            </a:pathLst>
          </a:custGeom>
          <a:solidFill>
            <a:schemeClr val="tx2">
              <a:alpha val="30000"/>
            </a:schemeClr>
          </a:solidFill>
          <a:ln>
            <a:noFill/>
          </a:ln>
          <a:effectLst>
            <a:outerShdw blurRad="190500" dir="13500000" sy="23000" kx="1200000" algn="br" rotWithShape="0">
              <a:prstClr val="black">
                <a:alpha val="7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GB" dirty="0"/>
          </a:p>
        </p:txBody>
      </p:sp>
      <p:sp>
        <p:nvSpPr>
          <p:cNvPr id="10" name="Freeform 6"/>
          <p:cNvSpPr>
            <a:spLocks/>
          </p:cNvSpPr>
          <p:nvPr userDrawn="1"/>
        </p:nvSpPr>
        <p:spPr bwMode="auto">
          <a:xfrm>
            <a:off x="6791325" y="0"/>
            <a:ext cx="3621088" cy="6858000"/>
          </a:xfrm>
          <a:custGeom>
            <a:avLst/>
            <a:gdLst>
              <a:gd name="T0" fmla="*/ 19 w 419"/>
              <a:gd name="T1" fmla="*/ 1 h 794"/>
              <a:gd name="T2" fmla="*/ 19 w 419"/>
              <a:gd name="T3" fmla="*/ 0 h 794"/>
              <a:gd name="T4" fmla="*/ 4 w 419"/>
              <a:gd name="T5" fmla="*/ 0 h 794"/>
              <a:gd name="T6" fmla="*/ 324 w 419"/>
              <a:gd name="T7" fmla="*/ 320 h 794"/>
              <a:gd name="T8" fmla="*/ 324 w 419"/>
              <a:gd name="T9" fmla="*/ 470 h 794"/>
              <a:gd name="T10" fmla="*/ 0 w 419"/>
              <a:gd name="T11" fmla="*/ 794 h 794"/>
              <a:gd name="T12" fmla="*/ 92 w 419"/>
              <a:gd name="T13" fmla="*/ 794 h 794"/>
              <a:gd name="T14" fmla="*/ 377 w 419"/>
              <a:gd name="T15" fmla="*/ 509 h 794"/>
              <a:gd name="T16" fmla="*/ 377 w 419"/>
              <a:gd name="T17" fmla="*/ 359 h 794"/>
              <a:gd name="T18" fmla="*/ 19 w 419"/>
              <a:gd name="T19" fmla="*/ 1 h 7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19" h="794">
                <a:moveTo>
                  <a:pt x="19" y="1"/>
                </a:moveTo>
                <a:cubicBezTo>
                  <a:pt x="19" y="0"/>
                  <a:pt x="19" y="0"/>
                  <a:pt x="19" y="0"/>
                </a:cubicBezTo>
                <a:cubicBezTo>
                  <a:pt x="4" y="0"/>
                  <a:pt x="4" y="0"/>
                  <a:pt x="4" y="0"/>
                </a:cubicBezTo>
                <a:cubicBezTo>
                  <a:pt x="324" y="320"/>
                  <a:pt x="324" y="320"/>
                  <a:pt x="324" y="320"/>
                </a:cubicBezTo>
                <a:cubicBezTo>
                  <a:pt x="365" y="362"/>
                  <a:pt x="365" y="429"/>
                  <a:pt x="324" y="470"/>
                </a:cubicBezTo>
                <a:cubicBezTo>
                  <a:pt x="0" y="794"/>
                  <a:pt x="0" y="794"/>
                  <a:pt x="0" y="794"/>
                </a:cubicBezTo>
                <a:cubicBezTo>
                  <a:pt x="92" y="794"/>
                  <a:pt x="92" y="794"/>
                  <a:pt x="92" y="794"/>
                </a:cubicBezTo>
                <a:cubicBezTo>
                  <a:pt x="377" y="509"/>
                  <a:pt x="377" y="509"/>
                  <a:pt x="377" y="509"/>
                </a:cubicBezTo>
                <a:cubicBezTo>
                  <a:pt x="419" y="467"/>
                  <a:pt x="419" y="400"/>
                  <a:pt x="377" y="359"/>
                </a:cubicBezTo>
                <a:lnTo>
                  <a:pt x="19" y="1"/>
                </a:lnTo>
                <a:close/>
              </a:path>
            </a:pathLst>
          </a:custGeom>
          <a:solidFill>
            <a:schemeClr val="bg2">
              <a:alpha val="30000"/>
            </a:schemeClr>
          </a:solidFill>
          <a:ln>
            <a:noFill/>
          </a:ln>
          <a:effectLst>
            <a:outerShdw blurRad="190500" dir="13500000" sy="23000" kx="1200000" algn="br" rotWithShape="0">
              <a:prstClr val="black">
                <a:alpha val="7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</p:spTree>
    <p:extLst>
      <p:ext uri="{BB962C8B-B14F-4D97-AF65-F5344CB8AC3E}">
        <p14:creationId xmlns:p14="http://schemas.microsoft.com/office/powerpoint/2010/main" val="331968140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723581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098390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219923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89676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 Slide" preserve="1">
  <p:cSld name="Thank You Slide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4718" y="452967"/>
            <a:ext cx="8494645" cy="346249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cxnSp>
        <p:nvCxnSpPr>
          <p:cNvPr id="16" name="Straight Connector 15"/>
          <p:cNvCxnSpPr/>
          <p:nvPr userDrawn="1"/>
        </p:nvCxnSpPr>
        <p:spPr bwMode="gray">
          <a:xfrm>
            <a:off x="0" y="6191309"/>
            <a:ext cx="12192000" cy="0"/>
          </a:xfrm>
          <a:prstGeom prst="line">
            <a:avLst/>
          </a:prstGeom>
          <a:ln w="127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hhider"/>
          <p:cNvSpPr/>
          <p:nvPr userDrawn="1">
            <p:custDataLst>
              <p:tags r:id="rId1"/>
            </p:custDataLst>
          </p:nvPr>
        </p:nvSpPr>
        <p:spPr>
          <a:xfrm>
            <a:off x="821" y="6191309"/>
            <a:ext cx="12191180" cy="666691"/>
          </a:xfrm>
          <a:prstGeom prst="rect">
            <a:avLst/>
          </a:prstGeom>
          <a:solidFill>
            <a:srgbClr val="FFFFF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200" dirty="0">
              <a:solidFill>
                <a:srgbClr val="FFFFFF"/>
              </a:solidFill>
            </a:endParaRP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FCF53EAD-04D1-4EB3-8F77-13DD055D4C07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  <p:pic>
        <p:nvPicPr>
          <p:cNvPr id="8" name="Content Placeholder 7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4717" y="6309007"/>
            <a:ext cx="710464" cy="440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06120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6"/>
          <p:cNvSpPr>
            <a:spLocks noChangeArrowheads="1"/>
          </p:cNvSpPr>
          <p:nvPr userDrawn="1"/>
        </p:nvSpPr>
        <p:spPr bwMode="auto">
          <a:xfrm>
            <a:off x="0" y="-9525"/>
            <a:ext cx="12201525" cy="686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4803775" y="2108200"/>
            <a:ext cx="7397751" cy="4749801"/>
            <a:chOff x="4803775" y="2108200"/>
            <a:chExt cx="7397751" cy="4749801"/>
          </a:xfrm>
        </p:grpSpPr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8912225" y="2108200"/>
              <a:ext cx="3289300" cy="1430338"/>
            </a:xfrm>
            <a:custGeom>
              <a:avLst/>
              <a:gdLst>
                <a:gd name="T0" fmla="*/ 345 w 345"/>
                <a:gd name="T1" fmla="*/ 87 h 150"/>
                <a:gd name="T2" fmla="*/ 0 w 345"/>
                <a:gd name="T3" fmla="*/ 0 h 150"/>
                <a:gd name="T4" fmla="*/ 11 w 345"/>
                <a:gd name="T5" fmla="*/ 7 h 150"/>
                <a:gd name="T6" fmla="*/ 345 w 345"/>
                <a:gd name="T7" fmla="*/ 150 h 150"/>
                <a:gd name="T8" fmla="*/ 345 w 345"/>
                <a:gd name="T9" fmla="*/ 87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5" h="150">
                  <a:moveTo>
                    <a:pt x="345" y="87"/>
                  </a:moveTo>
                  <a:cubicBezTo>
                    <a:pt x="233" y="52"/>
                    <a:pt x="117" y="23"/>
                    <a:pt x="0" y="0"/>
                  </a:cubicBezTo>
                  <a:cubicBezTo>
                    <a:pt x="3" y="2"/>
                    <a:pt x="7" y="5"/>
                    <a:pt x="11" y="7"/>
                  </a:cubicBezTo>
                  <a:cubicBezTo>
                    <a:pt x="127" y="50"/>
                    <a:pt x="238" y="98"/>
                    <a:pt x="345" y="150"/>
                  </a:cubicBezTo>
                  <a:lnTo>
                    <a:pt x="345" y="87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9017000" y="2174875"/>
              <a:ext cx="3184525" cy="2574925"/>
            </a:xfrm>
            <a:custGeom>
              <a:avLst/>
              <a:gdLst>
                <a:gd name="T0" fmla="*/ 228 w 334"/>
                <a:gd name="T1" fmla="*/ 180 h 270"/>
                <a:gd name="T2" fmla="*/ 334 w 334"/>
                <a:gd name="T3" fmla="*/ 270 h 270"/>
                <a:gd name="T4" fmla="*/ 334 w 334"/>
                <a:gd name="T5" fmla="*/ 143 h 270"/>
                <a:gd name="T6" fmla="*/ 0 w 334"/>
                <a:gd name="T7" fmla="*/ 0 h 270"/>
                <a:gd name="T8" fmla="*/ 229 w 334"/>
                <a:gd name="T9" fmla="*/ 179 h 270"/>
                <a:gd name="T10" fmla="*/ 228 w 334"/>
                <a:gd name="T11" fmla="*/ 18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4" h="270">
                  <a:moveTo>
                    <a:pt x="228" y="180"/>
                  </a:moveTo>
                  <a:cubicBezTo>
                    <a:pt x="264" y="209"/>
                    <a:pt x="300" y="240"/>
                    <a:pt x="334" y="270"/>
                  </a:cubicBezTo>
                  <a:cubicBezTo>
                    <a:pt x="334" y="143"/>
                    <a:pt x="334" y="143"/>
                    <a:pt x="334" y="143"/>
                  </a:cubicBezTo>
                  <a:cubicBezTo>
                    <a:pt x="227" y="91"/>
                    <a:pt x="116" y="43"/>
                    <a:pt x="0" y="0"/>
                  </a:cubicBezTo>
                  <a:cubicBezTo>
                    <a:pt x="81" y="57"/>
                    <a:pt x="156" y="117"/>
                    <a:pt x="229" y="179"/>
                  </a:cubicBezTo>
                  <a:cubicBezTo>
                    <a:pt x="228" y="180"/>
                    <a:pt x="228" y="180"/>
                    <a:pt x="228" y="18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4803775" y="3890963"/>
              <a:ext cx="7397750" cy="2967038"/>
            </a:xfrm>
            <a:custGeom>
              <a:avLst/>
              <a:gdLst>
                <a:gd name="T0" fmla="*/ 776 w 776"/>
                <a:gd name="T1" fmla="*/ 89 h 311"/>
                <a:gd name="T2" fmla="*/ 671 w 776"/>
                <a:gd name="T3" fmla="*/ 0 h 311"/>
                <a:gd name="T4" fmla="*/ 0 w 776"/>
                <a:gd name="T5" fmla="*/ 311 h 311"/>
                <a:gd name="T6" fmla="*/ 43 w 776"/>
                <a:gd name="T7" fmla="*/ 311 h 311"/>
                <a:gd name="T8" fmla="*/ 776 w 776"/>
                <a:gd name="T9" fmla="*/ 103 h 311"/>
                <a:gd name="T10" fmla="*/ 776 w 776"/>
                <a:gd name="T11" fmla="*/ 89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76" h="311">
                  <a:moveTo>
                    <a:pt x="776" y="89"/>
                  </a:moveTo>
                  <a:cubicBezTo>
                    <a:pt x="742" y="59"/>
                    <a:pt x="707" y="29"/>
                    <a:pt x="671" y="0"/>
                  </a:cubicBezTo>
                  <a:cubicBezTo>
                    <a:pt x="428" y="79"/>
                    <a:pt x="203" y="185"/>
                    <a:pt x="0" y="311"/>
                  </a:cubicBezTo>
                  <a:cubicBezTo>
                    <a:pt x="43" y="311"/>
                    <a:pt x="43" y="311"/>
                    <a:pt x="43" y="311"/>
                  </a:cubicBezTo>
                  <a:cubicBezTo>
                    <a:pt x="272" y="214"/>
                    <a:pt x="518" y="143"/>
                    <a:pt x="776" y="103"/>
                  </a:cubicBezTo>
                  <a:lnTo>
                    <a:pt x="776" y="89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5205413" y="4873625"/>
              <a:ext cx="6996113" cy="1984375"/>
            </a:xfrm>
            <a:custGeom>
              <a:avLst/>
              <a:gdLst>
                <a:gd name="T0" fmla="*/ 37 w 734"/>
                <a:gd name="T1" fmla="*/ 208 h 208"/>
                <a:gd name="T2" fmla="*/ 734 w 734"/>
                <a:gd name="T3" fmla="*/ 77 h 208"/>
                <a:gd name="T4" fmla="*/ 734 w 734"/>
                <a:gd name="T5" fmla="*/ 0 h 208"/>
                <a:gd name="T6" fmla="*/ 0 w 734"/>
                <a:gd name="T7" fmla="*/ 208 h 208"/>
                <a:gd name="T8" fmla="*/ 37 w 734"/>
                <a:gd name="T9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4" h="208">
                  <a:moveTo>
                    <a:pt x="37" y="208"/>
                  </a:moveTo>
                  <a:cubicBezTo>
                    <a:pt x="260" y="139"/>
                    <a:pt x="494" y="94"/>
                    <a:pt x="734" y="77"/>
                  </a:cubicBezTo>
                  <a:cubicBezTo>
                    <a:pt x="734" y="0"/>
                    <a:pt x="734" y="0"/>
                    <a:pt x="734" y="0"/>
                  </a:cubicBezTo>
                  <a:cubicBezTo>
                    <a:pt x="476" y="40"/>
                    <a:pt x="229" y="111"/>
                    <a:pt x="0" y="208"/>
                  </a:cubicBezTo>
                  <a:lnTo>
                    <a:pt x="37" y="208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</p:spTree>
    <p:extLst>
      <p:ext uri="{BB962C8B-B14F-4D97-AF65-F5344CB8AC3E}">
        <p14:creationId xmlns:p14="http://schemas.microsoft.com/office/powerpoint/2010/main" val="2390922368"/>
      </p:ext>
    </p:extLst>
  </p:cSld>
  <p:clrMapOvr>
    <a:masterClrMapping/>
  </p:clrMapOvr>
  <p:hf hdr="0" ftr="0" dt="0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442913" y="439573"/>
            <a:ext cx="11306175" cy="901866"/>
          </a:xfrm>
        </p:spPr>
        <p:txBody>
          <a:bodyPr/>
          <a:lstStyle>
            <a:lvl1pPr>
              <a:lnSpc>
                <a:spcPct val="100000"/>
              </a:lnSpc>
              <a:defRPr sz="1800" cap="none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42913" y="1341439"/>
            <a:ext cx="11306175" cy="45831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948940" y="6000750"/>
            <a:ext cx="7490335" cy="727098"/>
          </a:xfrm>
        </p:spPr>
        <p:txBody>
          <a:bodyPr anchor="b" anchorCtr="0"/>
          <a:lstStyle>
            <a:lvl1pPr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insert references…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1995330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845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31800" y="150848"/>
            <a:ext cx="11336867" cy="4691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cap="none" baseline="0"/>
            </a:lvl1pPr>
          </a:lstStyle>
          <a:p>
            <a:r>
              <a:rPr lang="en-GB" noProof="0" dirty="0"/>
              <a:t>Click to edit master title slid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idx="1"/>
          </p:nvPr>
        </p:nvSpPr>
        <p:spPr>
          <a:xfrm>
            <a:off x="431800" y="959281"/>
            <a:ext cx="11331624" cy="535336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buClr>
                <a:srgbClr val="CC0033"/>
              </a:buClr>
              <a:defRPr/>
            </a:lvl1pPr>
            <a:lvl2pPr>
              <a:buClr>
                <a:srgbClr val="CC0033"/>
              </a:buClr>
              <a:defRPr/>
            </a:lvl2pPr>
            <a:lvl3pPr>
              <a:buClr>
                <a:srgbClr val="CC0033"/>
              </a:buClr>
              <a:defRPr/>
            </a:lvl3pPr>
            <a:lvl4pPr>
              <a:buClr>
                <a:srgbClr val="CC0033"/>
              </a:buClr>
              <a:defRPr/>
            </a:lvl4pPr>
            <a:lvl5pPr>
              <a:buClr>
                <a:srgbClr val="CC0033"/>
              </a:buClr>
              <a:defRPr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1801" y="6326504"/>
            <a:ext cx="11358033" cy="153888"/>
          </a:xfrm>
        </p:spPr>
        <p:txBody>
          <a:bodyPr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  <a:lvl2pPr marL="0" indent="0">
              <a:spcBef>
                <a:spcPts val="0"/>
              </a:spcBef>
              <a:buNone/>
              <a:defRPr sz="1000"/>
            </a:lvl2pPr>
            <a:lvl3pPr marL="0" indent="0">
              <a:spcBef>
                <a:spcPts val="0"/>
              </a:spcBef>
              <a:buNone/>
              <a:defRPr sz="1000"/>
            </a:lvl3pPr>
            <a:lvl4pPr marL="0" indent="0">
              <a:spcBef>
                <a:spcPts val="0"/>
              </a:spcBef>
              <a:buNone/>
              <a:defRPr sz="1000"/>
            </a:lvl4pPr>
            <a:lvl5pPr marL="0" indent="0">
              <a:spcBef>
                <a:spcPts val="0"/>
              </a:spcBef>
              <a:buNone/>
              <a:defRPr sz="1000"/>
            </a:lvl5pPr>
          </a:lstStyle>
          <a:p>
            <a:pPr lvl="0"/>
            <a:r>
              <a:rPr lang="en-GB" noProof="0" dirty="0"/>
              <a:t>References.</a:t>
            </a:r>
          </a:p>
        </p:txBody>
      </p:sp>
    </p:spTree>
    <p:extLst>
      <p:ext uri="{BB962C8B-B14F-4D97-AF65-F5344CB8AC3E}">
        <p14:creationId xmlns:p14="http://schemas.microsoft.com/office/powerpoint/2010/main" val="47233543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42CDC22D-28D2-4B9C-90CE-61738ED8A5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-3828" y="0"/>
            <a:ext cx="12195828" cy="6855847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3C54544-7D33-4965-83EA-228C6B66154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2028034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CE4696C-F0DA-40C9-BE55-6370C1EB21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986392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795613-8608-4CBA-B29A-020C4B49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48F093B-0340-4B59-BFAD-76217FA4E6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363"/>
          <a:stretch/>
        </p:blipFill>
        <p:spPr>
          <a:xfrm>
            <a:off x="0" y="0"/>
            <a:ext cx="1166022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798043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763763"/>
            <a:ext cx="10363200" cy="1470025"/>
          </a:xfrm>
        </p:spPr>
        <p:txBody>
          <a:bodyPr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97267466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F4E69A-BB2F-466C-88DD-1FA19F2F8991}" type="datetimeFigureOut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.08.2021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BF129E6-4A33-49BF-A50E-91A2115A923D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080204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>
  <p:cSld name="Title Slide">
    <p:bg>
      <p:bgPr>
        <a:gradFill>
          <a:gsLst>
            <a:gs pos="0">
              <a:schemeClr val="tx2"/>
            </a:gs>
            <a:gs pos="100000">
              <a:schemeClr val="bg2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364794" y="1044411"/>
            <a:ext cx="8049953" cy="5247871"/>
          </a:xfrm>
          <a:custGeom>
            <a:avLst/>
            <a:gdLst>
              <a:gd name="connsiteX0" fmla="*/ 0 w 5976664"/>
              <a:gd name="connsiteY0" fmla="*/ 0 h 3888431"/>
              <a:gd name="connsiteX1" fmla="*/ 5976664 w 5976664"/>
              <a:gd name="connsiteY1" fmla="*/ 0 h 3888431"/>
              <a:gd name="connsiteX2" fmla="*/ 5976664 w 5976664"/>
              <a:gd name="connsiteY2" fmla="*/ 3888431 h 3888431"/>
              <a:gd name="connsiteX3" fmla="*/ 0 w 5976664"/>
              <a:gd name="connsiteY3" fmla="*/ 3888431 h 3888431"/>
              <a:gd name="connsiteX4" fmla="*/ 0 w 5976664"/>
              <a:gd name="connsiteY4" fmla="*/ 0 h 3888431"/>
              <a:gd name="connsiteX0" fmla="*/ 13447 w 5990111"/>
              <a:gd name="connsiteY0" fmla="*/ 0 h 3888431"/>
              <a:gd name="connsiteX1" fmla="*/ 5990111 w 5990111"/>
              <a:gd name="connsiteY1" fmla="*/ 0 h 3888431"/>
              <a:gd name="connsiteX2" fmla="*/ 5990111 w 5990111"/>
              <a:gd name="connsiteY2" fmla="*/ 3888431 h 3888431"/>
              <a:gd name="connsiteX3" fmla="*/ 0 w 5990111"/>
              <a:gd name="connsiteY3" fmla="*/ 2933690 h 3888431"/>
              <a:gd name="connsiteX4" fmla="*/ 13447 w 5990111"/>
              <a:gd name="connsiteY4" fmla="*/ 0 h 3888431"/>
              <a:gd name="connsiteX0" fmla="*/ 228600 w 5990111"/>
              <a:gd name="connsiteY0" fmla="*/ 336177 h 3888431"/>
              <a:gd name="connsiteX1" fmla="*/ 5990111 w 5990111"/>
              <a:gd name="connsiteY1" fmla="*/ 0 h 3888431"/>
              <a:gd name="connsiteX2" fmla="*/ 5990111 w 5990111"/>
              <a:gd name="connsiteY2" fmla="*/ 3888431 h 3888431"/>
              <a:gd name="connsiteX3" fmla="*/ 0 w 5990111"/>
              <a:gd name="connsiteY3" fmla="*/ 2933690 h 3888431"/>
              <a:gd name="connsiteX4" fmla="*/ 228600 w 5990111"/>
              <a:gd name="connsiteY4" fmla="*/ 336177 h 3888431"/>
              <a:gd name="connsiteX0" fmla="*/ 228600 w 5990111"/>
              <a:gd name="connsiteY0" fmla="*/ 282389 h 3834643"/>
              <a:gd name="connsiteX1" fmla="*/ 5048817 w 5990111"/>
              <a:gd name="connsiteY1" fmla="*/ 0 h 3834643"/>
              <a:gd name="connsiteX2" fmla="*/ 5990111 w 5990111"/>
              <a:gd name="connsiteY2" fmla="*/ 3834643 h 3834643"/>
              <a:gd name="connsiteX3" fmla="*/ 0 w 5990111"/>
              <a:gd name="connsiteY3" fmla="*/ 2879902 h 3834643"/>
              <a:gd name="connsiteX4" fmla="*/ 228600 w 5990111"/>
              <a:gd name="connsiteY4" fmla="*/ 282389 h 3834643"/>
              <a:gd name="connsiteX0" fmla="*/ 228600 w 6138029"/>
              <a:gd name="connsiteY0" fmla="*/ 282389 h 2879902"/>
              <a:gd name="connsiteX1" fmla="*/ 5048817 w 6138029"/>
              <a:gd name="connsiteY1" fmla="*/ 0 h 2879902"/>
              <a:gd name="connsiteX2" fmla="*/ 6138029 w 6138029"/>
              <a:gd name="connsiteY2" fmla="*/ 1575537 h 2879902"/>
              <a:gd name="connsiteX3" fmla="*/ 0 w 6138029"/>
              <a:gd name="connsiteY3" fmla="*/ 2879902 h 2879902"/>
              <a:gd name="connsiteX4" fmla="*/ 228600 w 6138029"/>
              <a:gd name="connsiteY4" fmla="*/ 282389 h 2879902"/>
              <a:gd name="connsiteX0" fmla="*/ 228600 w 6138029"/>
              <a:gd name="connsiteY0" fmla="*/ 282389 h 3857600"/>
              <a:gd name="connsiteX1" fmla="*/ 5048817 w 6138029"/>
              <a:gd name="connsiteY1" fmla="*/ 0 h 3857600"/>
              <a:gd name="connsiteX2" fmla="*/ 6138029 w 6138029"/>
              <a:gd name="connsiteY2" fmla="*/ 1575537 h 3857600"/>
              <a:gd name="connsiteX3" fmla="*/ 3601689 w 6138029"/>
              <a:gd name="connsiteY3" fmla="*/ 3857600 h 3857600"/>
              <a:gd name="connsiteX4" fmla="*/ 0 w 6138029"/>
              <a:gd name="connsiteY4" fmla="*/ 2879902 h 3857600"/>
              <a:gd name="connsiteX5" fmla="*/ 228600 w 6138029"/>
              <a:gd name="connsiteY5" fmla="*/ 282389 h 3857600"/>
              <a:gd name="connsiteX0" fmla="*/ 228600 w 6138029"/>
              <a:gd name="connsiteY0" fmla="*/ 282389 h 3857600"/>
              <a:gd name="connsiteX1" fmla="*/ 5048817 w 6138029"/>
              <a:gd name="connsiteY1" fmla="*/ 0 h 3857600"/>
              <a:gd name="connsiteX2" fmla="*/ 6138029 w 6138029"/>
              <a:gd name="connsiteY2" fmla="*/ 1575537 h 3857600"/>
              <a:gd name="connsiteX3" fmla="*/ 3601689 w 6138029"/>
              <a:gd name="connsiteY3" fmla="*/ 3857600 h 3857600"/>
              <a:gd name="connsiteX4" fmla="*/ 0 w 6138029"/>
              <a:gd name="connsiteY4" fmla="*/ 2879902 h 3857600"/>
              <a:gd name="connsiteX5" fmla="*/ 228600 w 6138029"/>
              <a:gd name="connsiteY5" fmla="*/ 282389 h 3857600"/>
              <a:gd name="connsiteX0" fmla="*/ 228600 w 6138029"/>
              <a:gd name="connsiteY0" fmla="*/ 282389 h 3857600"/>
              <a:gd name="connsiteX1" fmla="*/ 5048817 w 6138029"/>
              <a:gd name="connsiteY1" fmla="*/ 0 h 3857600"/>
              <a:gd name="connsiteX2" fmla="*/ 6138029 w 6138029"/>
              <a:gd name="connsiteY2" fmla="*/ 1575537 h 3857600"/>
              <a:gd name="connsiteX3" fmla="*/ 3601689 w 6138029"/>
              <a:gd name="connsiteY3" fmla="*/ 3857600 h 3857600"/>
              <a:gd name="connsiteX4" fmla="*/ 0 w 6138029"/>
              <a:gd name="connsiteY4" fmla="*/ 2879902 h 3857600"/>
              <a:gd name="connsiteX5" fmla="*/ 228600 w 6138029"/>
              <a:gd name="connsiteY5" fmla="*/ 282389 h 3857600"/>
              <a:gd name="connsiteX0" fmla="*/ 228600 w 6017006"/>
              <a:gd name="connsiteY0" fmla="*/ 282389 h 3857600"/>
              <a:gd name="connsiteX1" fmla="*/ 5048817 w 6017006"/>
              <a:gd name="connsiteY1" fmla="*/ 0 h 3857600"/>
              <a:gd name="connsiteX2" fmla="*/ 6017006 w 6017006"/>
              <a:gd name="connsiteY2" fmla="*/ 1521749 h 3857600"/>
              <a:gd name="connsiteX3" fmla="*/ 3601689 w 6017006"/>
              <a:gd name="connsiteY3" fmla="*/ 3857600 h 3857600"/>
              <a:gd name="connsiteX4" fmla="*/ 0 w 6017006"/>
              <a:gd name="connsiteY4" fmla="*/ 2879902 h 3857600"/>
              <a:gd name="connsiteX5" fmla="*/ 228600 w 6017006"/>
              <a:gd name="connsiteY5" fmla="*/ 282389 h 3857600"/>
              <a:gd name="connsiteX0" fmla="*/ 228600 w 6070794"/>
              <a:gd name="connsiteY0" fmla="*/ 282389 h 3857600"/>
              <a:gd name="connsiteX1" fmla="*/ 5048817 w 6070794"/>
              <a:gd name="connsiteY1" fmla="*/ 0 h 3857600"/>
              <a:gd name="connsiteX2" fmla="*/ 6070794 w 6070794"/>
              <a:gd name="connsiteY2" fmla="*/ 1441067 h 3857600"/>
              <a:gd name="connsiteX3" fmla="*/ 3601689 w 6070794"/>
              <a:gd name="connsiteY3" fmla="*/ 3857600 h 3857600"/>
              <a:gd name="connsiteX4" fmla="*/ 0 w 6070794"/>
              <a:gd name="connsiteY4" fmla="*/ 2879902 h 3857600"/>
              <a:gd name="connsiteX5" fmla="*/ 228600 w 6070794"/>
              <a:gd name="connsiteY5" fmla="*/ 282389 h 3857600"/>
              <a:gd name="connsiteX0" fmla="*/ 228600 w 6070794"/>
              <a:gd name="connsiteY0" fmla="*/ 282389 h 3857600"/>
              <a:gd name="connsiteX1" fmla="*/ 5048817 w 6070794"/>
              <a:gd name="connsiteY1" fmla="*/ 0 h 3857600"/>
              <a:gd name="connsiteX2" fmla="*/ 6070794 w 6070794"/>
              <a:gd name="connsiteY2" fmla="*/ 1441067 h 3857600"/>
              <a:gd name="connsiteX3" fmla="*/ 3601689 w 6070794"/>
              <a:gd name="connsiteY3" fmla="*/ 3857600 h 3857600"/>
              <a:gd name="connsiteX4" fmla="*/ 0 w 6070794"/>
              <a:gd name="connsiteY4" fmla="*/ 2879902 h 3857600"/>
              <a:gd name="connsiteX5" fmla="*/ 228600 w 6070794"/>
              <a:gd name="connsiteY5" fmla="*/ 282389 h 3857600"/>
              <a:gd name="connsiteX0" fmla="*/ 228600 w 6070794"/>
              <a:gd name="connsiteY0" fmla="*/ 282389 h 3857600"/>
              <a:gd name="connsiteX1" fmla="*/ 5048817 w 6070794"/>
              <a:gd name="connsiteY1" fmla="*/ 0 h 3857600"/>
              <a:gd name="connsiteX2" fmla="*/ 6070794 w 6070794"/>
              <a:gd name="connsiteY2" fmla="*/ 1441067 h 3857600"/>
              <a:gd name="connsiteX3" fmla="*/ 3601689 w 6070794"/>
              <a:gd name="connsiteY3" fmla="*/ 3857600 h 3857600"/>
              <a:gd name="connsiteX4" fmla="*/ 0 w 6070794"/>
              <a:gd name="connsiteY4" fmla="*/ 2879902 h 3857600"/>
              <a:gd name="connsiteX5" fmla="*/ 228600 w 6070794"/>
              <a:gd name="connsiteY5" fmla="*/ 282389 h 3857600"/>
              <a:gd name="connsiteX0" fmla="*/ 215153 w 6057347"/>
              <a:gd name="connsiteY0" fmla="*/ 282389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215153 w 6057347"/>
              <a:gd name="connsiteY5" fmla="*/ 282389 h 3857600"/>
              <a:gd name="connsiteX0" fmla="*/ 215153 w 6057347"/>
              <a:gd name="connsiteY0" fmla="*/ 282389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215153 w 6057347"/>
              <a:gd name="connsiteY5" fmla="*/ 282389 h 3857600"/>
              <a:gd name="connsiteX0" fmla="*/ 215153 w 6057347"/>
              <a:gd name="connsiteY0" fmla="*/ 282389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215153 w 6057347"/>
              <a:gd name="connsiteY5" fmla="*/ 282389 h 3857600"/>
              <a:gd name="connsiteX0" fmla="*/ 389965 w 6057347"/>
              <a:gd name="connsiteY0" fmla="*/ 497542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389965 w 6057347"/>
              <a:gd name="connsiteY5" fmla="*/ 497542 h 3857600"/>
              <a:gd name="connsiteX0" fmla="*/ 255494 w 6057347"/>
              <a:gd name="connsiteY0" fmla="*/ 295836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255494 w 6057347"/>
              <a:gd name="connsiteY5" fmla="*/ 295836 h 3857600"/>
              <a:gd name="connsiteX0" fmla="*/ 255494 w 6057347"/>
              <a:gd name="connsiteY0" fmla="*/ 295836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255494 w 6057347"/>
              <a:gd name="connsiteY5" fmla="*/ 295836 h 3857600"/>
              <a:gd name="connsiteX0" fmla="*/ 252169 w 6057347"/>
              <a:gd name="connsiteY0" fmla="*/ 335737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252169 w 6057347"/>
              <a:gd name="connsiteY5" fmla="*/ 335737 h 3857600"/>
              <a:gd name="connsiteX0" fmla="*/ 252169 w 6057347"/>
              <a:gd name="connsiteY0" fmla="*/ 335737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252169 w 6057347"/>
              <a:gd name="connsiteY5" fmla="*/ 335737 h 3857600"/>
              <a:gd name="connsiteX0" fmla="*/ 235544 w 6057347"/>
              <a:gd name="connsiteY0" fmla="*/ 335737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235544 w 6057347"/>
              <a:gd name="connsiteY5" fmla="*/ 335737 h 3857600"/>
              <a:gd name="connsiteX0" fmla="*/ 235544 w 6057347"/>
              <a:gd name="connsiteY0" fmla="*/ 335737 h 3877551"/>
              <a:gd name="connsiteX1" fmla="*/ 5035370 w 6057347"/>
              <a:gd name="connsiteY1" fmla="*/ 0 h 3877551"/>
              <a:gd name="connsiteX2" fmla="*/ 6057347 w 6057347"/>
              <a:gd name="connsiteY2" fmla="*/ 1441067 h 3877551"/>
              <a:gd name="connsiteX3" fmla="*/ 3621492 w 6057347"/>
              <a:gd name="connsiteY3" fmla="*/ 3877551 h 3877551"/>
              <a:gd name="connsiteX4" fmla="*/ 0 w 6057347"/>
              <a:gd name="connsiteY4" fmla="*/ 2853008 h 3877551"/>
              <a:gd name="connsiteX5" fmla="*/ 235544 w 6057347"/>
              <a:gd name="connsiteY5" fmla="*/ 335737 h 3877551"/>
              <a:gd name="connsiteX0" fmla="*/ 235544 w 6047372"/>
              <a:gd name="connsiteY0" fmla="*/ 335737 h 3877551"/>
              <a:gd name="connsiteX1" fmla="*/ 5035370 w 6047372"/>
              <a:gd name="connsiteY1" fmla="*/ 0 h 3877551"/>
              <a:gd name="connsiteX2" fmla="*/ 6047372 w 6047372"/>
              <a:gd name="connsiteY2" fmla="*/ 1431092 h 3877551"/>
              <a:gd name="connsiteX3" fmla="*/ 3621492 w 6047372"/>
              <a:gd name="connsiteY3" fmla="*/ 3877551 h 3877551"/>
              <a:gd name="connsiteX4" fmla="*/ 0 w 6047372"/>
              <a:gd name="connsiteY4" fmla="*/ 2853008 h 3877551"/>
              <a:gd name="connsiteX5" fmla="*/ 235544 w 6047372"/>
              <a:gd name="connsiteY5" fmla="*/ 335737 h 3877551"/>
              <a:gd name="connsiteX0" fmla="*/ 235544 w 6047372"/>
              <a:gd name="connsiteY0" fmla="*/ 335737 h 3877551"/>
              <a:gd name="connsiteX1" fmla="*/ 5035370 w 6047372"/>
              <a:gd name="connsiteY1" fmla="*/ 0 h 3877551"/>
              <a:gd name="connsiteX2" fmla="*/ 6047372 w 6047372"/>
              <a:gd name="connsiteY2" fmla="*/ 1434417 h 3877551"/>
              <a:gd name="connsiteX3" fmla="*/ 3621492 w 6047372"/>
              <a:gd name="connsiteY3" fmla="*/ 3877551 h 3877551"/>
              <a:gd name="connsiteX4" fmla="*/ 0 w 6047372"/>
              <a:gd name="connsiteY4" fmla="*/ 2853008 h 3877551"/>
              <a:gd name="connsiteX5" fmla="*/ 235544 w 6047372"/>
              <a:gd name="connsiteY5" fmla="*/ 335737 h 3877551"/>
              <a:gd name="connsiteX0" fmla="*/ 235544 w 6047372"/>
              <a:gd name="connsiteY0" fmla="*/ 335737 h 3867576"/>
              <a:gd name="connsiteX1" fmla="*/ 5035370 w 6047372"/>
              <a:gd name="connsiteY1" fmla="*/ 0 h 3867576"/>
              <a:gd name="connsiteX2" fmla="*/ 6047372 w 6047372"/>
              <a:gd name="connsiteY2" fmla="*/ 1434417 h 3867576"/>
              <a:gd name="connsiteX3" fmla="*/ 3608192 w 6047372"/>
              <a:gd name="connsiteY3" fmla="*/ 3867576 h 3867576"/>
              <a:gd name="connsiteX4" fmla="*/ 0 w 6047372"/>
              <a:gd name="connsiteY4" fmla="*/ 2853008 h 3867576"/>
              <a:gd name="connsiteX5" fmla="*/ 235544 w 6047372"/>
              <a:gd name="connsiteY5" fmla="*/ 335737 h 3867576"/>
              <a:gd name="connsiteX0" fmla="*/ 235544 w 6047372"/>
              <a:gd name="connsiteY0" fmla="*/ 335737 h 3870901"/>
              <a:gd name="connsiteX1" fmla="*/ 5035370 w 6047372"/>
              <a:gd name="connsiteY1" fmla="*/ 0 h 3870901"/>
              <a:gd name="connsiteX2" fmla="*/ 6047372 w 6047372"/>
              <a:gd name="connsiteY2" fmla="*/ 1434417 h 3870901"/>
              <a:gd name="connsiteX3" fmla="*/ 3614842 w 6047372"/>
              <a:gd name="connsiteY3" fmla="*/ 3870901 h 3870901"/>
              <a:gd name="connsiteX4" fmla="*/ 0 w 6047372"/>
              <a:gd name="connsiteY4" fmla="*/ 2853008 h 3870901"/>
              <a:gd name="connsiteX5" fmla="*/ 235544 w 6047372"/>
              <a:gd name="connsiteY5" fmla="*/ 335737 h 3870901"/>
              <a:gd name="connsiteX0" fmla="*/ 235544 w 6047372"/>
              <a:gd name="connsiteY0" fmla="*/ 359013 h 3894177"/>
              <a:gd name="connsiteX1" fmla="*/ 5065296 w 6047372"/>
              <a:gd name="connsiteY1" fmla="*/ 0 h 3894177"/>
              <a:gd name="connsiteX2" fmla="*/ 6047372 w 6047372"/>
              <a:gd name="connsiteY2" fmla="*/ 1457693 h 3894177"/>
              <a:gd name="connsiteX3" fmla="*/ 3614842 w 6047372"/>
              <a:gd name="connsiteY3" fmla="*/ 3894177 h 3894177"/>
              <a:gd name="connsiteX4" fmla="*/ 0 w 6047372"/>
              <a:gd name="connsiteY4" fmla="*/ 2876284 h 3894177"/>
              <a:gd name="connsiteX5" fmla="*/ 235544 w 6047372"/>
              <a:gd name="connsiteY5" fmla="*/ 359013 h 3894177"/>
              <a:gd name="connsiteX0" fmla="*/ 251446 w 6047372"/>
              <a:gd name="connsiteY0" fmla="*/ 0 h 4054649"/>
              <a:gd name="connsiteX1" fmla="*/ 5065296 w 6047372"/>
              <a:gd name="connsiteY1" fmla="*/ 160472 h 4054649"/>
              <a:gd name="connsiteX2" fmla="*/ 6047372 w 6047372"/>
              <a:gd name="connsiteY2" fmla="*/ 1618165 h 4054649"/>
              <a:gd name="connsiteX3" fmla="*/ 3614842 w 6047372"/>
              <a:gd name="connsiteY3" fmla="*/ 4054649 h 4054649"/>
              <a:gd name="connsiteX4" fmla="*/ 0 w 6047372"/>
              <a:gd name="connsiteY4" fmla="*/ 3036756 h 4054649"/>
              <a:gd name="connsiteX5" fmla="*/ 251446 w 6047372"/>
              <a:gd name="connsiteY5" fmla="*/ 0 h 4054649"/>
              <a:gd name="connsiteX0" fmla="*/ 251446 w 6047372"/>
              <a:gd name="connsiteY0" fmla="*/ 0 h 4054649"/>
              <a:gd name="connsiteX1" fmla="*/ 5065296 w 6047372"/>
              <a:gd name="connsiteY1" fmla="*/ 160472 h 4054649"/>
              <a:gd name="connsiteX2" fmla="*/ 6047372 w 6047372"/>
              <a:gd name="connsiteY2" fmla="*/ 1618165 h 4054649"/>
              <a:gd name="connsiteX3" fmla="*/ 3614842 w 6047372"/>
              <a:gd name="connsiteY3" fmla="*/ 4054649 h 4054649"/>
              <a:gd name="connsiteX4" fmla="*/ 0 w 6047372"/>
              <a:gd name="connsiteY4" fmla="*/ 3450224 h 4054649"/>
              <a:gd name="connsiteX5" fmla="*/ 251446 w 6047372"/>
              <a:gd name="connsiteY5" fmla="*/ 0 h 4054649"/>
              <a:gd name="connsiteX0" fmla="*/ 251446 w 6047372"/>
              <a:gd name="connsiteY0" fmla="*/ 0 h 4054649"/>
              <a:gd name="connsiteX1" fmla="*/ 5065296 w 6047372"/>
              <a:gd name="connsiteY1" fmla="*/ 160472 h 4054649"/>
              <a:gd name="connsiteX2" fmla="*/ 6047372 w 6047372"/>
              <a:gd name="connsiteY2" fmla="*/ 1618165 h 4054649"/>
              <a:gd name="connsiteX3" fmla="*/ 3614842 w 6047372"/>
              <a:gd name="connsiteY3" fmla="*/ 4054649 h 4054649"/>
              <a:gd name="connsiteX4" fmla="*/ 0 w 6047372"/>
              <a:gd name="connsiteY4" fmla="*/ 3450224 h 4054649"/>
              <a:gd name="connsiteX5" fmla="*/ 251446 w 6047372"/>
              <a:gd name="connsiteY5" fmla="*/ 0 h 4054649"/>
              <a:gd name="connsiteX0" fmla="*/ 251446 w 6047372"/>
              <a:gd name="connsiteY0" fmla="*/ 0 h 4722558"/>
              <a:gd name="connsiteX1" fmla="*/ 5065296 w 6047372"/>
              <a:gd name="connsiteY1" fmla="*/ 160472 h 4722558"/>
              <a:gd name="connsiteX2" fmla="*/ 6047372 w 6047372"/>
              <a:gd name="connsiteY2" fmla="*/ 1618165 h 4722558"/>
              <a:gd name="connsiteX3" fmla="*/ 3614842 w 6047372"/>
              <a:gd name="connsiteY3" fmla="*/ 4722558 h 4722558"/>
              <a:gd name="connsiteX4" fmla="*/ 0 w 6047372"/>
              <a:gd name="connsiteY4" fmla="*/ 3450224 h 4722558"/>
              <a:gd name="connsiteX5" fmla="*/ 251446 w 6047372"/>
              <a:gd name="connsiteY5" fmla="*/ 0 h 4722558"/>
              <a:gd name="connsiteX0" fmla="*/ 251446 w 6063275"/>
              <a:gd name="connsiteY0" fmla="*/ 0 h 4722558"/>
              <a:gd name="connsiteX1" fmla="*/ 5065296 w 6063275"/>
              <a:gd name="connsiteY1" fmla="*/ 160472 h 4722558"/>
              <a:gd name="connsiteX2" fmla="*/ 6063275 w 6063275"/>
              <a:gd name="connsiteY2" fmla="*/ 1501546 h 4722558"/>
              <a:gd name="connsiteX3" fmla="*/ 3614842 w 6063275"/>
              <a:gd name="connsiteY3" fmla="*/ 4722558 h 4722558"/>
              <a:gd name="connsiteX4" fmla="*/ 0 w 6063275"/>
              <a:gd name="connsiteY4" fmla="*/ 3450224 h 4722558"/>
              <a:gd name="connsiteX5" fmla="*/ 251446 w 6063275"/>
              <a:gd name="connsiteY5" fmla="*/ 0 h 4722558"/>
              <a:gd name="connsiteX0" fmla="*/ 251446 w 6063275"/>
              <a:gd name="connsiteY0" fmla="*/ 0 h 4722558"/>
              <a:gd name="connsiteX1" fmla="*/ 5065296 w 6063275"/>
              <a:gd name="connsiteY1" fmla="*/ 160472 h 4722558"/>
              <a:gd name="connsiteX2" fmla="*/ 6063275 w 6063275"/>
              <a:gd name="connsiteY2" fmla="*/ 1501546 h 4722558"/>
              <a:gd name="connsiteX3" fmla="*/ 3614842 w 6063275"/>
              <a:gd name="connsiteY3" fmla="*/ 4722558 h 4722558"/>
              <a:gd name="connsiteX4" fmla="*/ 0 w 6063275"/>
              <a:gd name="connsiteY4" fmla="*/ 3450224 h 4722558"/>
              <a:gd name="connsiteX5" fmla="*/ 251446 w 6063275"/>
              <a:gd name="connsiteY5" fmla="*/ 0 h 4722558"/>
              <a:gd name="connsiteX0" fmla="*/ 251446 w 6031470"/>
              <a:gd name="connsiteY0" fmla="*/ 0 h 4722558"/>
              <a:gd name="connsiteX1" fmla="*/ 5065296 w 6031470"/>
              <a:gd name="connsiteY1" fmla="*/ 160472 h 4722558"/>
              <a:gd name="connsiteX2" fmla="*/ 6031470 w 6031470"/>
              <a:gd name="connsiteY2" fmla="*/ 1459140 h 4722558"/>
              <a:gd name="connsiteX3" fmla="*/ 3614842 w 6031470"/>
              <a:gd name="connsiteY3" fmla="*/ 4722558 h 4722558"/>
              <a:gd name="connsiteX4" fmla="*/ 0 w 6031470"/>
              <a:gd name="connsiteY4" fmla="*/ 3450224 h 4722558"/>
              <a:gd name="connsiteX5" fmla="*/ 251446 w 6031470"/>
              <a:gd name="connsiteY5" fmla="*/ 0 h 4722558"/>
              <a:gd name="connsiteX0" fmla="*/ 251446 w 6031470"/>
              <a:gd name="connsiteY0" fmla="*/ 454429 h 5176987"/>
              <a:gd name="connsiteX1" fmla="*/ 5073247 w 6031470"/>
              <a:gd name="connsiteY1" fmla="*/ 0 h 5176987"/>
              <a:gd name="connsiteX2" fmla="*/ 6031470 w 6031470"/>
              <a:gd name="connsiteY2" fmla="*/ 1913569 h 5176987"/>
              <a:gd name="connsiteX3" fmla="*/ 3614842 w 6031470"/>
              <a:gd name="connsiteY3" fmla="*/ 5176987 h 5176987"/>
              <a:gd name="connsiteX4" fmla="*/ 0 w 6031470"/>
              <a:gd name="connsiteY4" fmla="*/ 3904653 h 5176987"/>
              <a:gd name="connsiteX5" fmla="*/ 251446 w 6031470"/>
              <a:gd name="connsiteY5" fmla="*/ 454429 h 5176987"/>
              <a:gd name="connsiteX0" fmla="*/ 251446 w 6031470"/>
              <a:gd name="connsiteY0" fmla="*/ 454429 h 5176987"/>
              <a:gd name="connsiteX1" fmla="*/ 5073247 w 6031470"/>
              <a:gd name="connsiteY1" fmla="*/ 0 h 5176987"/>
              <a:gd name="connsiteX2" fmla="*/ 6031470 w 6031470"/>
              <a:gd name="connsiteY2" fmla="*/ 1913569 h 5176987"/>
              <a:gd name="connsiteX3" fmla="*/ 3614842 w 6031470"/>
              <a:gd name="connsiteY3" fmla="*/ 5176987 h 5176987"/>
              <a:gd name="connsiteX4" fmla="*/ 0 w 6031470"/>
              <a:gd name="connsiteY4" fmla="*/ 3904653 h 5176987"/>
              <a:gd name="connsiteX5" fmla="*/ 251446 w 6031470"/>
              <a:gd name="connsiteY5" fmla="*/ 454429 h 5176987"/>
              <a:gd name="connsiteX0" fmla="*/ 251446 w 6055324"/>
              <a:gd name="connsiteY0" fmla="*/ 454429 h 5176987"/>
              <a:gd name="connsiteX1" fmla="*/ 5073247 w 6055324"/>
              <a:gd name="connsiteY1" fmla="*/ 0 h 5176987"/>
              <a:gd name="connsiteX2" fmla="*/ 6055324 w 6055324"/>
              <a:gd name="connsiteY2" fmla="*/ 1924170 h 5176987"/>
              <a:gd name="connsiteX3" fmla="*/ 3614842 w 6055324"/>
              <a:gd name="connsiteY3" fmla="*/ 5176987 h 5176987"/>
              <a:gd name="connsiteX4" fmla="*/ 0 w 6055324"/>
              <a:gd name="connsiteY4" fmla="*/ 3904653 h 5176987"/>
              <a:gd name="connsiteX5" fmla="*/ 251446 w 6055324"/>
              <a:gd name="connsiteY5" fmla="*/ 454429 h 5176987"/>
              <a:gd name="connsiteX0" fmla="*/ 251446 w 6055324"/>
              <a:gd name="connsiteY0" fmla="*/ 454429 h 5176987"/>
              <a:gd name="connsiteX1" fmla="*/ 5073247 w 6055324"/>
              <a:gd name="connsiteY1" fmla="*/ 0 h 5176987"/>
              <a:gd name="connsiteX2" fmla="*/ 6055324 w 6055324"/>
              <a:gd name="connsiteY2" fmla="*/ 1924170 h 5176987"/>
              <a:gd name="connsiteX3" fmla="*/ 3614842 w 6055324"/>
              <a:gd name="connsiteY3" fmla="*/ 5176987 h 5176987"/>
              <a:gd name="connsiteX4" fmla="*/ 0 w 6055324"/>
              <a:gd name="connsiteY4" fmla="*/ 3904653 h 5176987"/>
              <a:gd name="connsiteX5" fmla="*/ 251446 w 6055324"/>
              <a:gd name="connsiteY5" fmla="*/ 454429 h 5176987"/>
              <a:gd name="connsiteX0" fmla="*/ 251446 w 6055324"/>
              <a:gd name="connsiteY0" fmla="*/ 454429 h 5176987"/>
              <a:gd name="connsiteX1" fmla="*/ 5073247 w 6055324"/>
              <a:gd name="connsiteY1" fmla="*/ 0 h 5176987"/>
              <a:gd name="connsiteX2" fmla="*/ 6055324 w 6055324"/>
              <a:gd name="connsiteY2" fmla="*/ 1924170 h 5176987"/>
              <a:gd name="connsiteX3" fmla="*/ 3614842 w 6055324"/>
              <a:gd name="connsiteY3" fmla="*/ 5176987 h 5176987"/>
              <a:gd name="connsiteX4" fmla="*/ 0 w 6055324"/>
              <a:gd name="connsiteY4" fmla="*/ 3904653 h 5176987"/>
              <a:gd name="connsiteX5" fmla="*/ 251446 w 6055324"/>
              <a:gd name="connsiteY5" fmla="*/ 454429 h 5176987"/>
              <a:gd name="connsiteX0" fmla="*/ 235544 w 6039422"/>
              <a:gd name="connsiteY0" fmla="*/ 454429 h 5176987"/>
              <a:gd name="connsiteX1" fmla="*/ 5057345 w 6039422"/>
              <a:gd name="connsiteY1" fmla="*/ 0 h 5176987"/>
              <a:gd name="connsiteX2" fmla="*/ 6039422 w 6039422"/>
              <a:gd name="connsiteY2" fmla="*/ 1924170 h 5176987"/>
              <a:gd name="connsiteX3" fmla="*/ 3598940 w 6039422"/>
              <a:gd name="connsiteY3" fmla="*/ 5176987 h 5176987"/>
              <a:gd name="connsiteX4" fmla="*/ 0 w 6039422"/>
              <a:gd name="connsiteY4" fmla="*/ 3862246 h 5176987"/>
              <a:gd name="connsiteX5" fmla="*/ 235544 w 6039422"/>
              <a:gd name="connsiteY5" fmla="*/ 454429 h 5176987"/>
              <a:gd name="connsiteX0" fmla="*/ 235544 w 6015568"/>
              <a:gd name="connsiteY0" fmla="*/ 454429 h 5176987"/>
              <a:gd name="connsiteX1" fmla="*/ 5057345 w 6015568"/>
              <a:gd name="connsiteY1" fmla="*/ 0 h 5176987"/>
              <a:gd name="connsiteX2" fmla="*/ 6015568 w 6015568"/>
              <a:gd name="connsiteY2" fmla="*/ 1934773 h 5176987"/>
              <a:gd name="connsiteX3" fmla="*/ 3598940 w 6015568"/>
              <a:gd name="connsiteY3" fmla="*/ 5176987 h 5176987"/>
              <a:gd name="connsiteX4" fmla="*/ 0 w 6015568"/>
              <a:gd name="connsiteY4" fmla="*/ 3862246 h 5176987"/>
              <a:gd name="connsiteX5" fmla="*/ 235544 w 6015568"/>
              <a:gd name="connsiteY5" fmla="*/ 454429 h 5176987"/>
              <a:gd name="connsiteX0" fmla="*/ 235544 w 6015568"/>
              <a:gd name="connsiteY0" fmla="*/ 454429 h 5176987"/>
              <a:gd name="connsiteX1" fmla="*/ 5057345 w 6015568"/>
              <a:gd name="connsiteY1" fmla="*/ 0 h 5176987"/>
              <a:gd name="connsiteX2" fmla="*/ 6015568 w 6015568"/>
              <a:gd name="connsiteY2" fmla="*/ 1955976 h 5176987"/>
              <a:gd name="connsiteX3" fmla="*/ 3598940 w 6015568"/>
              <a:gd name="connsiteY3" fmla="*/ 5176987 h 5176987"/>
              <a:gd name="connsiteX4" fmla="*/ 0 w 6015568"/>
              <a:gd name="connsiteY4" fmla="*/ 3862246 h 5176987"/>
              <a:gd name="connsiteX5" fmla="*/ 235544 w 6015568"/>
              <a:gd name="connsiteY5" fmla="*/ 454429 h 5176987"/>
              <a:gd name="connsiteX0" fmla="*/ 235544 w 6031471"/>
              <a:gd name="connsiteY0" fmla="*/ 454429 h 5176987"/>
              <a:gd name="connsiteX1" fmla="*/ 5057345 w 6031471"/>
              <a:gd name="connsiteY1" fmla="*/ 0 h 5176987"/>
              <a:gd name="connsiteX2" fmla="*/ 6031471 w 6031471"/>
              <a:gd name="connsiteY2" fmla="*/ 1966577 h 5176987"/>
              <a:gd name="connsiteX3" fmla="*/ 3598940 w 6031471"/>
              <a:gd name="connsiteY3" fmla="*/ 5176987 h 5176987"/>
              <a:gd name="connsiteX4" fmla="*/ 0 w 6031471"/>
              <a:gd name="connsiteY4" fmla="*/ 3862246 h 5176987"/>
              <a:gd name="connsiteX5" fmla="*/ 235544 w 6031471"/>
              <a:gd name="connsiteY5" fmla="*/ 454429 h 5176987"/>
              <a:gd name="connsiteX0" fmla="*/ 235544 w 6031471"/>
              <a:gd name="connsiteY0" fmla="*/ 454429 h 5176987"/>
              <a:gd name="connsiteX1" fmla="*/ 5057345 w 6031471"/>
              <a:gd name="connsiteY1" fmla="*/ 0 h 5176987"/>
              <a:gd name="connsiteX2" fmla="*/ 6031471 w 6031471"/>
              <a:gd name="connsiteY2" fmla="*/ 1966577 h 5176987"/>
              <a:gd name="connsiteX3" fmla="*/ 3598940 w 6031471"/>
              <a:gd name="connsiteY3" fmla="*/ 5176987 h 5176987"/>
              <a:gd name="connsiteX4" fmla="*/ 0 w 6031471"/>
              <a:gd name="connsiteY4" fmla="*/ 3862246 h 5176987"/>
              <a:gd name="connsiteX5" fmla="*/ 235544 w 6031471"/>
              <a:gd name="connsiteY5" fmla="*/ 454429 h 5176987"/>
              <a:gd name="connsiteX0" fmla="*/ 252170 w 6048097"/>
              <a:gd name="connsiteY0" fmla="*/ 454429 h 5176987"/>
              <a:gd name="connsiteX1" fmla="*/ 5073971 w 6048097"/>
              <a:gd name="connsiteY1" fmla="*/ 0 h 5176987"/>
              <a:gd name="connsiteX2" fmla="*/ 6048097 w 6048097"/>
              <a:gd name="connsiteY2" fmla="*/ 1966577 h 5176987"/>
              <a:gd name="connsiteX3" fmla="*/ 3615566 w 6048097"/>
              <a:gd name="connsiteY3" fmla="*/ 5176987 h 5176987"/>
              <a:gd name="connsiteX4" fmla="*/ 0 w 6048097"/>
              <a:gd name="connsiteY4" fmla="*/ 3913970 h 5176987"/>
              <a:gd name="connsiteX5" fmla="*/ 252170 w 6048097"/>
              <a:gd name="connsiteY5" fmla="*/ 454429 h 5176987"/>
              <a:gd name="connsiteX0" fmla="*/ 252170 w 6048097"/>
              <a:gd name="connsiteY0" fmla="*/ 454429 h 5176987"/>
              <a:gd name="connsiteX1" fmla="*/ 5073971 w 6048097"/>
              <a:gd name="connsiteY1" fmla="*/ 0 h 5176987"/>
              <a:gd name="connsiteX2" fmla="*/ 6048097 w 6048097"/>
              <a:gd name="connsiteY2" fmla="*/ 1966577 h 5176987"/>
              <a:gd name="connsiteX3" fmla="*/ 3615566 w 6048097"/>
              <a:gd name="connsiteY3" fmla="*/ 5176987 h 5176987"/>
              <a:gd name="connsiteX4" fmla="*/ 0 w 6048097"/>
              <a:gd name="connsiteY4" fmla="*/ 3913970 h 5176987"/>
              <a:gd name="connsiteX5" fmla="*/ 252170 w 6048097"/>
              <a:gd name="connsiteY5" fmla="*/ 454429 h 5176987"/>
              <a:gd name="connsiteX0" fmla="*/ 252170 w 6048097"/>
              <a:gd name="connsiteY0" fmla="*/ 454429 h 5176987"/>
              <a:gd name="connsiteX1" fmla="*/ 5073971 w 6048097"/>
              <a:gd name="connsiteY1" fmla="*/ 0 h 5176987"/>
              <a:gd name="connsiteX2" fmla="*/ 6048097 w 6048097"/>
              <a:gd name="connsiteY2" fmla="*/ 1966577 h 5176987"/>
              <a:gd name="connsiteX3" fmla="*/ 3615566 w 6048097"/>
              <a:gd name="connsiteY3" fmla="*/ 5176987 h 5176987"/>
              <a:gd name="connsiteX4" fmla="*/ 0 w 6048097"/>
              <a:gd name="connsiteY4" fmla="*/ 3913970 h 5176987"/>
              <a:gd name="connsiteX5" fmla="*/ 252170 w 6048097"/>
              <a:gd name="connsiteY5" fmla="*/ 454429 h 5176987"/>
              <a:gd name="connsiteX0" fmla="*/ 252170 w 6048097"/>
              <a:gd name="connsiteY0" fmla="*/ 454429 h 5176987"/>
              <a:gd name="connsiteX1" fmla="*/ 5073971 w 6048097"/>
              <a:gd name="connsiteY1" fmla="*/ 0 h 5176987"/>
              <a:gd name="connsiteX2" fmla="*/ 6048097 w 6048097"/>
              <a:gd name="connsiteY2" fmla="*/ 1966577 h 5176987"/>
              <a:gd name="connsiteX3" fmla="*/ 3615566 w 6048097"/>
              <a:gd name="connsiteY3" fmla="*/ 5176987 h 5176987"/>
              <a:gd name="connsiteX4" fmla="*/ 0 w 6048097"/>
              <a:gd name="connsiteY4" fmla="*/ 3913970 h 5176987"/>
              <a:gd name="connsiteX5" fmla="*/ 252170 w 6048097"/>
              <a:gd name="connsiteY5" fmla="*/ 454429 h 5176987"/>
              <a:gd name="connsiteX0" fmla="*/ 167110 w 5963037"/>
              <a:gd name="connsiteY0" fmla="*/ 454429 h 5176987"/>
              <a:gd name="connsiteX1" fmla="*/ 4988911 w 5963037"/>
              <a:gd name="connsiteY1" fmla="*/ 0 h 5176987"/>
              <a:gd name="connsiteX2" fmla="*/ 5963037 w 5963037"/>
              <a:gd name="connsiteY2" fmla="*/ 1966577 h 5176987"/>
              <a:gd name="connsiteX3" fmla="*/ 3530506 w 5963037"/>
              <a:gd name="connsiteY3" fmla="*/ 5176987 h 5176987"/>
              <a:gd name="connsiteX4" fmla="*/ 0 w 5963037"/>
              <a:gd name="connsiteY4" fmla="*/ 3758026 h 5176987"/>
              <a:gd name="connsiteX5" fmla="*/ 167110 w 5963037"/>
              <a:gd name="connsiteY5" fmla="*/ 454429 h 5176987"/>
              <a:gd name="connsiteX0" fmla="*/ 241538 w 6037465"/>
              <a:gd name="connsiteY0" fmla="*/ 454429 h 5176987"/>
              <a:gd name="connsiteX1" fmla="*/ 5063339 w 6037465"/>
              <a:gd name="connsiteY1" fmla="*/ 0 h 5176987"/>
              <a:gd name="connsiteX2" fmla="*/ 6037465 w 6037465"/>
              <a:gd name="connsiteY2" fmla="*/ 1966577 h 5176987"/>
              <a:gd name="connsiteX3" fmla="*/ 3604934 w 6037465"/>
              <a:gd name="connsiteY3" fmla="*/ 5176987 h 5176987"/>
              <a:gd name="connsiteX4" fmla="*/ 0 w 6037465"/>
              <a:gd name="connsiteY4" fmla="*/ 3885617 h 5176987"/>
              <a:gd name="connsiteX5" fmla="*/ 241538 w 6037465"/>
              <a:gd name="connsiteY5" fmla="*/ 454429 h 5176987"/>
              <a:gd name="connsiteX0" fmla="*/ 241538 w 6037465"/>
              <a:gd name="connsiteY0" fmla="*/ 454429 h 4907628"/>
              <a:gd name="connsiteX1" fmla="*/ 5063339 w 6037465"/>
              <a:gd name="connsiteY1" fmla="*/ 0 h 4907628"/>
              <a:gd name="connsiteX2" fmla="*/ 6037465 w 6037465"/>
              <a:gd name="connsiteY2" fmla="*/ 1966577 h 4907628"/>
              <a:gd name="connsiteX3" fmla="*/ 3466711 w 6037465"/>
              <a:gd name="connsiteY3" fmla="*/ 4907628 h 4907628"/>
              <a:gd name="connsiteX4" fmla="*/ 0 w 6037465"/>
              <a:gd name="connsiteY4" fmla="*/ 3885617 h 4907628"/>
              <a:gd name="connsiteX5" fmla="*/ 241538 w 6037465"/>
              <a:gd name="connsiteY5" fmla="*/ 454429 h 4907628"/>
              <a:gd name="connsiteX0" fmla="*/ 241538 w 6037465"/>
              <a:gd name="connsiteY0" fmla="*/ 454429 h 5247869"/>
              <a:gd name="connsiteX1" fmla="*/ 5063339 w 6037465"/>
              <a:gd name="connsiteY1" fmla="*/ 0 h 5247869"/>
              <a:gd name="connsiteX2" fmla="*/ 6037465 w 6037465"/>
              <a:gd name="connsiteY2" fmla="*/ 1966577 h 5247869"/>
              <a:gd name="connsiteX3" fmla="*/ 3604934 w 6037465"/>
              <a:gd name="connsiteY3" fmla="*/ 5247869 h 5247869"/>
              <a:gd name="connsiteX4" fmla="*/ 0 w 6037465"/>
              <a:gd name="connsiteY4" fmla="*/ 3885617 h 5247869"/>
              <a:gd name="connsiteX5" fmla="*/ 241538 w 6037465"/>
              <a:gd name="connsiteY5" fmla="*/ 454429 h 5247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37465" h="5247869">
                <a:moveTo>
                  <a:pt x="241538" y="454429"/>
                </a:moveTo>
                <a:lnTo>
                  <a:pt x="5063339" y="0"/>
                </a:lnTo>
                <a:lnTo>
                  <a:pt x="6037465" y="1966577"/>
                </a:lnTo>
                <a:lnTo>
                  <a:pt x="3604934" y="5247869"/>
                </a:lnTo>
                <a:lnTo>
                  <a:pt x="0" y="3885617"/>
                </a:lnTo>
                <a:cubicBezTo>
                  <a:pt x="64395" y="2945397"/>
                  <a:pt x="170927" y="1474518"/>
                  <a:pt x="241538" y="454429"/>
                </a:cubicBezTo>
                <a:close/>
              </a:path>
            </a:pathLst>
          </a:custGeom>
          <a:ln w="19050">
            <a:solidFill>
              <a:schemeClr val="bg1"/>
            </a:solidFill>
          </a:ln>
        </p:spPr>
        <p:txBody>
          <a:bodyPr wrap="square" lIns="432000" tIns="1044000" rIns="792000" bIns="72000" rtlCol="0"/>
          <a:lstStyle>
            <a:lvl1pPr algn="ctr">
              <a:lnSpc>
                <a:spcPts val="3733"/>
              </a:lnSpc>
              <a:defRPr sz="3200" cap="all" baseline="0">
                <a:solidFill>
                  <a:schemeClr val="bg1"/>
                </a:solidFill>
              </a:defRPr>
            </a:lvl1pPr>
          </a:lstStyle>
          <a:p>
            <a:pPr rtl="0"/>
            <a:r>
              <a:rPr lang="ru"/>
              <a:t>Click to edit Master title style</a:t>
            </a: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68F66BB7-3A5C-4443-ABA2-99B015F73338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0977" y="4579922"/>
            <a:ext cx="1689596" cy="913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733655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36000" y="6405331"/>
            <a:ext cx="432000" cy="288000"/>
          </a:xfrm>
          <a:prstGeom prst="rect">
            <a:avLst/>
          </a:prstGeom>
        </p:spPr>
        <p:txBody>
          <a:bodyPr rtlCol="0"/>
          <a:lstStyle/>
          <a:p>
            <a:pPr defTabSz="1219170" rtl="0"/>
            <a:fld id="{21BB9E08-7A8D-4163-9909-5D41B3E1A857}" type="slidenum">
              <a:rPr lang="en-GB" smtClean="0"/>
              <a:pPr defTabSz="1219170"/>
              <a:t>‹#›</a:t>
            </a:fld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4"/>
          </p:nvPr>
        </p:nvSpPr>
        <p:spPr>
          <a:xfrm>
            <a:off x="865718" y="1176001"/>
            <a:ext cx="8494645" cy="341184"/>
          </a:xfrm>
        </p:spPr>
        <p:txBody>
          <a:bodyPr vert="horz" lIns="0" tIns="0" rIns="0" bIns="0" rtlCol="0" anchor="t" anchorCtr="0">
            <a:spAutoFit/>
          </a:bodyPr>
          <a:lstStyle>
            <a:lvl1pPr>
              <a:defRPr lang="de-CH" sz="2133" dirty="0">
                <a:solidFill>
                  <a:schemeClr val="tx1"/>
                </a:solidFill>
              </a:defRPr>
            </a:lvl1pPr>
          </a:lstStyle>
          <a:p>
            <a:pPr lvl="0" rtl="0">
              <a:lnSpc>
                <a:spcPts val="2880"/>
              </a:lnSpc>
              <a:spcAft>
                <a:spcPts val="0"/>
              </a:spcAft>
            </a:pPr>
            <a:r>
              <a:rPr lang="ru"/>
              <a:t>Click to edit Master subtitle sty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ru"/>
              <a:t>Click to edit Master title styl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5"/>
          </p:nvPr>
        </p:nvSpPr>
        <p:spPr>
          <a:xfrm>
            <a:off x="864000" y="1892300"/>
            <a:ext cx="9456469" cy="4032979"/>
          </a:xfrm>
        </p:spPr>
        <p:txBody>
          <a:bodyPr rtlCol="0"/>
          <a:lstStyle/>
          <a:p>
            <a:pPr lvl="0" rtl="0"/>
            <a:r>
              <a:rPr lang="ru"/>
              <a:t>Click to edit Master text styles</a:t>
            </a:r>
          </a:p>
          <a:p>
            <a:pPr lvl="1" rtl="0"/>
            <a:r>
              <a:rPr lang="ru"/>
              <a:t>Second level</a:t>
            </a:r>
          </a:p>
          <a:p>
            <a:pPr lvl="2" rtl="0"/>
            <a:r>
              <a:rPr lang="ru"/>
              <a:t>Third level</a:t>
            </a:r>
          </a:p>
          <a:p>
            <a:pPr lvl="3" rtl="0"/>
            <a:r>
              <a:rPr lang="ru"/>
              <a:t>Fourth level</a:t>
            </a:r>
          </a:p>
          <a:p>
            <a:pPr lvl="4" rtl="0"/>
            <a:r>
              <a:rPr lang="ru"/>
              <a:t>Fifth level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BBF674AE-BC63-4F1C-AE3D-45DCF5DF64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2188" y="6237288"/>
            <a:ext cx="8368175" cy="484187"/>
          </a:xfrm>
        </p:spPr>
        <p:txBody>
          <a:bodyPr rtlCol="0"/>
          <a:lstStyle>
            <a:lvl1pPr>
              <a:spcAft>
                <a:spcPts val="0"/>
              </a:spcAft>
              <a:defRPr sz="800" cap="none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800">
                <a:solidFill>
                  <a:schemeClr val="tx1"/>
                </a:solidFill>
              </a:defRPr>
            </a:lvl2pPr>
            <a:lvl3pPr>
              <a:defRPr sz="11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 rtl="0"/>
            <a:r>
              <a:rPr lang="ru"/>
              <a:t>Click to edit master text styles</a:t>
            </a:r>
          </a:p>
          <a:p>
            <a:pPr lvl="1" rt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08411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 preserve="1" userDrawn="1">
  <p:cSld name="Divider">
    <p:bg>
      <p:bgPr>
        <a:gradFill>
          <a:gsLst>
            <a:gs pos="0">
              <a:schemeClr val="tx2"/>
            </a:gs>
            <a:gs pos="100000">
              <a:schemeClr val="bg2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hider"/>
          <p:cNvSpPr/>
          <p:nvPr userDrawn="1">
            <p:custDataLst>
              <p:tags r:id="rId2"/>
            </p:custDataLst>
          </p:nvPr>
        </p:nvSpPr>
        <p:spPr>
          <a:xfrm>
            <a:off x="821" y="6191309"/>
            <a:ext cx="12191180" cy="666691"/>
          </a:xfrm>
          <a:prstGeom prst="rect">
            <a:avLst/>
          </a:prstGeom>
          <a:solidFill>
            <a:srgbClr val="FFFFF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336000" y="6405331"/>
            <a:ext cx="432000" cy="288000"/>
          </a:xfrm>
          <a:prstGeom prst="rect">
            <a:avLst/>
          </a:prstGeom>
        </p:spPr>
        <p:txBody>
          <a:bodyPr rtlCol="0"/>
          <a:lstStyle/>
          <a:p>
            <a:pPr defTabSz="1219170" rtl="0"/>
            <a:fld id="{B62602F3-AC31-474D-8C5A-4192891678E3}" type="slidenum">
              <a:rPr lang="en-GB" smtClean="0"/>
              <a:pPr defTabSz="1219170"/>
              <a:t>‹#›</a:t>
            </a:fld>
            <a:endParaRPr lang="en-GB" dirty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0" y="6191309"/>
            <a:ext cx="12192000" cy="0"/>
          </a:xfrm>
          <a:prstGeom prst="line">
            <a:avLst/>
          </a:prstGeom>
          <a:ln w="12700">
            <a:solidFill>
              <a:srgbClr val="E5004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rtl="0"/>
            <a:r>
              <a:rPr lang="ru"/>
              <a:t>Click to edit Master title 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4"/>
          </p:nvPr>
        </p:nvSpPr>
        <p:spPr>
          <a:xfrm>
            <a:off x="865718" y="1176001"/>
            <a:ext cx="8494645" cy="341184"/>
          </a:xfrm>
        </p:spPr>
        <p:txBody>
          <a:bodyPr vert="horz" lIns="0" tIns="0" rIns="0" bIns="0" rtlCol="0" anchor="t" anchorCtr="0">
            <a:spAutoFit/>
          </a:bodyPr>
          <a:lstStyle>
            <a:lvl1pPr>
              <a:defRPr lang="de-CH" sz="2133" dirty="0">
                <a:solidFill>
                  <a:srgbClr val="FFFFFF"/>
                </a:solidFill>
              </a:defRPr>
            </a:lvl1pPr>
          </a:lstStyle>
          <a:p>
            <a:pPr lvl="0" rtl="0">
              <a:lnSpc>
                <a:spcPts val="2880"/>
              </a:lnSpc>
              <a:spcAft>
                <a:spcPts val="0"/>
              </a:spcAft>
            </a:pPr>
            <a:r>
              <a:rPr lang="ru"/>
              <a:t>Click to edit Master subtitle style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7223026C-6FC9-4F94-AC7B-BE28284CC0D6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3622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993386"/>
      </p:ext>
    </p:extLst>
  </p:cSld>
  <p:clrMapOvr>
    <a:masterClrMapping/>
  </p:clrMapOvr>
  <p:hf hdr="0" ftr="0" dt="0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64000" y="1892301"/>
            <a:ext cx="9456867" cy="4032249"/>
          </a:xfrm>
        </p:spPr>
        <p:txBody>
          <a:bodyPr rtlCol="0"/>
          <a:lstStyle>
            <a:lvl1pPr marL="239994" indent="-239994">
              <a:spcAft>
                <a:spcPts val="1067"/>
              </a:spcAft>
              <a:buFont typeface="Wingdings" panose="05000000000000000000" pitchFamily="2" charset="2"/>
              <a:buChar char="§"/>
              <a:defRPr cap="none" baseline="0">
                <a:solidFill>
                  <a:srgbClr val="0F1539"/>
                </a:solidFill>
              </a:defRPr>
            </a:lvl1pPr>
            <a:lvl2pPr marL="479988" indent="-239994">
              <a:buFont typeface="Symbol" panose="05050102010706020507" pitchFamily="18" charset="2"/>
              <a:buChar char="-"/>
              <a:defRPr cap="none" baseline="0"/>
            </a:lvl2pPr>
            <a:lvl3pPr marL="719982" indent="-241294">
              <a:buFont typeface="Arial" panose="020B0604020202020204" pitchFamily="34" charset="0"/>
              <a:buChar char="&gt;"/>
              <a:defRPr cap="none" baseline="0"/>
            </a:lvl3pPr>
            <a:lvl4pPr marL="959976" indent="-241294">
              <a:buFont typeface="Arial" panose="020B0604020202020204" pitchFamily="34" charset="0"/>
              <a:buChar char="&gt;"/>
              <a:defRPr cap="none" baseline="0"/>
            </a:lvl4pPr>
            <a:lvl5pPr marL="1199970">
              <a:defRPr cap="none" baseline="0"/>
            </a:lvl5pPr>
          </a:lstStyle>
          <a:p>
            <a:pPr lvl="0" rtl="0"/>
            <a:r>
              <a:rPr lang="ru"/>
              <a:t>Click to edit Master text styles</a:t>
            </a:r>
          </a:p>
          <a:p>
            <a:pPr lvl="1" rtl="0"/>
            <a:r>
              <a:rPr lang="ru"/>
              <a:t>Second level</a:t>
            </a:r>
          </a:p>
          <a:p>
            <a:pPr lvl="2" rtl="0"/>
            <a:r>
              <a:rPr lang="ru"/>
              <a:t>Third level</a:t>
            </a:r>
          </a:p>
          <a:p>
            <a:pPr lvl="3" rtl="0"/>
            <a:r>
              <a:rPr lang="ru"/>
              <a:t>Fourth level</a:t>
            </a:r>
          </a:p>
          <a:p>
            <a:pPr lvl="4" rtl="0"/>
            <a:r>
              <a:rPr lang="ru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36000" y="6405331"/>
            <a:ext cx="432000" cy="288000"/>
          </a:xfrm>
          <a:prstGeom prst="rect">
            <a:avLst/>
          </a:prstGeom>
        </p:spPr>
        <p:txBody>
          <a:bodyPr rtlCol="0"/>
          <a:lstStyle/>
          <a:p>
            <a:pPr defTabSz="1219170" rtl="0"/>
            <a:fld id="{F7045E8D-DC47-4AFA-976F-B987BEC0A896}" type="slidenum">
              <a:rPr lang="en-GB" smtClean="0"/>
              <a:pPr defTabSz="1219170"/>
              <a:t>‹#›</a:t>
            </a:fld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4"/>
          </p:nvPr>
        </p:nvSpPr>
        <p:spPr>
          <a:xfrm>
            <a:off x="865718" y="1176001"/>
            <a:ext cx="8494645" cy="341184"/>
          </a:xfrm>
        </p:spPr>
        <p:txBody>
          <a:bodyPr vert="horz" lIns="0" tIns="0" rIns="0" bIns="0" rtlCol="0" anchor="t" anchorCtr="0">
            <a:spAutoFit/>
          </a:bodyPr>
          <a:lstStyle>
            <a:lvl1pPr>
              <a:defRPr lang="de-CH" sz="2133" dirty="0">
                <a:solidFill>
                  <a:schemeClr val="tx1"/>
                </a:solidFill>
              </a:defRPr>
            </a:lvl1pPr>
          </a:lstStyle>
          <a:p>
            <a:pPr lvl="0" rtl="0">
              <a:lnSpc>
                <a:spcPts val="2880"/>
              </a:lnSpc>
              <a:spcAft>
                <a:spcPts val="0"/>
              </a:spcAft>
            </a:pPr>
            <a:r>
              <a:rPr lang="ru"/>
              <a:t>Click to edit Master subtitle sty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ru"/>
              <a:t>Click to edit Master title style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58BF08BB-F0C2-4245-8367-EA4958E29B0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2188" y="6237288"/>
            <a:ext cx="8368175" cy="484187"/>
          </a:xfrm>
        </p:spPr>
        <p:txBody>
          <a:bodyPr rtlCol="0"/>
          <a:lstStyle>
            <a:lvl1pPr>
              <a:spcAft>
                <a:spcPts val="0"/>
              </a:spcAft>
              <a:defRPr sz="800" cap="none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800">
                <a:solidFill>
                  <a:schemeClr val="tx1"/>
                </a:solidFill>
              </a:defRPr>
            </a:lvl2pPr>
            <a:lvl3pPr>
              <a:defRPr sz="11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 rtl="0"/>
            <a:r>
              <a:rPr lang="ru"/>
              <a:t>Click to edit master text styles</a:t>
            </a:r>
          </a:p>
          <a:p>
            <a:pPr lvl="1" rt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1585754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36000" y="6405331"/>
            <a:ext cx="432000" cy="288000"/>
          </a:xfrm>
          <a:prstGeom prst="rect">
            <a:avLst/>
          </a:prstGeom>
        </p:spPr>
        <p:txBody>
          <a:bodyPr rtlCol="0"/>
          <a:lstStyle/>
          <a:p>
            <a:pPr defTabSz="1219170" rtl="0"/>
            <a:fld id="{F7045E8D-DC47-4AFA-976F-B987BEC0A896}" type="slidenum">
              <a:rPr lang="en-GB" smtClean="0"/>
              <a:pPr defTabSz="1219170"/>
              <a:t>‹#›</a:t>
            </a:fld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4"/>
          </p:nvPr>
        </p:nvSpPr>
        <p:spPr>
          <a:xfrm>
            <a:off x="865718" y="1176001"/>
            <a:ext cx="8494645" cy="341184"/>
          </a:xfrm>
        </p:spPr>
        <p:txBody>
          <a:bodyPr vert="horz" lIns="0" tIns="0" rIns="0" bIns="0" rtlCol="0" anchor="t" anchorCtr="0">
            <a:spAutoFit/>
          </a:bodyPr>
          <a:lstStyle>
            <a:lvl1pPr>
              <a:defRPr lang="de-CH" sz="2133" dirty="0">
                <a:solidFill>
                  <a:schemeClr val="tx1"/>
                </a:solidFill>
              </a:defRPr>
            </a:lvl1pPr>
          </a:lstStyle>
          <a:p>
            <a:pPr lvl="0" rtl="0">
              <a:lnSpc>
                <a:spcPts val="2880"/>
              </a:lnSpc>
              <a:spcAft>
                <a:spcPts val="0"/>
              </a:spcAft>
            </a:pPr>
            <a:r>
              <a:rPr lang="ru"/>
              <a:t>Click to edit Master subtitle sty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ru"/>
              <a:t>Click to edit Master title style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58BF08BB-F0C2-4245-8367-EA4958E29B0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2188" y="6237288"/>
            <a:ext cx="8368175" cy="484187"/>
          </a:xfrm>
        </p:spPr>
        <p:txBody>
          <a:bodyPr rtlCol="0"/>
          <a:lstStyle>
            <a:lvl1pPr>
              <a:spcAft>
                <a:spcPts val="0"/>
              </a:spcAft>
              <a:defRPr sz="800" cap="none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800">
                <a:solidFill>
                  <a:schemeClr val="tx1"/>
                </a:solidFill>
              </a:defRPr>
            </a:lvl2pPr>
            <a:lvl3pPr>
              <a:defRPr sz="11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 rtl="0"/>
            <a:r>
              <a:rPr lang="ru"/>
              <a:t>Click to edit master text styles</a:t>
            </a:r>
          </a:p>
          <a:p>
            <a:pPr lvl="1" rt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451911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36000" y="6405331"/>
            <a:ext cx="432000" cy="288000"/>
          </a:xfrm>
          <a:prstGeom prst="rect">
            <a:avLst/>
          </a:prstGeom>
        </p:spPr>
        <p:txBody>
          <a:bodyPr rtlCol="0"/>
          <a:lstStyle/>
          <a:p>
            <a:pPr defTabSz="1219170" rtl="0"/>
            <a:fld id="{93A79D80-1920-4F20-94A7-31A60ECAB552}" type="slidenum">
              <a:rPr lang="en-GB" smtClean="0"/>
              <a:pPr defTabSz="1219170"/>
              <a:t>‹#›</a:t>
            </a:fld>
            <a:endParaRPr lang="en-GB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5"/>
          </p:nvPr>
        </p:nvSpPr>
        <p:spPr>
          <a:xfrm>
            <a:off x="865718" y="1176001"/>
            <a:ext cx="8494645" cy="341184"/>
          </a:xfrm>
        </p:spPr>
        <p:txBody>
          <a:bodyPr vert="horz" lIns="0" tIns="0" rIns="0" bIns="0" rtlCol="0" anchor="t" anchorCtr="0">
            <a:spAutoFit/>
          </a:bodyPr>
          <a:lstStyle>
            <a:lvl1pPr>
              <a:defRPr lang="de-CH" sz="2133" dirty="0">
                <a:solidFill>
                  <a:schemeClr val="tx1"/>
                </a:solidFill>
              </a:defRPr>
            </a:lvl1pPr>
          </a:lstStyle>
          <a:p>
            <a:pPr lvl="0" rtl="0">
              <a:lnSpc>
                <a:spcPts val="2880"/>
              </a:lnSpc>
              <a:spcAft>
                <a:spcPts val="0"/>
              </a:spcAft>
            </a:pPr>
            <a:r>
              <a:rPr lang="ru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square" rtlCol="0"/>
          <a:lstStyle/>
          <a:p>
            <a:pPr rtl="0"/>
            <a:r>
              <a:rPr lang="ru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861485" y="1892300"/>
            <a:ext cx="5040000" cy="4032251"/>
          </a:xfrm>
        </p:spPr>
        <p:txBody>
          <a:bodyPr rtlCol="0"/>
          <a:lstStyle/>
          <a:p>
            <a:pPr lvl="0" rtl="0"/>
            <a:r>
              <a:rPr lang="ru"/>
              <a:t>Click to edit Master text styles</a:t>
            </a:r>
          </a:p>
          <a:p>
            <a:pPr lvl="1" rtl="0"/>
            <a:r>
              <a:rPr lang="ru"/>
              <a:t>Second level</a:t>
            </a:r>
          </a:p>
          <a:p>
            <a:pPr lvl="2" rtl="0"/>
            <a:r>
              <a:rPr lang="ru"/>
              <a:t>Third level</a:t>
            </a:r>
          </a:p>
          <a:p>
            <a:pPr lvl="3" rtl="0"/>
            <a:r>
              <a:rPr lang="ru"/>
              <a:t>Fourth level</a:t>
            </a:r>
          </a:p>
          <a:p>
            <a:pPr lvl="4" rtl="0"/>
            <a:r>
              <a:rPr lang="ru"/>
              <a:t>Fifth level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7"/>
          </p:nvPr>
        </p:nvSpPr>
        <p:spPr>
          <a:xfrm>
            <a:off x="6290517" y="1892300"/>
            <a:ext cx="5040000" cy="4032251"/>
          </a:xfrm>
        </p:spPr>
        <p:txBody>
          <a:bodyPr rtlCol="0"/>
          <a:lstStyle/>
          <a:p>
            <a:pPr lvl="0" rtl="0"/>
            <a:r>
              <a:rPr lang="ru"/>
              <a:t>Click to edit Master text styles</a:t>
            </a:r>
          </a:p>
          <a:p>
            <a:pPr lvl="1" rtl="0"/>
            <a:r>
              <a:rPr lang="ru"/>
              <a:t>Second level</a:t>
            </a:r>
          </a:p>
          <a:p>
            <a:pPr lvl="2" rtl="0"/>
            <a:r>
              <a:rPr lang="ru"/>
              <a:t>Third level</a:t>
            </a:r>
          </a:p>
          <a:p>
            <a:pPr lvl="3" rtl="0"/>
            <a:r>
              <a:rPr lang="ru"/>
              <a:t>Fourth level</a:t>
            </a:r>
          </a:p>
          <a:p>
            <a:pPr lvl="4" rtl="0"/>
            <a:r>
              <a:rPr lang="ru"/>
              <a:t>Fifth level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4E5DD394-3821-4E30-905C-4C4E7F1450D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92188" y="6237288"/>
            <a:ext cx="8368175" cy="484187"/>
          </a:xfrm>
        </p:spPr>
        <p:txBody>
          <a:bodyPr rtlCol="0"/>
          <a:lstStyle>
            <a:lvl1pPr>
              <a:spcAft>
                <a:spcPts val="0"/>
              </a:spcAft>
              <a:defRPr sz="800" cap="none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800">
                <a:solidFill>
                  <a:schemeClr val="tx1"/>
                </a:solidFill>
              </a:defRPr>
            </a:lvl2pPr>
            <a:lvl3pPr>
              <a:defRPr sz="11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 rtl="0"/>
            <a:r>
              <a:rPr lang="ru"/>
              <a:t>Click to edit master text styles</a:t>
            </a:r>
          </a:p>
          <a:p>
            <a:pPr lvl="1" rt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885148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 with Bullets" preserve="1" userDrawn="1">
  <p:cSld name="Two 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61485" y="1892300"/>
            <a:ext cx="5040000" cy="4032251"/>
          </a:xfrm>
        </p:spPr>
        <p:txBody>
          <a:bodyPr rtlCol="0"/>
          <a:lstStyle>
            <a:lvl1pPr marL="239994" indent="-239994">
              <a:spcAft>
                <a:spcPts val="1067"/>
              </a:spcAft>
              <a:buFont typeface="Wingdings" panose="05000000000000000000" pitchFamily="2" charset="2"/>
              <a:buChar char="§"/>
              <a:defRPr cap="none" baseline="0">
                <a:solidFill>
                  <a:srgbClr val="0F1539"/>
                </a:solidFill>
              </a:defRPr>
            </a:lvl1pPr>
            <a:lvl2pPr marL="479988" indent="-239994">
              <a:buFont typeface="Symbol" panose="05050102010706020507" pitchFamily="18" charset="2"/>
              <a:buChar char="-"/>
              <a:defRPr/>
            </a:lvl2pPr>
            <a:lvl3pPr marL="719982" indent="-241294">
              <a:buFont typeface="Arial" panose="020B0604020202020204" pitchFamily="34" charset="0"/>
              <a:buChar char="&gt;"/>
              <a:defRPr/>
            </a:lvl3pPr>
            <a:lvl4pPr marL="959976" indent="-241294">
              <a:buFont typeface="Arial" panose="020B0604020202020204" pitchFamily="34" charset="0"/>
              <a:buChar char="&gt;"/>
              <a:defRPr/>
            </a:lvl4pPr>
            <a:lvl5pPr marL="1199970">
              <a:defRPr/>
            </a:lvl5pPr>
          </a:lstStyle>
          <a:p>
            <a:pPr lvl="0" rtl="0"/>
            <a:r>
              <a:rPr lang="ru"/>
              <a:t>Click to edit Master text styles</a:t>
            </a:r>
          </a:p>
          <a:p>
            <a:pPr lvl="1" rtl="0"/>
            <a:r>
              <a:rPr lang="ru"/>
              <a:t>Second level</a:t>
            </a:r>
          </a:p>
          <a:p>
            <a:pPr lvl="2" rtl="0"/>
            <a:r>
              <a:rPr lang="ru"/>
              <a:t>Third level</a:t>
            </a:r>
          </a:p>
          <a:p>
            <a:pPr lvl="3" rtl="0"/>
            <a:r>
              <a:rPr lang="ru"/>
              <a:t>Fourth level</a:t>
            </a:r>
          </a:p>
          <a:p>
            <a:pPr lvl="4" rtl="0"/>
            <a:r>
              <a:rPr lang="ru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36000" y="6405331"/>
            <a:ext cx="432000" cy="288000"/>
          </a:xfrm>
          <a:prstGeom prst="rect">
            <a:avLst/>
          </a:prstGeom>
        </p:spPr>
        <p:txBody>
          <a:bodyPr rtlCol="0"/>
          <a:lstStyle/>
          <a:p>
            <a:pPr defTabSz="1219170" rtl="0"/>
            <a:fld id="{6D0CDCFD-0795-447F-891D-847A46D0A5E2}" type="slidenum">
              <a:rPr lang="en-GB" smtClean="0"/>
              <a:pPr defTabSz="1219170"/>
              <a:t>‹#›</a:t>
            </a:fld>
            <a:endParaRPr lang="en-GB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290517" y="1892300"/>
            <a:ext cx="5040000" cy="4032251"/>
          </a:xfrm>
        </p:spPr>
        <p:txBody>
          <a:bodyPr rtlCol="0"/>
          <a:lstStyle>
            <a:lvl1pPr marL="239994" indent="-239994">
              <a:spcAft>
                <a:spcPts val="1067"/>
              </a:spcAft>
              <a:buFont typeface="Wingdings" panose="05000000000000000000" pitchFamily="2" charset="2"/>
              <a:buChar char="§"/>
              <a:defRPr cap="none" baseline="0">
                <a:solidFill>
                  <a:srgbClr val="0F1539"/>
                </a:solidFill>
              </a:defRPr>
            </a:lvl1pPr>
            <a:lvl2pPr marL="479988" indent="-239994">
              <a:buFont typeface="Symbol" panose="05050102010706020507" pitchFamily="18" charset="2"/>
              <a:buChar char="-"/>
              <a:defRPr/>
            </a:lvl2pPr>
            <a:lvl3pPr marL="719982" indent="-241294">
              <a:buFont typeface="Arial" panose="020B0604020202020204" pitchFamily="34" charset="0"/>
              <a:buChar char="&gt;"/>
              <a:defRPr/>
            </a:lvl3pPr>
            <a:lvl4pPr marL="959976" indent="-241294">
              <a:buFont typeface="Arial" panose="020B0604020202020204" pitchFamily="34" charset="0"/>
              <a:buChar char="&gt;"/>
              <a:defRPr/>
            </a:lvl4pPr>
            <a:lvl5pPr marL="1199970">
              <a:defRPr/>
            </a:lvl5pPr>
          </a:lstStyle>
          <a:p>
            <a:pPr lvl="0" rtl="0"/>
            <a:r>
              <a:rPr lang="ru"/>
              <a:t>Click to edit Master text styles</a:t>
            </a:r>
          </a:p>
          <a:p>
            <a:pPr lvl="1" rtl="0"/>
            <a:r>
              <a:rPr lang="ru"/>
              <a:t>Second level</a:t>
            </a:r>
          </a:p>
          <a:p>
            <a:pPr lvl="2" rtl="0"/>
            <a:r>
              <a:rPr lang="ru"/>
              <a:t>Third level</a:t>
            </a:r>
          </a:p>
          <a:p>
            <a:pPr lvl="3" rtl="0"/>
            <a:r>
              <a:rPr lang="ru"/>
              <a:t>Fourth level</a:t>
            </a:r>
          </a:p>
          <a:p>
            <a:pPr lvl="4" rtl="0"/>
            <a:r>
              <a:rPr lang="ru"/>
              <a:t>Fifth level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5"/>
          </p:nvPr>
        </p:nvSpPr>
        <p:spPr>
          <a:xfrm>
            <a:off x="865718" y="1176001"/>
            <a:ext cx="8494645" cy="341184"/>
          </a:xfrm>
        </p:spPr>
        <p:txBody>
          <a:bodyPr vert="horz" lIns="0" tIns="0" rIns="0" bIns="0" rtlCol="0" anchor="t" anchorCtr="0">
            <a:spAutoFit/>
          </a:bodyPr>
          <a:lstStyle>
            <a:lvl1pPr>
              <a:defRPr lang="de-CH" sz="2133" dirty="0">
                <a:solidFill>
                  <a:schemeClr val="tx1"/>
                </a:solidFill>
              </a:defRPr>
            </a:lvl1pPr>
          </a:lstStyle>
          <a:p>
            <a:pPr lvl="0" rtl="0">
              <a:lnSpc>
                <a:spcPts val="2880"/>
              </a:lnSpc>
              <a:spcAft>
                <a:spcPts val="0"/>
              </a:spcAft>
            </a:pPr>
            <a:r>
              <a:rPr lang="ru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ru"/>
              <a:t>Click to edit Master title style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C7940AE5-C280-4309-A819-9196B57933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2188" y="6237288"/>
            <a:ext cx="8368175" cy="484187"/>
          </a:xfrm>
        </p:spPr>
        <p:txBody>
          <a:bodyPr rtlCol="0"/>
          <a:lstStyle>
            <a:lvl1pPr>
              <a:spcAft>
                <a:spcPts val="0"/>
              </a:spcAft>
              <a:defRPr sz="800" cap="none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800">
                <a:solidFill>
                  <a:schemeClr val="tx1"/>
                </a:solidFill>
              </a:defRPr>
            </a:lvl2pPr>
            <a:lvl3pPr>
              <a:defRPr sz="11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 rtl="0"/>
            <a:r>
              <a:rPr lang="ru"/>
              <a:t>Click to edit master text styles</a:t>
            </a:r>
          </a:p>
          <a:p>
            <a:pPr lvl="1" rt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063952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and Content" preserve="1" userDrawn="1">
  <p:cSld name="Imag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36000" y="6405331"/>
            <a:ext cx="432000" cy="288000"/>
          </a:xfrm>
          <a:prstGeom prst="rect">
            <a:avLst/>
          </a:prstGeom>
        </p:spPr>
        <p:txBody>
          <a:bodyPr rtlCol="0"/>
          <a:lstStyle/>
          <a:p>
            <a:pPr defTabSz="1219170" rtl="0"/>
            <a:fld id="{27A1ECFA-4906-4BB2-BB04-A46B55CCDA7B}" type="slidenum">
              <a:rPr lang="en-GB" smtClean="0"/>
              <a:pPr defTabSz="1219170"/>
              <a:t>‹#›</a:t>
            </a:fld>
            <a:endParaRPr lang="en-GB" dirty="0"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5"/>
          </p:nvPr>
        </p:nvSpPr>
        <p:spPr>
          <a:xfrm>
            <a:off x="861485" y="1892300"/>
            <a:ext cx="5040000" cy="4032251"/>
          </a:xfrm>
        </p:spPr>
        <p:txBody>
          <a:bodyPr tIns="540000" rtlCol="0" anchor="ctr"/>
          <a:lstStyle>
            <a:lvl1pPr algn="ctr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 rtl="0"/>
            <a:r>
              <a:rPr lang="ru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6"/>
          </p:nvPr>
        </p:nvSpPr>
        <p:spPr>
          <a:xfrm>
            <a:off x="865718" y="1176001"/>
            <a:ext cx="8494645" cy="341184"/>
          </a:xfrm>
        </p:spPr>
        <p:txBody>
          <a:bodyPr vert="horz" lIns="0" tIns="0" rIns="0" bIns="0" rtlCol="0" anchor="t" anchorCtr="0">
            <a:spAutoFit/>
          </a:bodyPr>
          <a:lstStyle>
            <a:lvl1pPr>
              <a:defRPr lang="de-CH" sz="2133" dirty="0">
                <a:solidFill>
                  <a:schemeClr val="tx1"/>
                </a:solidFill>
              </a:defRPr>
            </a:lvl1pPr>
          </a:lstStyle>
          <a:p>
            <a:pPr lvl="0" rtl="0">
              <a:lnSpc>
                <a:spcPts val="2880"/>
              </a:lnSpc>
              <a:spcAft>
                <a:spcPts val="0"/>
              </a:spcAft>
            </a:pPr>
            <a:r>
              <a:rPr lang="ru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ru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/>
          </p:nvPr>
        </p:nvSpPr>
        <p:spPr>
          <a:xfrm>
            <a:off x="6290516" y="1892300"/>
            <a:ext cx="5040000" cy="4032251"/>
          </a:xfrm>
        </p:spPr>
        <p:txBody>
          <a:bodyPr rtlCol="0"/>
          <a:lstStyle/>
          <a:p>
            <a:pPr lvl="0" rtl="0"/>
            <a:r>
              <a:rPr lang="ru"/>
              <a:t>Click to edit Master text styles</a:t>
            </a:r>
          </a:p>
          <a:p>
            <a:pPr lvl="1" rtl="0"/>
            <a:r>
              <a:rPr lang="ru"/>
              <a:t>Second level</a:t>
            </a:r>
          </a:p>
          <a:p>
            <a:pPr lvl="2" rtl="0"/>
            <a:r>
              <a:rPr lang="ru"/>
              <a:t>Third level</a:t>
            </a:r>
          </a:p>
          <a:p>
            <a:pPr lvl="3" rtl="0"/>
            <a:r>
              <a:rPr lang="ru"/>
              <a:t>Fourth level</a:t>
            </a:r>
          </a:p>
          <a:p>
            <a:pPr lvl="4" rtl="0"/>
            <a:r>
              <a:rPr lang="ru"/>
              <a:t>Fifth level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0534A0C4-ACDB-465C-8CF2-4661BE7B9E3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92188" y="6237288"/>
            <a:ext cx="8368175" cy="484187"/>
          </a:xfrm>
        </p:spPr>
        <p:txBody>
          <a:bodyPr rtlCol="0"/>
          <a:lstStyle>
            <a:lvl1pPr>
              <a:defRPr sz="800" cap="none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11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 rtl="0"/>
            <a:r>
              <a:rPr lang="ru"/>
              <a:t>Click to edit master text styles</a:t>
            </a:r>
          </a:p>
          <a:p>
            <a:pPr lvl="1" rt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5344377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and Image" preserve="1" userDrawn="1">
  <p:cSld name="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36000" y="6405331"/>
            <a:ext cx="432000" cy="288000"/>
          </a:xfrm>
          <a:prstGeom prst="rect">
            <a:avLst/>
          </a:prstGeom>
        </p:spPr>
        <p:txBody>
          <a:bodyPr rtlCol="0"/>
          <a:lstStyle/>
          <a:p>
            <a:pPr defTabSz="1219170" rtl="0"/>
            <a:fld id="{05442885-3F8E-4B2D-B1F4-8FD810EE8498}" type="slidenum">
              <a:rPr lang="en-GB" smtClean="0"/>
              <a:pPr defTabSz="1219170"/>
              <a:t>‹#›</a:t>
            </a:fld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290517" y="1892300"/>
            <a:ext cx="5040000" cy="4032251"/>
          </a:xfrm>
        </p:spPr>
        <p:txBody>
          <a:bodyPr tIns="540000" rtlCol="0" anchor="ctr"/>
          <a:lstStyle>
            <a:lvl1pPr algn="ctr">
              <a:defRPr/>
            </a:lvl1pPr>
          </a:lstStyle>
          <a:p>
            <a:pPr rtl="0"/>
            <a:r>
              <a:rPr lang="ru"/>
              <a:t>Click icon to add pictur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6"/>
          </p:nvPr>
        </p:nvSpPr>
        <p:spPr>
          <a:xfrm>
            <a:off x="865718" y="1176001"/>
            <a:ext cx="8494645" cy="341184"/>
          </a:xfrm>
        </p:spPr>
        <p:txBody>
          <a:bodyPr vert="horz" lIns="0" tIns="0" rIns="0" bIns="0" rtlCol="0" anchor="t" anchorCtr="0">
            <a:spAutoFit/>
          </a:bodyPr>
          <a:lstStyle>
            <a:lvl1pPr>
              <a:defRPr lang="de-CH" sz="2133" dirty="0">
                <a:solidFill>
                  <a:schemeClr val="tx1"/>
                </a:solidFill>
              </a:defRPr>
            </a:lvl1pPr>
          </a:lstStyle>
          <a:p>
            <a:pPr lvl="0" rtl="0">
              <a:lnSpc>
                <a:spcPts val="2880"/>
              </a:lnSpc>
              <a:spcAft>
                <a:spcPts val="0"/>
              </a:spcAft>
            </a:pPr>
            <a:r>
              <a:rPr lang="ru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ru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/>
          </p:nvPr>
        </p:nvSpPr>
        <p:spPr>
          <a:xfrm>
            <a:off x="863999" y="1892299"/>
            <a:ext cx="5039979" cy="4033300"/>
          </a:xfrm>
        </p:spPr>
        <p:txBody>
          <a:bodyPr rtlCol="0"/>
          <a:lstStyle/>
          <a:p>
            <a:pPr lvl="0" rtl="0"/>
            <a:r>
              <a:rPr lang="ru"/>
              <a:t>Click to edit Master text styles</a:t>
            </a:r>
          </a:p>
          <a:p>
            <a:pPr lvl="1" rtl="0"/>
            <a:r>
              <a:rPr lang="ru"/>
              <a:t>Second level</a:t>
            </a:r>
          </a:p>
          <a:p>
            <a:pPr lvl="2" rtl="0"/>
            <a:r>
              <a:rPr lang="ru"/>
              <a:t>Third level</a:t>
            </a:r>
          </a:p>
          <a:p>
            <a:pPr lvl="3" rtl="0"/>
            <a:r>
              <a:rPr lang="ru"/>
              <a:t>Fourth level</a:t>
            </a:r>
          </a:p>
          <a:p>
            <a:pPr lvl="4" rtl="0"/>
            <a:r>
              <a:rPr lang="ru"/>
              <a:t>Fifth level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1183666A-7D27-4483-8C45-F56F33B27D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92188" y="6237288"/>
            <a:ext cx="8368175" cy="484187"/>
          </a:xfrm>
        </p:spPr>
        <p:txBody>
          <a:bodyPr rtlCol="0"/>
          <a:lstStyle>
            <a:lvl1pPr>
              <a:defRPr sz="800" cap="none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11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 rtl="0"/>
            <a:r>
              <a:rPr lang="ru"/>
              <a:t>Click to edit master text styles</a:t>
            </a:r>
          </a:p>
          <a:p>
            <a:pPr lvl="1" rt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827025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 vertical" preserve="1" userDrawn="1">
  <p:cSld name="Two Content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36000" y="6405331"/>
            <a:ext cx="432000" cy="288000"/>
          </a:xfrm>
          <a:prstGeom prst="rect">
            <a:avLst/>
          </a:prstGeom>
        </p:spPr>
        <p:txBody>
          <a:bodyPr rtlCol="0"/>
          <a:lstStyle/>
          <a:p>
            <a:pPr defTabSz="1219170" rtl="0"/>
            <a:fld id="{5D85BAF7-D6A6-4B9E-B660-5FCB266C98D9}" type="slidenum">
              <a:rPr lang="en-GB" smtClean="0"/>
              <a:pPr defTabSz="1219170"/>
              <a:t>‹#›</a:t>
            </a:fld>
            <a:endParaRPr lang="en-GB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6"/>
          </p:nvPr>
        </p:nvSpPr>
        <p:spPr>
          <a:xfrm>
            <a:off x="865718" y="1176001"/>
            <a:ext cx="8494645" cy="341184"/>
          </a:xfrm>
        </p:spPr>
        <p:txBody>
          <a:bodyPr vert="horz" lIns="0" tIns="0" rIns="0" bIns="0" rtlCol="0" anchor="t" anchorCtr="0">
            <a:spAutoFit/>
          </a:bodyPr>
          <a:lstStyle>
            <a:lvl1pPr>
              <a:defRPr lang="de-CH" sz="2133" dirty="0">
                <a:solidFill>
                  <a:schemeClr val="tx1"/>
                </a:solidFill>
              </a:defRPr>
            </a:lvl1pPr>
          </a:lstStyle>
          <a:p>
            <a:pPr lvl="0" rtl="0">
              <a:lnSpc>
                <a:spcPts val="2880"/>
              </a:lnSpc>
              <a:spcAft>
                <a:spcPts val="0"/>
              </a:spcAft>
            </a:pPr>
            <a:r>
              <a:rPr lang="ru"/>
              <a:t>Click to edit Master subtitle sty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ru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7"/>
          </p:nvPr>
        </p:nvSpPr>
        <p:spPr>
          <a:xfrm>
            <a:off x="864000" y="1892297"/>
            <a:ext cx="10464000" cy="1824000"/>
          </a:xfrm>
        </p:spPr>
        <p:txBody>
          <a:bodyPr rtlCol="0"/>
          <a:lstStyle/>
          <a:p>
            <a:pPr lvl="0" rtl="0"/>
            <a:r>
              <a:rPr lang="ru"/>
              <a:t>Click to edit Master text styles</a:t>
            </a:r>
          </a:p>
          <a:p>
            <a:pPr lvl="1" rtl="0"/>
            <a:r>
              <a:rPr lang="ru"/>
              <a:t>Second level</a:t>
            </a:r>
          </a:p>
          <a:p>
            <a:pPr lvl="2" rtl="0"/>
            <a:r>
              <a:rPr lang="ru"/>
              <a:t>Third level</a:t>
            </a:r>
          </a:p>
          <a:p>
            <a:pPr lvl="3" rtl="0"/>
            <a:r>
              <a:rPr lang="ru"/>
              <a:t>Fourth level</a:t>
            </a:r>
          </a:p>
          <a:p>
            <a:pPr lvl="4" rtl="0"/>
            <a:r>
              <a:rPr lang="ru"/>
              <a:t>Fifth level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8"/>
          </p:nvPr>
        </p:nvSpPr>
        <p:spPr>
          <a:xfrm>
            <a:off x="864000" y="4095331"/>
            <a:ext cx="10464000" cy="1824000"/>
          </a:xfrm>
        </p:spPr>
        <p:txBody>
          <a:bodyPr rtlCol="0"/>
          <a:lstStyle/>
          <a:p>
            <a:pPr lvl="0" rtl="0"/>
            <a:r>
              <a:rPr lang="ru"/>
              <a:t>Click to edit Master text styles</a:t>
            </a:r>
          </a:p>
          <a:p>
            <a:pPr lvl="1" rtl="0"/>
            <a:r>
              <a:rPr lang="ru"/>
              <a:t>Second level</a:t>
            </a:r>
          </a:p>
          <a:p>
            <a:pPr lvl="2" rtl="0"/>
            <a:r>
              <a:rPr lang="ru"/>
              <a:t>Third level</a:t>
            </a:r>
          </a:p>
          <a:p>
            <a:pPr lvl="3" rtl="0"/>
            <a:r>
              <a:rPr lang="ru"/>
              <a:t>Fourth level</a:t>
            </a:r>
          </a:p>
          <a:p>
            <a:pPr lvl="4" rtl="0"/>
            <a:r>
              <a:rPr lang="ru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0706767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ntent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36000" y="6405331"/>
            <a:ext cx="432000" cy="288000"/>
          </a:xfrm>
          <a:prstGeom prst="rect">
            <a:avLst/>
          </a:prstGeom>
        </p:spPr>
        <p:txBody>
          <a:bodyPr rtlCol="0"/>
          <a:lstStyle/>
          <a:p>
            <a:pPr defTabSz="1219170" rtl="0"/>
            <a:fld id="{55ACC8A9-FB5A-46EF-835B-E48262E42C12}" type="slidenum">
              <a:rPr lang="en-GB" smtClean="0"/>
              <a:pPr defTabSz="1219170"/>
              <a:t>‹#›</a:t>
            </a:fld>
            <a:endParaRPr lang="en-GB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6"/>
          </p:nvPr>
        </p:nvSpPr>
        <p:spPr>
          <a:xfrm>
            <a:off x="865718" y="1176001"/>
            <a:ext cx="8494645" cy="341184"/>
          </a:xfrm>
        </p:spPr>
        <p:txBody>
          <a:bodyPr vert="horz" lIns="0" tIns="0" rIns="0" bIns="0" rtlCol="0" anchor="t" anchorCtr="0">
            <a:spAutoFit/>
          </a:bodyPr>
          <a:lstStyle>
            <a:lvl1pPr>
              <a:defRPr lang="de-CH" sz="2133" dirty="0">
                <a:solidFill>
                  <a:schemeClr val="tx1"/>
                </a:solidFill>
              </a:defRPr>
            </a:lvl1pPr>
          </a:lstStyle>
          <a:p>
            <a:pPr lvl="0" rtl="0">
              <a:lnSpc>
                <a:spcPts val="2880"/>
              </a:lnSpc>
              <a:spcAft>
                <a:spcPts val="0"/>
              </a:spcAft>
            </a:pPr>
            <a:r>
              <a:rPr lang="ru"/>
              <a:t>Click to edit Master subtitle sty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ru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7"/>
          </p:nvPr>
        </p:nvSpPr>
        <p:spPr>
          <a:xfrm>
            <a:off x="863999" y="1892299"/>
            <a:ext cx="3264000" cy="4033300"/>
          </a:xfrm>
        </p:spPr>
        <p:txBody>
          <a:bodyPr rtlCol="0"/>
          <a:lstStyle/>
          <a:p>
            <a:pPr lvl="0" rtl="0"/>
            <a:r>
              <a:rPr lang="ru"/>
              <a:t>Click to edit Master text styles</a:t>
            </a:r>
          </a:p>
          <a:p>
            <a:pPr lvl="1" rtl="0"/>
            <a:r>
              <a:rPr lang="ru"/>
              <a:t>Second level</a:t>
            </a:r>
          </a:p>
          <a:p>
            <a:pPr lvl="2" rtl="0"/>
            <a:r>
              <a:rPr lang="ru"/>
              <a:t>Third level</a:t>
            </a:r>
          </a:p>
          <a:p>
            <a:pPr lvl="3" rtl="0"/>
            <a:r>
              <a:rPr lang="ru"/>
              <a:t>Fourth level</a:t>
            </a:r>
          </a:p>
          <a:p>
            <a:pPr lvl="4" rtl="0"/>
            <a:r>
              <a:rPr lang="ru"/>
              <a:t>Fifth level</a:t>
            </a:r>
          </a:p>
        </p:txBody>
      </p:sp>
      <p:sp>
        <p:nvSpPr>
          <p:cNvPr id="12" name="Content Placeholder 7"/>
          <p:cNvSpPr>
            <a:spLocks noGrp="1"/>
          </p:cNvSpPr>
          <p:nvPr>
            <p:ph sz="quarter" idx="18"/>
          </p:nvPr>
        </p:nvSpPr>
        <p:spPr>
          <a:xfrm>
            <a:off x="4465259" y="1892299"/>
            <a:ext cx="3264000" cy="4033300"/>
          </a:xfrm>
        </p:spPr>
        <p:txBody>
          <a:bodyPr rtlCol="0"/>
          <a:lstStyle/>
          <a:p>
            <a:pPr lvl="0" rtl="0"/>
            <a:r>
              <a:rPr lang="ru"/>
              <a:t>Click to edit Master text styles</a:t>
            </a:r>
          </a:p>
          <a:p>
            <a:pPr lvl="1" rtl="0"/>
            <a:r>
              <a:rPr lang="ru"/>
              <a:t>Second level</a:t>
            </a:r>
          </a:p>
          <a:p>
            <a:pPr lvl="2" rtl="0"/>
            <a:r>
              <a:rPr lang="ru"/>
              <a:t>Third level</a:t>
            </a:r>
          </a:p>
          <a:p>
            <a:pPr lvl="3" rtl="0"/>
            <a:r>
              <a:rPr lang="ru"/>
              <a:t>Fourth level</a:t>
            </a:r>
          </a:p>
          <a:p>
            <a:pPr lvl="4" rtl="0"/>
            <a:r>
              <a:rPr lang="ru"/>
              <a:t>Fifth level</a:t>
            </a:r>
          </a:p>
        </p:txBody>
      </p:sp>
      <p:sp>
        <p:nvSpPr>
          <p:cNvPr id="13" name="Content Placeholder 7"/>
          <p:cNvSpPr>
            <a:spLocks noGrp="1"/>
          </p:cNvSpPr>
          <p:nvPr>
            <p:ph sz="quarter" idx="19"/>
          </p:nvPr>
        </p:nvSpPr>
        <p:spPr>
          <a:xfrm>
            <a:off x="8066517" y="1892299"/>
            <a:ext cx="3264000" cy="4033300"/>
          </a:xfrm>
        </p:spPr>
        <p:txBody>
          <a:bodyPr rtlCol="0"/>
          <a:lstStyle/>
          <a:p>
            <a:pPr lvl="0" rtl="0"/>
            <a:r>
              <a:rPr lang="ru"/>
              <a:t>Click to edit Master text styles</a:t>
            </a:r>
          </a:p>
          <a:p>
            <a:pPr lvl="1" rtl="0"/>
            <a:r>
              <a:rPr lang="ru"/>
              <a:t>Second level</a:t>
            </a:r>
          </a:p>
          <a:p>
            <a:pPr lvl="2" rtl="0"/>
            <a:r>
              <a:rPr lang="ru"/>
              <a:t>Third level</a:t>
            </a:r>
          </a:p>
          <a:p>
            <a:pPr lvl="3" rtl="0"/>
            <a:r>
              <a:rPr lang="ru"/>
              <a:t>Fourth level</a:t>
            </a:r>
          </a:p>
          <a:p>
            <a:pPr lvl="4" rtl="0"/>
            <a:r>
              <a:rPr lang="ru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3702636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ntent with Image" preserve="1" userDrawn="1">
  <p:cSld name="Three 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64000" y="3621338"/>
            <a:ext cx="3264000" cy="2313999"/>
          </a:xfrm>
        </p:spPr>
        <p:txBody>
          <a:bodyPr rtlCol="0"/>
          <a:lstStyle>
            <a:lvl1pPr>
              <a:lnSpc>
                <a:spcPts val="2133"/>
              </a:lnSpc>
              <a:defRPr b="0" cap="none" spc="-27" baseline="0">
                <a:solidFill>
                  <a:schemeClr val="tx1"/>
                </a:solidFill>
              </a:defRPr>
            </a:lvl1pPr>
            <a:lvl2pPr>
              <a:lnSpc>
                <a:spcPts val="2133"/>
              </a:lnSpc>
              <a:defRPr b="0" spc="-27"/>
            </a:lvl2pPr>
            <a:lvl3pPr>
              <a:lnSpc>
                <a:spcPts val="2133"/>
              </a:lnSpc>
              <a:defRPr b="0" spc="-27"/>
            </a:lvl3pPr>
            <a:lvl4pPr>
              <a:lnSpc>
                <a:spcPts val="2133"/>
              </a:lnSpc>
              <a:defRPr b="0" spc="-27"/>
            </a:lvl4pPr>
            <a:lvl5pPr>
              <a:lnSpc>
                <a:spcPts val="2133"/>
              </a:lnSpc>
              <a:defRPr b="0" spc="-27"/>
            </a:lvl5pPr>
          </a:lstStyle>
          <a:p>
            <a:pPr lvl="0" rtl="0"/>
            <a:r>
              <a:rPr lang="ru"/>
              <a:t>Click to edit Master text styles</a:t>
            </a:r>
          </a:p>
          <a:p>
            <a:pPr lvl="1" rtl="0"/>
            <a:r>
              <a:rPr lang="ru"/>
              <a:t>Second level</a:t>
            </a:r>
          </a:p>
          <a:p>
            <a:pPr lvl="2" rtl="0"/>
            <a:r>
              <a:rPr lang="ru"/>
              <a:t>Third level</a:t>
            </a:r>
          </a:p>
          <a:p>
            <a:pPr lvl="3" rtl="0"/>
            <a:r>
              <a:rPr lang="ru"/>
              <a:t>Fourth level</a:t>
            </a:r>
          </a:p>
          <a:p>
            <a:pPr lvl="4" rtl="0"/>
            <a:r>
              <a:rPr lang="ru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36000" y="6405331"/>
            <a:ext cx="432000" cy="288000"/>
          </a:xfrm>
          <a:prstGeom prst="rect">
            <a:avLst/>
          </a:prstGeom>
        </p:spPr>
        <p:txBody>
          <a:bodyPr rtlCol="0"/>
          <a:lstStyle/>
          <a:p>
            <a:pPr defTabSz="1219170" rtl="0"/>
            <a:fld id="{82A320EF-1687-45CB-AAFF-B03457D2C13B}" type="slidenum">
              <a:rPr lang="en-GB" smtClean="0"/>
              <a:pPr defTabSz="1219170"/>
              <a:t>‹#›</a:t>
            </a:fld>
            <a:endParaRPr lang="en-GB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4465259" y="3621022"/>
            <a:ext cx="3264000" cy="2303529"/>
          </a:xfrm>
        </p:spPr>
        <p:txBody>
          <a:bodyPr rtlCol="0"/>
          <a:lstStyle>
            <a:lvl1pPr>
              <a:lnSpc>
                <a:spcPts val="2133"/>
              </a:lnSpc>
              <a:defRPr b="0" cap="none" spc="-27" baseline="0">
                <a:solidFill>
                  <a:schemeClr val="tx1"/>
                </a:solidFill>
              </a:defRPr>
            </a:lvl1pPr>
            <a:lvl2pPr>
              <a:lnSpc>
                <a:spcPts val="2133"/>
              </a:lnSpc>
              <a:defRPr b="0" spc="-27"/>
            </a:lvl2pPr>
            <a:lvl3pPr>
              <a:lnSpc>
                <a:spcPts val="2133"/>
              </a:lnSpc>
              <a:defRPr b="0" spc="-27"/>
            </a:lvl3pPr>
            <a:lvl4pPr>
              <a:lnSpc>
                <a:spcPts val="2133"/>
              </a:lnSpc>
              <a:defRPr b="0" spc="-27"/>
            </a:lvl4pPr>
            <a:lvl5pPr>
              <a:lnSpc>
                <a:spcPts val="2133"/>
              </a:lnSpc>
              <a:defRPr b="0" spc="-27"/>
            </a:lvl5pPr>
          </a:lstStyle>
          <a:p>
            <a:pPr lvl="0" rtl="0"/>
            <a:r>
              <a:rPr lang="ru"/>
              <a:t>Click to edit Master text styles</a:t>
            </a:r>
          </a:p>
          <a:p>
            <a:pPr lvl="1" rtl="0"/>
            <a:r>
              <a:rPr lang="ru"/>
              <a:t>Second level</a:t>
            </a:r>
          </a:p>
          <a:p>
            <a:pPr lvl="2" rtl="0"/>
            <a:r>
              <a:rPr lang="ru"/>
              <a:t>Third level</a:t>
            </a:r>
          </a:p>
          <a:p>
            <a:pPr lvl="3" rtl="0"/>
            <a:r>
              <a:rPr lang="ru"/>
              <a:t>Fourth level</a:t>
            </a:r>
          </a:p>
          <a:p>
            <a:pPr lvl="4" rtl="0"/>
            <a:r>
              <a:rPr lang="ru"/>
              <a:t>Fifth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5"/>
          </p:nvPr>
        </p:nvSpPr>
        <p:spPr>
          <a:xfrm>
            <a:off x="8066517" y="3621022"/>
            <a:ext cx="3264000" cy="2303529"/>
          </a:xfrm>
        </p:spPr>
        <p:txBody>
          <a:bodyPr rtlCol="0"/>
          <a:lstStyle>
            <a:lvl1pPr>
              <a:lnSpc>
                <a:spcPts val="2133"/>
              </a:lnSpc>
              <a:defRPr b="0" cap="none" spc="-27" baseline="0">
                <a:solidFill>
                  <a:schemeClr val="tx1"/>
                </a:solidFill>
              </a:defRPr>
            </a:lvl1pPr>
            <a:lvl2pPr>
              <a:lnSpc>
                <a:spcPts val="2133"/>
              </a:lnSpc>
              <a:defRPr b="0" spc="-27"/>
            </a:lvl2pPr>
            <a:lvl3pPr>
              <a:lnSpc>
                <a:spcPts val="2133"/>
              </a:lnSpc>
              <a:defRPr b="0" spc="-27"/>
            </a:lvl3pPr>
            <a:lvl4pPr>
              <a:lnSpc>
                <a:spcPts val="2133"/>
              </a:lnSpc>
              <a:defRPr b="0" spc="-27"/>
            </a:lvl4pPr>
            <a:lvl5pPr>
              <a:lnSpc>
                <a:spcPts val="2133"/>
              </a:lnSpc>
              <a:defRPr b="0" spc="-27"/>
            </a:lvl5pPr>
          </a:lstStyle>
          <a:p>
            <a:pPr lvl="0" rtl="0"/>
            <a:r>
              <a:rPr lang="ru"/>
              <a:t>Click to edit Master text styles</a:t>
            </a:r>
          </a:p>
          <a:p>
            <a:pPr lvl="1" rtl="0"/>
            <a:r>
              <a:rPr lang="ru"/>
              <a:t>Second level</a:t>
            </a:r>
          </a:p>
          <a:p>
            <a:pPr lvl="2" rtl="0"/>
            <a:r>
              <a:rPr lang="ru"/>
              <a:t>Third level</a:t>
            </a:r>
          </a:p>
          <a:p>
            <a:pPr lvl="3" rtl="0"/>
            <a:r>
              <a:rPr lang="ru"/>
              <a:t>Fourth level</a:t>
            </a:r>
          </a:p>
          <a:p>
            <a:pPr lvl="4" rtl="0"/>
            <a:r>
              <a:rPr lang="ru"/>
              <a:t>Fifth level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864000" y="1892300"/>
            <a:ext cx="3264000" cy="484525"/>
          </a:xfrm>
        </p:spPr>
        <p:txBody>
          <a:bodyPr rtlCol="0"/>
          <a:lstStyle>
            <a:lvl1pPr>
              <a:lnSpc>
                <a:spcPts val="2240"/>
              </a:lnSpc>
              <a:spcAft>
                <a:spcPts val="0"/>
              </a:spcAft>
              <a:defRPr sz="1867">
                <a:solidFill>
                  <a:schemeClr val="tx2"/>
                </a:solidFill>
              </a:defRPr>
            </a:lvl1pPr>
          </a:lstStyle>
          <a:p>
            <a:pPr lvl="0" rtl="0"/>
            <a:r>
              <a:rPr lang="ru"/>
              <a:t>Click to edit Master text styles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465259" y="1892300"/>
            <a:ext cx="3264000" cy="484525"/>
          </a:xfrm>
        </p:spPr>
        <p:txBody>
          <a:bodyPr rtlCol="0"/>
          <a:lstStyle>
            <a:lvl1pPr>
              <a:lnSpc>
                <a:spcPts val="2240"/>
              </a:lnSpc>
              <a:spcAft>
                <a:spcPts val="0"/>
              </a:spcAft>
              <a:defRPr sz="1867">
                <a:solidFill>
                  <a:schemeClr val="tx2"/>
                </a:solidFill>
              </a:defRPr>
            </a:lvl1pPr>
          </a:lstStyle>
          <a:p>
            <a:pPr lvl="0" rtl="0"/>
            <a:r>
              <a:rPr lang="ru"/>
              <a:t>Click to edit Master text styles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8066517" y="1892300"/>
            <a:ext cx="3264000" cy="484525"/>
          </a:xfrm>
        </p:spPr>
        <p:txBody>
          <a:bodyPr rtlCol="0"/>
          <a:lstStyle>
            <a:lvl1pPr>
              <a:lnSpc>
                <a:spcPts val="2240"/>
              </a:lnSpc>
              <a:spcAft>
                <a:spcPts val="0"/>
              </a:spcAft>
              <a:defRPr sz="1867">
                <a:solidFill>
                  <a:schemeClr val="tx2"/>
                </a:solidFill>
              </a:defRPr>
            </a:lvl1pPr>
          </a:lstStyle>
          <a:p>
            <a:pPr lvl="0" rtl="0"/>
            <a:r>
              <a:rPr lang="ru"/>
              <a:t>Click to edit Master text styles</a:t>
            </a:r>
          </a:p>
        </p:txBody>
      </p:sp>
      <p:sp>
        <p:nvSpPr>
          <p:cNvPr id="19" name="Picture Placeholder 9"/>
          <p:cNvSpPr>
            <a:spLocks noGrp="1"/>
          </p:cNvSpPr>
          <p:nvPr>
            <p:ph type="pic" sz="quarter" idx="19"/>
          </p:nvPr>
        </p:nvSpPr>
        <p:spPr>
          <a:xfrm>
            <a:off x="864000" y="2400000"/>
            <a:ext cx="3264000" cy="1029000"/>
          </a:xfrm>
        </p:spPr>
        <p:txBody>
          <a:bodyPr rtlCol="0"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rtl="0"/>
            <a:r>
              <a:rPr lang="ru"/>
              <a:t>Click icon to add picture</a:t>
            </a:r>
          </a:p>
        </p:txBody>
      </p:sp>
      <p:sp>
        <p:nvSpPr>
          <p:cNvPr id="20" name="Picture Placeholder 9"/>
          <p:cNvSpPr>
            <a:spLocks noGrp="1"/>
          </p:cNvSpPr>
          <p:nvPr>
            <p:ph type="pic" sz="quarter" idx="20"/>
          </p:nvPr>
        </p:nvSpPr>
        <p:spPr>
          <a:xfrm>
            <a:off x="4465259" y="2400000"/>
            <a:ext cx="3264000" cy="1029000"/>
          </a:xfrm>
        </p:spPr>
        <p:txBody>
          <a:bodyPr rtlCol="0"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rtl="0"/>
            <a:r>
              <a:rPr lang="ru"/>
              <a:t>Click icon to add picture</a:t>
            </a:r>
          </a:p>
        </p:txBody>
      </p:sp>
      <p:sp>
        <p:nvSpPr>
          <p:cNvPr id="21" name="Picture Placeholder 9"/>
          <p:cNvSpPr>
            <a:spLocks noGrp="1"/>
          </p:cNvSpPr>
          <p:nvPr>
            <p:ph type="pic" sz="quarter" idx="21"/>
          </p:nvPr>
        </p:nvSpPr>
        <p:spPr>
          <a:xfrm>
            <a:off x="8066517" y="2400000"/>
            <a:ext cx="3264000" cy="1029000"/>
          </a:xfrm>
        </p:spPr>
        <p:txBody>
          <a:bodyPr rtlCol="0"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rtl="0"/>
            <a:r>
              <a:rPr lang="ru"/>
              <a:t>Click icon to add picture</a:t>
            </a:r>
          </a:p>
        </p:txBody>
      </p:sp>
      <p:sp>
        <p:nvSpPr>
          <p:cNvPr id="22" name="Subtitle 2"/>
          <p:cNvSpPr>
            <a:spLocks noGrp="1"/>
          </p:cNvSpPr>
          <p:nvPr>
            <p:ph type="subTitle" idx="22"/>
          </p:nvPr>
        </p:nvSpPr>
        <p:spPr>
          <a:xfrm>
            <a:off x="865718" y="1176001"/>
            <a:ext cx="8494645" cy="341184"/>
          </a:xfrm>
        </p:spPr>
        <p:txBody>
          <a:bodyPr vert="horz" lIns="0" tIns="0" rIns="0" bIns="0" rtlCol="0" anchor="t" anchorCtr="0">
            <a:spAutoFit/>
          </a:bodyPr>
          <a:lstStyle>
            <a:lvl1pPr>
              <a:defRPr lang="de-CH" sz="2133" dirty="0">
                <a:solidFill>
                  <a:schemeClr val="tx1"/>
                </a:solidFill>
              </a:defRPr>
            </a:lvl1pPr>
          </a:lstStyle>
          <a:p>
            <a:pPr lvl="0" rtl="0">
              <a:lnSpc>
                <a:spcPts val="2880"/>
              </a:lnSpc>
              <a:spcAft>
                <a:spcPts val="0"/>
              </a:spcAft>
            </a:pPr>
            <a:r>
              <a:rPr lang="ru"/>
              <a:t>Click to edit Master subtitle sty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ru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3521220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 (1_3 - 2_3)" preserve="1" userDrawn="1">
  <p:cSld name="Two Content (1_3 - 2_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36000" y="6405331"/>
            <a:ext cx="432000" cy="288000"/>
          </a:xfrm>
          <a:prstGeom prst="rect">
            <a:avLst/>
          </a:prstGeom>
        </p:spPr>
        <p:txBody>
          <a:bodyPr rtlCol="0"/>
          <a:lstStyle/>
          <a:p>
            <a:pPr defTabSz="1219170" rtl="0"/>
            <a:fld id="{909E75A8-3B72-415D-A05D-EBD9F6296846}" type="slidenum">
              <a:rPr lang="en-GB" smtClean="0"/>
              <a:pPr defTabSz="1219170"/>
              <a:t>‹#›</a:t>
            </a:fld>
            <a:endParaRPr lang="en-GB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6"/>
          </p:nvPr>
        </p:nvSpPr>
        <p:spPr>
          <a:xfrm>
            <a:off x="865718" y="1176001"/>
            <a:ext cx="8494645" cy="341184"/>
          </a:xfrm>
        </p:spPr>
        <p:txBody>
          <a:bodyPr vert="horz" lIns="0" tIns="0" rIns="0" bIns="0" rtlCol="0" anchor="t" anchorCtr="0">
            <a:spAutoFit/>
          </a:bodyPr>
          <a:lstStyle>
            <a:lvl1pPr>
              <a:defRPr lang="de-CH" sz="2133" dirty="0">
                <a:solidFill>
                  <a:schemeClr val="tx1"/>
                </a:solidFill>
              </a:defRPr>
            </a:lvl1pPr>
          </a:lstStyle>
          <a:p>
            <a:pPr lvl="0" rtl="0">
              <a:lnSpc>
                <a:spcPts val="2880"/>
              </a:lnSpc>
              <a:spcAft>
                <a:spcPts val="0"/>
              </a:spcAft>
            </a:pPr>
            <a:r>
              <a:rPr lang="ru"/>
              <a:t>Click to edit Master subtitle sty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ru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7"/>
          </p:nvPr>
        </p:nvSpPr>
        <p:spPr>
          <a:xfrm>
            <a:off x="863999" y="1892301"/>
            <a:ext cx="3264000" cy="4033300"/>
          </a:xfrm>
        </p:spPr>
        <p:txBody>
          <a:bodyPr rtlCol="0"/>
          <a:lstStyle/>
          <a:p>
            <a:pPr lvl="0" rtl="0"/>
            <a:r>
              <a:rPr lang="ru"/>
              <a:t>Click to edit Master text styles</a:t>
            </a:r>
          </a:p>
          <a:p>
            <a:pPr lvl="1" rtl="0"/>
            <a:r>
              <a:rPr lang="ru"/>
              <a:t>Second level</a:t>
            </a:r>
          </a:p>
          <a:p>
            <a:pPr lvl="2" rtl="0"/>
            <a:r>
              <a:rPr lang="ru"/>
              <a:t>Third level</a:t>
            </a:r>
          </a:p>
          <a:p>
            <a:pPr lvl="3" rtl="0"/>
            <a:r>
              <a:rPr lang="ru"/>
              <a:t>Fourth level</a:t>
            </a:r>
          </a:p>
          <a:p>
            <a:pPr lvl="4" rtl="0"/>
            <a:r>
              <a:rPr lang="ru"/>
              <a:t>Fifth level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8"/>
          </p:nvPr>
        </p:nvSpPr>
        <p:spPr>
          <a:xfrm>
            <a:off x="4465259" y="1892301"/>
            <a:ext cx="6865259" cy="4033300"/>
          </a:xfrm>
        </p:spPr>
        <p:txBody>
          <a:bodyPr rtlCol="0"/>
          <a:lstStyle/>
          <a:p>
            <a:pPr lvl="0" rtl="0"/>
            <a:r>
              <a:rPr lang="ru"/>
              <a:t>Click to edit Master text styles</a:t>
            </a:r>
          </a:p>
          <a:p>
            <a:pPr lvl="1" rtl="0"/>
            <a:r>
              <a:rPr lang="ru"/>
              <a:t>Second level</a:t>
            </a:r>
          </a:p>
          <a:p>
            <a:pPr lvl="2" rtl="0"/>
            <a:r>
              <a:rPr lang="ru"/>
              <a:t>Third level</a:t>
            </a:r>
          </a:p>
          <a:p>
            <a:pPr lvl="3" rtl="0"/>
            <a:r>
              <a:rPr lang="ru"/>
              <a:t>Fourth level</a:t>
            </a:r>
          </a:p>
          <a:p>
            <a:pPr lvl="4" rtl="0"/>
            <a:r>
              <a:rPr lang="ru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546056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056967"/>
      </p:ext>
    </p:extLst>
  </p:cSld>
  <p:clrMapOvr>
    <a:masterClrMapping/>
  </p:clrMapOvr>
  <p:hf hdr="0" ftr="0" dt="0"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 (2_3 - 1_3)" preserve="1" userDrawn="1">
  <p:cSld name="Two Content (2_3 - 1_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36000" y="6405331"/>
            <a:ext cx="432000" cy="288000"/>
          </a:xfrm>
          <a:prstGeom prst="rect">
            <a:avLst/>
          </a:prstGeom>
        </p:spPr>
        <p:txBody>
          <a:bodyPr rtlCol="0"/>
          <a:lstStyle/>
          <a:p>
            <a:pPr defTabSz="1219170" rtl="0"/>
            <a:fld id="{F04CE56E-B196-47D2-9107-5E1712B15DFB}" type="slidenum">
              <a:rPr lang="en-GB" smtClean="0"/>
              <a:pPr defTabSz="1219170"/>
              <a:t>‹#›</a:t>
            </a:fld>
            <a:endParaRPr lang="en-GB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6"/>
          </p:nvPr>
        </p:nvSpPr>
        <p:spPr>
          <a:xfrm>
            <a:off x="865718" y="1176001"/>
            <a:ext cx="8494645" cy="341184"/>
          </a:xfrm>
        </p:spPr>
        <p:txBody>
          <a:bodyPr vert="horz" lIns="0" tIns="0" rIns="0" bIns="0" rtlCol="0" anchor="t" anchorCtr="0">
            <a:spAutoFit/>
          </a:bodyPr>
          <a:lstStyle>
            <a:lvl1pPr>
              <a:defRPr lang="de-CH" sz="2133" dirty="0">
                <a:solidFill>
                  <a:schemeClr val="tx1"/>
                </a:solidFill>
              </a:defRPr>
            </a:lvl1pPr>
          </a:lstStyle>
          <a:p>
            <a:pPr lvl="0" rtl="0">
              <a:lnSpc>
                <a:spcPts val="2880"/>
              </a:lnSpc>
              <a:spcAft>
                <a:spcPts val="0"/>
              </a:spcAft>
            </a:pPr>
            <a:r>
              <a:rPr lang="ru"/>
              <a:t>Click to edit Master subtitle sty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ru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7"/>
          </p:nvPr>
        </p:nvSpPr>
        <p:spPr>
          <a:xfrm>
            <a:off x="864000" y="1892299"/>
            <a:ext cx="6865259" cy="4033300"/>
          </a:xfrm>
        </p:spPr>
        <p:txBody>
          <a:bodyPr rtlCol="0"/>
          <a:lstStyle/>
          <a:p>
            <a:pPr lvl="0" rtl="0"/>
            <a:r>
              <a:rPr lang="ru"/>
              <a:t>Click to edit Master text styles</a:t>
            </a:r>
          </a:p>
          <a:p>
            <a:pPr lvl="1" rtl="0"/>
            <a:r>
              <a:rPr lang="ru"/>
              <a:t>Second level</a:t>
            </a:r>
          </a:p>
          <a:p>
            <a:pPr lvl="2" rtl="0"/>
            <a:r>
              <a:rPr lang="ru"/>
              <a:t>Third level</a:t>
            </a:r>
          </a:p>
          <a:p>
            <a:pPr lvl="3" rtl="0"/>
            <a:r>
              <a:rPr lang="ru"/>
              <a:t>Fourth level</a:t>
            </a:r>
          </a:p>
          <a:p>
            <a:pPr lvl="4" rtl="0"/>
            <a:r>
              <a:rPr lang="ru"/>
              <a:t>Fifth level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8"/>
          </p:nvPr>
        </p:nvSpPr>
        <p:spPr>
          <a:xfrm>
            <a:off x="8066517" y="1892301"/>
            <a:ext cx="3264000" cy="4033300"/>
          </a:xfrm>
        </p:spPr>
        <p:txBody>
          <a:bodyPr rtlCol="0"/>
          <a:lstStyle/>
          <a:p>
            <a:pPr lvl="0" rtl="0"/>
            <a:r>
              <a:rPr lang="ru"/>
              <a:t>Click to edit Master text styles</a:t>
            </a:r>
          </a:p>
          <a:p>
            <a:pPr lvl="1" rtl="0"/>
            <a:r>
              <a:rPr lang="ru"/>
              <a:t>Second level</a:t>
            </a:r>
          </a:p>
          <a:p>
            <a:pPr lvl="2" rtl="0"/>
            <a:r>
              <a:rPr lang="ru"/>
              <a:t>Third level</a:t>
            </a:r>
          </a:p>
          <a:p>
            <a:pPr lvl="3" rtl="0"/>
            <a:r>
              <a:rPr lang="ru"/>
              <a:t>Fourth level</a:t>
            </a:r>
          </a:p>
          <a:p>
            <a:pPr lvl="4" rtl="0"/>
            <a:r>
              <a:rPr lang="ru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8873436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Image Only" preserve="1">
  <p:cSld name="Full 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336000" y="6405331"/>
            <a:ext cx="432000" cy="288000"/>
          </a:xfrm>
          <a:prstGeom prst="rect">
            <a:avLst/>
          </a:prstGeom>
        </p:spPr>
        <p:txBody>
          <a:bodyPr rtlCol="0"/>
          <a:lstStyle/>
          <a:p>
            <a:pPr defTabSz="1219170" rtl="0"/>
            <a:fld id="{2C246A12-6F77-45C6-8BD8-468123B0ECFA}" type="slidenum">
              <a:rPr lang="en-GB" smtClean="0"/>
              <a:pPr defTabSz="1219170"/>
              <a:t>‹#›</a:t>
            </a:fld>
            <a:endParaRPr lang="en-GB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85747"/>
          </a:xfrm>
        </p:spPr>
        <p:txBody>
          <a:bodyPr tIns="540000" rtlCol="0"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rtl="0"/>
            <a:r>
              <a:rPr lang="ru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56310093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336000" y="6405331"/>
            <a:ext cx="432000" cy="288000"/>
          </a:xfrm>
          <a:prstGeom prst="rect">
            <a:avLst/>
          </a:prstGeom>
        </p:spPr>
        <p:txBody>
          <a:bodyPr rtlCol="0"/>
          <a:lstStyle/>
          <a:p>
            <a:pPr defTabSz="1219170" rtl="0"/>
            <a:fld id="{A04133C5-7AF3-4746-A73B-7CAD2AE7EFAF}" type="slidenum">
              <a:rPr lang="en-GB" smtClean="0"/>
              <a:pPr defTabSz="121917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0390321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 Slide" preserve="1">
  <p:cSld name="Thank You Slide">
    <p:bg>
      <p:bgPr>
        <a:gradFill>
          <a:gsLst>
            <a:gs pos="0">
              <a:schemeClr val="tx2"/>
            </a:gs>
            <a:gs pos="100000">
              <a:schemeClr val="bg2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hider"/>
          <p:cNvSpPr/>
          <p:nvPr userDrawn="1">
            <p:custDataLst>
              <p:tags r:id="rId2"/>
            </p:custDataLst>
          </p:nvPr>
        </p:nvSpPr>
        <p:spPr>
          <a:xfrm>
            <a:off x="821" y="6191309"/>
            <a:ext cx="12191180" cy="666691"/>
          </a:xfrm>
          <a:prstGeom prst="rect">
            <a:avLst/>
          </a:prstGeom>
          <a:solidFill>
            <a:srgbClr val="FFFFF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336000" y="6405331"/>
            <a:ext cx="432000" cy="288000"/>
          </a:xfrm>
          <a:prstGeom prst="rect">
            <a:avLst/>
          </a:prstGeom>
        </p:spPr>
        <p:txBody>
          <a:bodyPr rtlCol="0"/>
          <a:lstStyle/>
          <a:p>
            <a:pPr defTabSz="1219170" rtl="0"/>
            <a:fld id="{A8A1F426-F697-4927-8731-87C8B6BCB756}" type="slidenum">
              <a:rPr lang="en-GB" smtClean="0"/>
              <a:pPr defTabSz="1219170"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5718" y="696000"/>
            <a:ext cx="8494645" cy="487313"/>
          </a:xfrm>
        </p:spPr>
        <p:txBody>
          <a:bodyPr wrap="square" rtlCol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ru"/>
              <a:t>Click to edit Master title style</a:t>
            </a:r>
          </a:p>
        </p:txBody>
      </p:sp>
      <p:cxnSp>
        <p:nvCxnSpPr>
          <p:cNvPr id="16" name="Straight Connector 15"/>
          <p:cNvCxnSpPr/>
          <p:nvPr userDrawn="1"/>
        </p:nvCxnSpPr>
        <p:spPr bwMode="gray">
          <a:xfrm>
            <a:off x="0" y="6191309"/>
            <a:ext cx="12192000" cy="0"/>
          </a:xfrm>
          <a:prstGeom prst="line">
            <a:avLst/>
          </a:prstGeom>
          <a:ln w="127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Logo">
            <a:extLst>
              <a:ext uri="{FF2B5EF4-FFF2-40B4-BE49-F238E27FC236}">
                <a16:creationId xmlns:a16="http://schemas.microsoft.com/office/drawing/2014/main" id="{FCF53EAD-04D1-4EB3-8F77-13DD055D4C07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203354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431801" y="1052736"/>
            <a:ext cx="11328400" cy="720080"/>
          </a:xfrm>
        </p:spPr>
        <p:txBody>
          <a:bodyPr rtlCol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000" b="1" cap="all" baseline="0"/>
            </a:lvl1pPr>
            <a:lvl2pPr marL="358412" indent="0">
              <a:buFontTx/>
              <a:buNone/>
              <a:defRPr sz="2000"/>
            </a:lvl2pPr>
            <a:lvl3pPr marL="716833" indent="0">
              <a:buFontTx/>
              <a:buNone/>
              <a:defRPr sz="2000"/>
            </a:lvl3pPr>
            <a:lvl4pPr marL="1073666" indent="0">
              <a:buFontTx/>
              <a:buNone/>
              <a:defRPr sz="2000"/>
            </a:lvl4pPr>
            <a:lvl5pPr marL="1432083" indent="0">
              <a:buFontTx/>
              <a:buNone/>
              <a:defRPr sz="2000"/>
            </a:lvl5pPr>
          </a:lstStyle>
          <a:p>
            <a:pPr lvl="0" rtl="0"/>
            <a:r>
              <a:rPr lang="ru" noProof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rtl="0"/>
            <a:r>
              <a:rPr lang="ru" noProof="0"/>
              <a:t>Click to edit Master title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6"/>
          </p:nvPr>
        </p:nvSpPr>
        <p:spPr>
          <a:xfrm>
            <a:off x="3503712" y="6534194"/>
            <a:ext cx="1056117" cy="220663"/>
          </a:xfrm>
          <a:prstGeom prst="rect">
            <a:avLst/>
          </a:prstGeom>
        </p:spPr>
        <p:txBody>
          <a:bodyPr lIns="68513" tIns="34256" rIns="68513" bIns="34256" rtlCol="0"/>
          <a:lstStyle/>
          <a:p>
            <a:pPr defTabSz="913486" rtl="0"/>
            <a:r>
              <a:rPr lang="ru" sz="1867">
                <a:solidFill>
                  <a:srgbClr val="183962"/>
                </a:solidFill>
              </a:rPr>
              <a:t>DD mmm YYYY</a:t>
            </a:r>
            <a:endParaRPr lang="en-US" sz="1867" dirty="0">
              <a:solidFill>
                <a:srgbClr val="183962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7"/>
          </p:nvPr>
        </p:nvSpPr>
        <p:spPr>
          <a:xfrm>
            <a:off x="4847864" y="6534194"/>
            <a:ext cx="5088565" cy="220663"/>
          </a:xfrm>
          <a:prstGeom prst="rect">
            <a:avLst/>
          </a:prstGeom>
        </p:spPr>
        <p:txBody>
          <a:bodyPr lIns="68513" tIns="34256" rIns="68513" bIns="34256" rtlCol="0"/>
          <a:lstStyle/>
          <a:p>
            <a:pPr defTabSz="913486" rtl="0"/>
            <a:r>
              <a:rPr lang="ru" sz="1867">
                <a:solidFill>
                  <a:srgbClr val="183962"/>
                </a:solidFill>
              </a:rPr>
              <a:t>Presentation title</a:t>
            </a:r>
            <a:endParaRPr lang="en-US" sz="1867" dirty="0">
              <a:solidFill>
                <a:srgbClr val="183962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8"/>
          </p:nvPr>
        </p:nvSpPr>
        <p:spPr>
          <a:xfrm>
            <a:off x="431800" y="6525344"/>
            <a:ext cx="383613" cy="220568"/>
          </a:xfrm>
          <a:prstGeom prst="rect">
            <a:avLst/>
          </a:prstGeom>
        </p:spPr>
        <p:txBody>
          <a:bodyPr lIns="68513" tIns="34256" rIns="68513" bIns="34256" rtlCol="0"/>
          <a:lstStyle/>
          <a:p>
            <a:pPr defTabSz="913486" rtl="0"/>
            <a:fld id="{32B29DCE-219E-4E20-AD7C-3FB447E38C09}" type="slidenum">
              <a:rPr lang="en-US" sz="1867" smtClean="0">
                <a:solidFill>
                  <a:srgbClr val="183962"/>
                </a:solidFill>
              </a:rPr>
              <a:pPr defTabSz="913486"/>
              <a:t>‹#›</a:t>
            </a:fld>
            <a:endParaRPr lang="en-US" sz="1867" dirty="0">
              <a:solidFill>
                <a:srgbClr val="18396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228516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объект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6045" y="107573"/>
            <a:ext cx="10515600" cy="725443"/>
          </a:xfrm>
        </p:spPr>
        <p:txBody>
          <a:bodyPr>
            <a:normAutofit/>
          </a:bodyPr>
          <a:lstStyle>
            <a:lvl1pPr>
              <a:defRPr sz="22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50D8BB2-CDDB-4849-BFC0-FD16BA052DDD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725333" y="6279051"/>
            <a:ext cx="9431867" cy="433387"/>
          </a:xfrm>
        </p:spPr>
        <p:txBody>
          <a:bodyPr/>
          <a:lstStyle>
            <a:lvl1pPr marL="0" indent="0">
              <a:buNone/>
              <a:defRPr sz="900" baseline="0"/>
            </a:lvl1pPr>
          </a:lstStyle>
          <a:p>
            <a:pPr lvl="0"/>
            <a:r>
              <a:rPr lang="ru-RU" dirty="0"/>
              <a:t>Конфиденциально. Только для внутреннего обучения</a:t>
            </a:r>
          </a:p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5469699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>
  <p:cSld name="Title Slide">
    <p:bg>
      <p:bgPr>
        <a:gradFill>
          <a:gsLst>
            <a:gs pos="0">
              <a:schemeClr val="tx2"/>
            </a:gs>
            <a:gs pos="100000">
              <a:schemeClr val="bg2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364794" y="1044411"/>
            <a:ext cx="8049953" cy="5247871"/>
          </a:xfrm>
          <a:custGeom>
            <a:avLst/>
            <a:gdLst>
              <a:gd name="connsiteX0" fmla="*/ 0 w 5976664"/>
              <a:gd name="connsiteY0" fmla="*/ 0 h 3888431"/>
              <a:gd name="connsiteX1" fmla="*/ 5976664 w 5976664"/>
              <a:gd name="connsiteY1" fmla="*/ 0 h 3888431"/>
              <a:gd name="connsiteX2" fmla="*/ 5976664 w 5976664"/>
              <a:gd name="connsiteY2" fmla="*/ 3888431 h 3888431"/>
              <a:gd name="connsiteX3" fmla="*/ 0 w 5976664"/>
              <a:gd name="connsiteY3" fmla="*/ 3888431 h 3888431"/>
              <a:gd name="connsiteX4" fmla="*/ 0 w 5976664"/>
              <a:gd name="connsiteY4" fmla="*/ 0 h 3888431"/>
              <a:gd name="connsiteX0" fmla="*/ 13447 w 5990111"/>
              <a:gd name="connsiteY0" fmla="*/ 0 h 3888431"/>
              <a:gd name="connsiteX1" fmla="*/ 5990111 w 5990111"/>
              <a:gd name="connsiteY1" fmla="*/ 0 h 3888431"/>
              <a:gd name="connsiteX2" fmla="*/ 5990111 w 5990111"/>
              <a:gd name="connsiteY2" fmla="*/ 3888431 h 3888431"/>
              <a:gd name="connsiteX3" fmla="*/ 0 w 5990111"/>
              <a:gd name="connsiteY3" fmla="*/ 2933690 h 3888431"/>
              <a:gd name="connsiteX4" fmla="*/ 13447 w 5990111"/>
              <a:gd name="connsiteY4" fmla="*/ 0 h 3888431"/>
              <a:gd name="connsiteX0" fmla="*/ 228600 w 5990111"/>
              <a:gd name="connsiteY0" fmla="*/ 336177 h 3888431"/>
              <a:gd name="connsiteX1" fmla="*/ 5990111 w 5990111"/>
              <a:gd name="connsiteY1" fmla="*/ 0 h 3888431"/>
              <a:gd name="connsiteX2" fmla="*/ 5990111 w 5990111"/>
              <a:gd name="connsiteY2" fmla="*/ 3888431 h 3888431"/>
              <a:gd name="connsiteX3" fmla="*/ 0 w 5990111"/>
              <a:gd name="connsiteY3" fmla="*/ 2933690 h 3888431"/>
              <a:gd name="connsiteX4" fmla="*/ 228600 w 5990111"/>
              <a:gd name="connsiteY4" fmla="*/ 336177 h 3888431"/>
              <a:gd name="connsiteX0" fmla="*/ 228600 w 5990111"/>
              <a:gd name="connsiteY0" fmla="*/ 282389 h 3834643"/>
              <a:gd name="connsiteX1" fmla="*/ 5048817 w 5990111"/>
              <a:gd name="connsiteY1" fmla="*/ 0 h 3834643"/>
              <a:gd name="connsiteX2" fmla="*/ 5990111 w 5990111"/>
              <a:gd name="connsiteY2" fmla="*/ 3834643 h 3834643"/>
              <a:gd name="connsiteX3" fmla="*/ 0 w 5990111"/>
              <a:gd name="connsiteY3" fmla="*/ 2879902 h 3834643"/>
              <a:gd name="connsiteX4" fmla="*/ 228600 w 5990111"/>
              <a:gd name="connsiteY4" fmla="*/ 282389 h 3834643"/>
              <a:gd name="connsiteX0" fmla="*/ 228600 w 6138029"/>
              <a:gd name="connsiteY0" fmla="*/ 282389 h 2879902"/>
              <a:gd name="connsiteX1" fmla="*/ 5048817 w 6138029"/>
              <a:gd name="connsiteY1" fmla="*/ 0 h 2879902"/>
              <a:gd name="connsiteX2" fmla="*/ 6138029 w 6138029"/>
              <a:gd name="connsiteY2" fmla="*/ 1575537 h 2879902"/>
              <a:gd name="connsiteX3" fmla="*/ 0 w 6138029"/>
              <a:gd name="connsiteY3" fmla="*/ 2879902 h 2879902"/>
              <a:gd name="connsiteX4" fmla="*/ 228600 w 6138029"/>
              <a:gd name="connsiteY4" fmla="*/ 282389 h 2879902"/>
              <a:gd name="connsiteX0" fmla="*/ 228600 w 6138029"/>
              <a:gd name="connsiteY0" fmla="*/ 282389 h 3857600"/>
              <a:gd name="connsiteX1" fmla="*/ 5048817 w 6138029"/>
              <a:gd name="connsiteY1" fmla="*/ 0 h 3857600"/>
              <a:gd name="connsiteX2" fmla="*/ 6138029 w 6138029"/>
              <a:gd name="connsiteY2" fmla="*/ 1575537 h 3857600"/>
              <a:gd name="connsiteX3" fmla="*/ 3601689 w 6138029"/>
              <a:gd name="connsiteY3" fmla="*/ 3857600 h 3857600"/>
              <a:gd name="connsiteX4" fmla="*/ 0 w 6138029"/>
              <a:gd name="connsiteY4" fmla="*/ 2879902 h 3857600"/>
              <a:gd name="connsiteX5" fmla="*/ 228600 w 6138029"/>
              <a:gd name="connsiteY5" fmla="*/ 282389 h 3857600"/>
              <a:gd name="connsiteX0" fmla="*/ 228600 w 6138029"/>
              <a:gd name="connsiteY0" fmla="*/ 282389 h 3857600"/>
              <a:gd name="connsiteX1" fmla="*/ 5048817 w 6138029"/>
              <a:gd name="connsiteY1" fmla="*/ 0 h 3857600"/>
              <a:gd name="connsiteX2" fmla="*/ 6138029 w 6138029"/>
              <a:gd name="connsiteY2" fmla="*/ 1575537 h 3857600"/>
              <a:gd name="connsiteX3" fmla="*/ 3601689 w 6138029"/>
              <a:gd name="connsiteY3" fmla="*/ 3857600 h 3857600"/>
              <a:gd name="connsiteX4" fmla="*/ 0 w 6138029"/>
              <a:gd name="connsiteY4" fmla="*/ 2879902 h 3857600"/>
              <a:gd name="connsiteX5" fmla="*/ 228600 w 6138029"/>
              <a:gd name="connsiteY5" fmla="*/ 282389 h 3857600"/>
              <a:gd name="connsiteX0" fmla="*/ 228600 w 6138029"/>
              <a:gd name="connsiteY0" fmla="*/ 282389 h 3857600"/>
              <a:gd name="connsiteX1" fmla="*/ 5048817 w 6138029"/>
              <a:gd name="connsiteY1" fmla="*/ 0 h 3857600"/>
              <a:gd name="connsiteX2" fmla="*/ 6138029 w 6138029"/>
              <a:gd name="connsiteY2" fmla="*/ 1575537 h 3857600"/>
              <a:gd name="connsiteX3" fmla="*/ 3601689 w 6138029"/>
              <a:gd name="connsiteY3" fmla="*/ 3857600 h 3857600"/>
              <a:gd name="connsiteX4" fmla="*/ 0 w 6138029"/>
              <a:gd name="connsiteY4" fmla="*/ 2879902 h 3857600"/>
              <a:gd name="connsiteX5" fmla="*/ 228600 w 6138029"/>
              <a:gd name="connsiteY5" fmla="*/ 282389 h 3857600"/>
              <a:gd name="connsiteX0" fmla="*/ 228600 w 6017006"/>
              <a:gd name="connsiteY0" fmla="*/ 282389 h 3857600"/>
              <a:gd name="connsiteX1" fmla="*/ 5048817 w 6017006"/>
              <a:gd name="connsiteY1" fmla="*/ 0 h 3857600"/>
              <a:gd name="connsiteX2" fmla="*/ 6017006 w 6017006"/>
              <a:gd name="connsiteY2" fmla="*/ 1521749 h 3857600"/>
              <a:gd name="connsiteX3" fmla="*/ 3601689 w 6017006"/>
              <a:gd name="connsiteY3" fmla="*/ 3857600 h 3857600"/>
              <a:gd name="connsiteX4" fmla="*/ 0 w 6017006"/>
              <a:gd name="connsiteY4" fmla="*/ 2879902 h 3857600"/>
              <a:gd name="connsiteX5" fmla="*/ 228600 w 6017006"/>
              <a:gd name="connsiteY5" fmla="*/ 282389 h 3857600"/>
              <a:gd name="connsiteX0" fmla="*/ 228600 w 6070794"/>
              <a:gd name="connsiteY0" fmla="*/ 282389 h 3857600"/>
              <a:gd name="connsiteX1" fmla="*/ 5048817 w 6070794"/>
              <a:gd name="connsiteY1" fmla="*/ 0 h 3857600"/>
              <a:gd name="connsiteX2" fmla="*/ 6070794 w 6070794"/>
              <a:gd name="connsiteY2" fmla="*/ 1441067 h 3857600"/>
              <a:gd name="connsiteX3" fmla="*/ 3601689 w 6070794"/>
              <a:gd name="connsiteY3" fmla="*/ 3857600 h 3857600"/>
              <a:gd name="connsiteX4" fmla="*/ 0 w 6070794"/>
              <a:gd name="connsiteY4" fmla="*/ 2879902 h 3857600"/>
              <a:gd name="connsiteX5" fmla="*/ 228600 w 6070794"/>
              <a:gd name="connsiteY5" fmla="*/ 282389 h 3857600"/>
              <a:gd name="connsiteX0" fmla="*/ 228600 w 6070794"/>
              <a:gd name="connsiteY0" fmla="*/ 282389 h 3857600"/>
              <a:gd name="connsiteX1" fmla="*/ 5048817 w 6070794"/>
              <a:gd name="connsiteY1" fmla="*/ 0 h 3857600"/>
              <a:gd name="connsiteX2" fmla="*/ 6070794 w 6070794"/>
              <a:gd name="connsiteY2" fmla="*/ 1441067 h 3857600"/>
              <a:gd name="connsiteX3" fmla="*/ 3601689 w 6070794"/>
              <a:gd name="connsiteY3" fmla="*/ 3857600 h 3857600"/>
              <a:gd name="connsiteX4" fmla="*/ 0 w 6070794"/>
              <a:gd name="connsiteY4" fmla="*/ 2879902 h 3857600"/>
              <a:gd name="connsiteX5" fmla="*/ 228600 w 6070794"/>
              <a:gd name="connsiteY5" fmla="*/ 282389 h 3857600"/>
              <a:gd name="connsiteX0" fmla="*/ 228600 w 6070794"/>
              <a:gd name="connsiteY0" fmla="*/ 282389 h 3857600"/>
              <a:gd name="connsiteX1" fmla="*/ 5048817 w 6070794"/>
              <a:gd name="connsiteY1" fmla="*/ 0 h 3857600"/>
              <a:gd name="connsiteX2" fmla="*/ 6070794 w 6070794"/>
              <a:gd name="connsiteY2" fmla="*/ 1441067 h 3857600"/>
              <a:gd name="connsiteX3" fmla="*/ 3601689 w 6070794"/>
              <a:gd name="connsiteY3" fmla="*/ 3857600 h 3857600"/>
              <a:gd name="connsiteX4" fmla="*/ 0 w 6070794"/>
              <a:gd name="connsiteY4" fmla="*/ 2879902 h 3857600"/>
              <a:gd name="connsiteX5" fmla="*/ 228600 w 6070794"/>
              <a:gd name="connsiteY5" fmla="*/ 282389 h 3857600"/>
              <a:gd name="connsiteX0" fmla="*/ 215153 w 6057347"/>
              <a:gd name="connsiteY0" fmla="*/ 282389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215153 w 6057347"/>
              <a:gd name="connsiteY5" fmla="*/ 282389 h 3857600"/>
              <a:gd name="connsiteX0" fmla="*/ 215153 w 6057347"/>
              <a:gd name="connsiteY0" fmla="*/ 282389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215153 w 6057347"/>
              <a:gd name="connsiteY5" fmla="*/ 282389 h 3857600"/>
              <a:gd name="connsiteX0" fmla="*/ 215153 w 6057347"/>
              <a:gd name="connsiteY0" fmla="*/ 282389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215153 w 6057347"/>
              <a:gd name="connsiteY5" fmla="*/ 282389 h 3857600"/>
              <a:gd name="connsiteX0" fmla="*/ 389965 w 6057347"/>
              <a:gd name="connsiteY0" fmla="*/ 497542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389965 w 6057347"/>
              <a:gd name="connsiteY5" fmla="*/ 497542 h 3857600"/>
              <a:gd name="connsiteX0" fmla="*/ 255494 w 6057347"/>
              <a:gd name="connsiteY0" fmla="*/ 295836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255494 w 6057347"/>
              <a:gd name="connsiteY5" fmla="*/ 295836 h 3857600"/>
              <a:gd name="connsiteX0" fmla="*/ 255494 w 6057347"/>
              <a:gd name="connsiteY0" fmla="*/ 295836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255494 w 6057347"/>
              <a:gd name="connsiteY5" fmla="*/ 295836 h 3857600"/>
              <a:gd name="connsiteX0" fmla="*/ 252169 w 6057347"/>
              <a:gd name="connsiteY0" fmla="*/ 335737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252169 w 6057347"/>
              <a:gd name="connsiteY5" fmla="*/ 335737 h 3857600"/>
              <a:gd name="connsiteX0" fmla="*/ 252169 w 6057347"/>
              <a:gd name="connsiteY0" fmla="*/ 335737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252169 w 6057347"/>
              <a:gd name="connsiteY5" fmla="*/ 335737 h 3857600"/>
              <a:gd name="connsiteX0" fmla="*/ 235544 w 6057347"/>
              <a:gd name="connsiteY0" fmla="*/ 335737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235544 w 6057347"/>
              <a:gd name="connsiteY5" fmla="*/ 335737 h 3857600"/>
              <a:gd name="connsiteX0" fmla="*/ 235544 w 6057347"/>
              <a:gd name="connsiteY0" fmla="*/ 335737 h 3877551"/>
              <a:gd name="connsiteX1" fmla="*/ 5035370 w 6057347"/>
              <a:gd name="connsiteY1" fmla="*/ 0 h 3877551"/>
              <a:gd name="connsiteX2" fmla="*/ 6057347 w 6057347"/>
              <a:gd name="connsiteY2" fmla="*/ 1441067 h 3877551"/>
              <a:gd name="connsiteX3" fmla="*/ 3621492 w 6057347"/>
              <a:gd name="connsiteY3" fmla="*/ 3877551 h 3877551"/>
              <a:gd name="connsiteX4" fmla="*/ 0 w 6057347"/>
              <a:gd name="connsiteY4" fmla="*/ 2853008 h 3877551"/>
              <a:gd name="connsiteX5" fmla="*/ 235544 w 6057347"/>
              <a:gd name="connsiteY5" fmla="*/ 335737 h 3877551"/>
              <a:gd name="connsiteX0" fmla="*/ 235544 w 6047372"/>
              <a:gd name="connsiteY0" fmla="*/ 335737 h 3877551"/>
              <a:gd name="connsiteX1" fmla="*/ 5035370 w 6047372"/>
              <a:gd name="connsiteY1" fmla="*/ 0 h 3877551"/>
              <a:gd name="connsiteX2" fmla="*/ 6047372 w 6047372"/>
              <a:gd name="connsiteY2" fmla="*/ 1431092 h 3877551"/>
              <a:gd name="connsiteX3" fmla="*/ 3621492 w 6047372"/>
              <a:gd name="connsiteY3" fmla="*/ 3877551 h 3877551"/>
              <a:gd name="connsiteX4" fmla="*/ 0 w 6047372"/>
              <a:gd name="connsiteY4" fmla="*/ 2853008 h 3877551"/>
              <a:gd name="connsiteX5" fmla="*/ 235544 w 6047372"/>
              <a:gd name="connsiteY5" fmla="*/ 335737 h 3877551"/>
              <a:gd name="connsiteX0" fmla="*/ 235544 w 6047372"/>
              <a:gd name="connsiteY0" fmla="*/ 335737 h 3877551"/>
              <a:gd name="connsiteX1" fmla="*/ 5035370 w 6047372"/>
              <a:gd name="connsiteY1" fmla="*/ 0 h 3877551"/>
              <a:gd name="connsiteX2" fmla="*/ 6047372 w 6047372"/>
              <a:gd name="connsiteY2" fmla="*/ 1434417 h 3877551"/>
              <a:gd name="connsiteX3" fmla="*/ 3621492 w 6047372"/>
              <a:gd name="connsiteY3" fmla="*/ 3877551 h 3877551"/>
              <a:gd name="connsiteX4" fmla="*/ 0 w 6047372"/>
              <a:gd name="connsiteY4" fmla="*/ 2853008 h 3877551"/>
              <a:gd name="connsiteX5" fmla="*/ 235544 w 6047372"/>
              <a:gd name="connsiteY5" fmla="*/ 335737 h 3877551"/>
              <a:gd name="connsiteX0" fmla="*/ 235544 w 6047372"/>
              <a:gd name="connsiteY0" fmla="*/ 335737 h 3867576"/>
              <a:gd name="connsiteX1" fmla="*/ 5035370 w 6047372"/>
              <a:gd name="connsiteY1" fmla="*/ 0 h 3867576"/>
              <a:gd name="connsiteX2" fmla="*/ 6047372 w 6047372"/>
              <a:gd name="connsiteY2" fmla="*/ 1434417 h 3867576"/>
              <a:gd name="connsiteX3" fmla="*/ 3608192 w 6047372"/>
              <a:gd name="connsiteY3" fmla="*/ 3867576 h 3867576"/>
              <a:gd name="connsiteX4" fmla="*/ 0 w 6047372"/>
              <a:gd name="connsiteY4" fmla="*/ 2853008 h 3867576"/>
              <a:gd name="connsiteX5" fmla="*/ 235544 w 6047372"/>
              <a:gd name="connsiteY5" fmla="*/ 335737 h 3867576"/>
              <a:gd name="connsiteX0" fmla="*/ 235544 w 6047372"/>
              <a:gd name="connsiteY0" fmla="*/ 335737 h 3870901"/>
              <a:gd name="connsiteX1" fmla="*/ 5035370 w 6047372"/>
              <a:gd name="connsiteY1" fmla="*/ 0 h 3870901"/>
              <a:gd name="connsiteX2" fmla="*/ 6047372 w 6047372"/>
              <a:gd name="connsiteY2" fmla="*/ 1434417 h 3870901"/>
              <a:gd name="connsiteX3" fmla="*/ 3614842 w 6047372"/>
              <a:gd name="connsiteY3" fmla="*/ 3870901 h 3870901"/>
              <a:gd name="connsiteX4" fmla="*/ 0 w 6047372"/>
              <a:gd name="connsiteY4" fmla="*/ 2853008 h 3870901"/>
              <a:gd name="connsiteX5" fmla="*/ 235544 w 6047372"/>
              <a:gd name="connsiteY5" fmla="*/ 335737 h 3870901"/>
              <a:gd name="connsiteX0" fmla="*/ 235544 w 6047372"/>
              <a:gd name="connsiteY0" fmla="*/ 359013 h 3894177"/>
              <a:gd name="connsiteX1" fmla="*/ 5065296 w 6047372"/>
              <a:gd name="connsiteY1" fmla="*/ 0 h 3894177"/>
              <a:gd name="connsiteX2" fmla="*/ 6047372 w 6047372"/>
              <a:gd name="connsiteY2" fmla="*/ 1457693 h 3894177"/>
              <a:gd name="connsiteX3" fmla="*/ 3614842 w 6047372"/>
              <a:gd name="connsiteY3" fmla="*/ 3894177 h 3894177"/>
              <a:gd name="connsiteX4" fmla="*/ 0 w 6047372"/>
              <a:gd name="connsiteY4" fmla="*/ 2876284 h 3894177"/>
              <a:gd name="connsiteX5" fmla="*/ 235544 w 6047372"/>
              <a:gd name="connsiteY5" fmla="*/ 359013 h 3894177"/>
              <a:gd name="connsiteX0" fmla="*/ 251446 w 6047372"/>
              <a:gd name="connsiteY0" fmla="*/ 0 h 4054649"/>
              <a:gd name="connsiteX1" fmla="*/ 5065296 w 6047372"/>
              <a:gd name="connsiteY1" fmla="*/ 160472 h 4054649"/>
              <a:gd name="connsiteX2" fmla="*/ 6047372 w 6047372"/>
              <a:gd name="connsiteY2" fmla="*/ 1618165 h 4054649"/>
              <a:gd name="connsiteX3" fmla="*/ 3614842 w 6047372"/>
              <a:gd name="connsiteY3" fmla="*/ 4054649 h 4054649"/>
              <a:gd name="connsiteX4" fmla="*/ 0 w 6047372"/>
              <a:gd name="connsiteY4" fmla="*/ 3036756 h 4054649"/>
              <a:gd name="connsiteX5" fmla="*/ 251446 w 6047372"/>
              <a:gd name="connsiteY5" fmla="*/ 0 h 4054649"/>
              <a:gd name="connsiteX0" fmla="*/ 251446 w 6047372"/>
              <a:gd name="connsiteY0" fmla="*/ 0 h 4054649"/>
              <a:gd name="connsiteX1" fmla="*/ 5065296 w 6047372"/>
              <a:gd name="connsiteY1" fmla="*/ 160472 h 4054649"/>
              <a:gd name="connsiteX2" fmla="*/ 6047372 w 6047372"/>
              <a:gd name="connsiteY2" fmla="*/ 1618165 h 4054649"/>
              <a:gd name="connsiteX3" fmla="*/ 3614842 w 6047372"/>
              <a:gd name="connsiteY3" fmla="*/ 4054649 h 4054649"/>
              <a:gd name="connsiteX4" fmla="*/ 0 w 6047372"/>
              <a:gd name="connsiteY4" fmla="*/ 3450224 h 4054649"/>
              <a:gd name="connsiteX5" fmla="*/ 251446 w 6047372"/>
              <a:gd name="connsiteY5" fmla="*/ 0 h 4054649"/>
              <a:gd name="connsiteX0" fmla="*/ 251446 w 6047372"/>
              <a:gd name="connsiteY0" fmla="*/ 0 h 4054649"/>
              <a:gd name="connsiteX1" fmla="*/ 5065296 w 6047372"/>
              <a:gd name="connsiteY1" fmla="*/ 160472 h 4054649"/>
              <a:gd name="connsiteX2" fmla="*/ 6047372 w 6047372"/>
              <a:gd name="connsiteY2" fmla="*/ 1618165 h 4054649"/>
              <a:gd name="connsiteX3" fmla="*/ 3614842 w 6047372"/>
              <a:gd name="connsiteY3" fmla="*/ 4054649 h 4054649"/>
              <a:gd name="connsiteX4" fmla="*/ 0 w 6047372"/>
              <a:gd name="connsiteY4" fmla="*/ 3450224 h 4054649"/>
              <a:gd name="connsiteX5" fmla="*/ 251446 w 6047372"/>
              <a:gd name="connsiteY5" fmla="*/ 0 h 4054649"/>
              <a:gd name="connsiteX0" fmla="*/ 251446 w 6047372"/>
              <a:gd name="connsiteY0" fmla="*/ 0 h 4722558"/>
              <a:gd name="connsiteX1" fmla="*/ 5065296 w 6047372"/>
              <a:gd name="connsiteY1" fmla="*/ 160472 h 4722558"/>
              <a:gd name="connsiteX2" fmla="*/ 6047372 w 6047372"/>
              <a:gd name="connsiteY2" fmla="*/ 1618165 h 4722558"/>
              <a:gd name="connsiteX3" fmla="*/ 3614842 w 6047372"/>
              <a:gd name="connsiteY3" fmla="*/ 4722558 h 4722558"/>
              <a:gd name="connsiteX4" fmla="*/ 0 w 6047372"/>
              <a:gd name="connsiteY4" fmla="*/ 3450224 h 4722558"/>
              <a:gd name="connsiteX5" fmla="*/ 251446 w 6047372"/>
              <a:gd name="connsiteY5" fmla="*/ 0 h 4722558"/>
              <a:gd name="connsiteX0" fmla="*/ 251446 w 6063275"/>
              <a:gd name="connsiteY0" fmla="*/ 0 h 4722558"/>
              <a:gd name="connsiteX1" fmla="*/ 5065296 w 6063275"/>
              <a:gd name="connsiteY1" fmla="*/ 160472 h 4722558"/>
              <a:gd name="connsiteX2" fmla="*/ 6063275 w 6063275"/>
              <a:gd name="connsiteY2" fmla="*/ 1501546 h 4722558"/>
              <a:gd name="connsiteX3" fmla="*/ 3614842 w 6063275"/>
              <a:gd name="connsiteY3" fmla="*/ 4722558 h 4722558"/>
              <a:gd name="connsiteX4" fmla="*/ 0 w 6063275"/>
              <a:gd name="connsiteY4" fmla="*/ 3450224 h 4722558"/>
              <a:gd name="connsiteX5" fmla="*/ 251446 w 6063275"/>
              <a:gd name="connsiteY5" fmla="*/ 0 h 4722558"/>
              <a:gd name="connsiteX0" fmla="*/ 251446 w 6063275"/>
              <a:gd name="connsiteY0" fmla="*/ 0 h 4722558"/>
              <a:gd name="connsiteX1" fmla="*/ 5065296 w 6063275"/>
              <a:gd name="connsiteY1" fmla="*/ 160472 h 4722558"/>
              <a:gd name="connsiteX2" fmla="*/ 6063275 w 6063275"/>
              <a:gd name="connsiteY2" fmla="*/ 1501546 h 4722558"/>
              <a:gd name="connsiteX3" fmla="*/ 3614842 w 6063275"/>
              <a:gd name="connsiteY3" fmla="*/ 4722558 h 4722558"/>
              <a:gd name="connsiteX4" fmla="*/ 0 w 6063275"/>
              <a:gd name="connsiteY4" fmla="*/ 3450224 h 4722558"/>
              <a:gd name="connsiteX5" fmla="*/ 251446 w 6063275"/>
              <a:gd name="connsiteY5" fmla="*/ 0 h 4722558"/>
              <a:gd name="connsiteX0" fmla="*/ 251446 w 6031470"/>
              <a:gd name="connsiteY0" fmla="*/ 0 h 4722558"/>
              <a:gd name="connsiteX1" fmla="*/ 5065296 w 6031470"/>
              <a:gd name="connsiteY1" fmla="*/ 160472 h 4722558"/>
              <a:gd name="connsiteX2" fmla="*/ 6031470 w 6031470"/>
              <a:gd name="connsiteY2" fmla="*/ 1459140 h 4722558"/>
              <a:gd name="connsiteX3" fmla="*/ 3614842 w 6031470"/>
              <a:gd name="connsiteY3" fmla="*/ 4722558 h 4722558"/>
              <a:gd name="connsiteX4" fmla="*/ 0 w 6031470"/>
              <a:gd name="connsiteY4" fmla="*/ 3450224 h 4722558"/>
              <a:gd name="connsiteX5" fmla="*/ 251446 w 6031470"/>
              <a:gd name="connsiteY5" fmla="*/ 0 h 4722558"/>
              <a:gd name="connsiteX0" fmla="*/ 251446 w 6031470"/>
              <a:gd name="connsiteY0" fmla="*/ 454429 h 5176987"/>
              <a:gd name="connsiteX1" fmla="*/ 5073247 w 6031470"/>
              <a:gd name="connsiteY1" fmla="*/ 0 h 5176987"/>
              <a:gd name="connsiteX2" fmla="*/ 6031470 w 6031470"/>
              <a:gd name="connsiteY2" fmla="*/ 1913569 h 5176987"/>
              <a:gd name="connsiteX3" fmla="*/ 3614842 w 6031470"/>
              <a:gd name="connsiteY3" fmla="*/ 5176987 h 5176987"/>
              <a:gd name="connsiteX4" fmla="*/ 0 w 6031470"/>
              <a:gd name="connsiteY4" fmla="*/ 3904653 h 5176987"/>
              <a:gd name="connsiteX5" fmla="*/ 251446 w 6031470"/>
              <a:gd name="connsiteY5" fmla="*/ 454429 h 5176987"/>
              <a:gd name="connsiteX0" fmla="*/ 251446 w 6031470"/>
              <a:gd name="connsiteY0" fmla="*/ 454429 h 5176987"/>
              <a:gd name="connsiteX1" fmla="*/ 5073247 w 6031470"/>
              <a:gd name="connsiteY1" fmla="*/ 0 h 5176987"/>
              <a:gd name="connsiteX2" fmla="*/ 6031470 w 6031470"/>
              <a:gd name="connsiteY2" fmla="*/ 1913569 h 5176987"/>
              <a:gd name="connsiteX3" fmla="*/ 3614842 w 6031470"/>
              <a:gd name="connsiteY3" fmla="*/ 5176987 h 5176987"/>
              <a:gd name="connsiteX4" fmla="*/ 0 w 6031470"/>
              <a:gd name="connsiteY4" fmla="*/ 3904653 h 5176987"/>
              <a:gd name="connsiteX5" fmla="*/ 251446 w 6031470"/>
              <a:gd name="connsiteY5" fmla="*/ 454429 h 5176987"/>
              <a:gd name="connsiteX0" fmla="*/ 251446 w 6055324"/>
              <a:gd name="connsiteY0" fmla="*/ 454429 h 5176987"/>
              <a:gd name="connsiteX1" fmla="*/ 5073247 w 6055324"/>
              <a:gd name="connsiteY1" fmla="*/ 0 h 5176987"/>
              <a:gd name="connsiteX2" fmla="*/ 6055324 w 6055324"/>
              <a:gd name="connsiteY2" fmla="*/ 1924170 h 5176987"/>
              <a:gd name="connsiteX3" fmla="*/ 3614842 w 6055324"/>
              <a:gd name="connsiteY3" fmla="*/ 5176987 h 5176987"/>
              <a:gd name="connsiteX4" fmla="*/ 0 w 6055324"/>
              <a:gd name="connsiteY4" fmla="*/ 3904653 h 5176987"/>
              <a:gd name="connsiteX5" fmla="*/ 251446 w 6055324"/>
              <a:gd name="connsiteY5" fmla="*/ 454429 h 5176987"/>
              <a:gd name="connsiteX0" fmla="*/ 251446 w 6055324"/>
              <a:gd name="connsiteY0" fmla="*/ 454429 h 5176987"/>
              <a:gd name="connsiteX1" fmla="*/ 5073247 w 6055324"/>
              <a:gd name="connsiteY1" fmla="*/ 0 h 5176987"/>
              <a:gd name="connsiteX2" fmla="*/ 6055324 w 6055324"/>
              <a:gd name="connsiteY2" fmla="*/ 1924170 h 5176987"/>
              <a:gd name="connsiteX3" fmla="*/ 3614842 w 6055324"/>
              <a:gd name="connsiteY3" fmla="*/ 5176987 h 5176987"/>
              <a:gd name="connsiteX4" fmla="*/ 0 w 6055324"/>
              <a:gd name="connsiteY4" fmla="*/ 3904653 h 5176987"/>
              <a:gd name="connsiteX5" fmla="*/ 251446 w 6055324"/>
              <a:gd name="connsiteY5" fmla="*/ 454429 h 5176987"/>
              <a:gd name="connsiteX0" fmla="*/ 251446 w 6055324"/>
              <a:gd name="connsiteY0" fmla="*/ 454429 h 5176987"/>
              <a:gd name="connsiteX1" fmla="*/ 5073247 w 6055324"/>
              <a:gd name="connsiteY1" fmla="*/ 0 h 5176987"/>
              <a:gd name="connsiteX2" fmla="*/ 6055324 w 6055324"/>
              <a:gd name="connsiteY2" fmla="*/ 1924170 h 5176987"/>
              <a:gd name="connsiteX3" fmla="*/ 3614842 w 6055324"/>
              <a:gd name="connsiteY3" fmla="*/ 5176987 h 5176987"/>
              <a:gd name="connsiteX4" fmla="*/ 0 w 6055324"/>
              <a:gd name="connsiteY4" fmla="*/ 3904653 h 5176987"/>
              <a:gd name="connsiteX5" fmla="*/ 251446 w 6055324"/>
              <a:gd name="connsiteY5" fmla="*/ 454429 h 5176987"/>
              <a:gd name="connsiteX0" fmla="*/ 235544 w 6039422"/>
              <a:gd name="connsiteY0" fmla="*/ 454429 h 5176987"/>
              <a:gd name="connsiteX1" fmla="*/ 5057345 w 6039422"/>
              <a:gd name="connsiteY1" fmla="*/ 0 h 5176987"/>
              <a:gd name="connsiteX2" fmla="*/ 6039422 w 6039422"/>
              <a:gd name="connsiteY2" fmla="*/ 1924170 h 5176987"/>
              <a:gd name="connsiteX3" fmla="*/ 3598940 w 6039422"/>
              <a:gd name="connsiteY3" fmla="*/ 5176987 h 5176987"/>
              <a:gd name="connsiteX4" fmla="*/ 0 w 6039422"/>
              <a:gd name="connsiteY4" fmla="*/ 3862246 h 5176987"/>
              <a:gd name="connsiteX5" fmla="*/ 235544 w 6039422"/>
              <a:gd name="connsiteY5" fmla="*/ 454429 h 5176987"/>
              <a:gd name="connsiteX0" fmla="*/ 235544 w 6015568"/>
              <a:gd name="connsiteY0" fmla="*/ 454429 h 5176987"/>
              <a:gd name="connsiteX1" fmla="*/ 5057345 w 6015568"/>
              <a:gd name="connsiteY1" fmla="*/ 0 h 5176987"/>
              <a:gd name="connsiteX2" fmla="*/ 6015568 w 6015568"/>
              <a:gd name="connsiteY2" fmla="*/ 1934773 h 5176987"/>
              <a:gd name="connsiteX3" fmla="*/ 3598940 w 6015568"/>
              <a:gd name="connsiteY3" fmla="*/ 5176987 h 5176987"/>
              <a:gd name="connsiteX4" fmla="*/ 0 w 6015568"/>
              <a:gd name="connsiteY4" fmla="*/ 3862246 h 5176987"/>
              <a:gd name="connsiteX5" fmla="*/ 235544 w 6015568"/>
              <a:gd name="connsiteY5" fmla="*/ 454429 h 5176987"/>
              <a:gd name="connsiteX0" fmla="*/ 235544 w 6015568"/>
              <a:gd name="connsiteY0" fmla="*/ 454429 h 5176987"/>
              <a:gd name="connsiteX1" fmla="*/ 5057345 w 6015568"/>
              <a:gd name="connsiteY1" fmla="*/ 0 h 5176987"/>
              <a:gd name="connsiteX2" fmla="*/ 6015568 w 6015568"/>
              <a:gd name="connsiteY2" fmla="*/ 1955976 h 5176987"/>
              <a:gd name="connsiteX3" fmla="*/ 3598940 w 6015568"/>
              <a:gd name="connsiteY3" fmla="*/ 5176987 h 5176987"/>
              <a:gd name="connsiteX4" fmla="*/ 0 w 6015568"/>
              <a:gd name="connsiteY4" fmla="*/ 3862246 h 5176987"/>
              <a:gd name="connsiteX5" fmla="*/ 235544 w 6015568"/>
              <a:gd name="connsiteY5" fmla="*/ 454429 h 5176987"/>
              <a:gd name="connsiteX0" fmla="*/ 235544 w 6031471"/>
              <a:gd name="connsiteY0" fmla="*/ 454429 h 5176987"/>
              <a:gd name="connsiteX1" fmla="*/ 5057345 w 6031471"/>
              <a:gd name="connsiteY1" fmla="*/ 0 h 5176987"/>
              <a:gd name="connsiteX2" fmla="*/ 6031471 w 6031471"/>
              <a:gd name="connsiteY2" fmla="*/ 1966577 h 5176987"/>
              <a:gd name="connsiteX3" fmla="*/ 3598940 w 6031471"/>
              <a:gd name="connsiteY3" fmla="*/ 5176987 h 5176987"/>
              <a:gd name="connsiteX4" fmla="*/ 0 w 6031471"/>
              <a:gd name="connsiteY4" fmla="*/ 3862246 h 5176987"/>
              <a:gd name="connsiteX5" fmla="*/ 235544 w 6031471"/>
              <a:gd name="connsiteY5" fmla="*/ 454429 h 5176987"/>
              <a:gd name="connsiteX0" fmla="*/ 235544 w 6031471"/>
              <a:gd name="connsiteY0" fmla="*/ 454429 h 5176987"/>
              <a:gd name="connsiteX1" fmla="*/ 5057345 w 6031471"/>
              <a:gd name="connsiteY1" fmla="*/ 0 h 5176987"/>
              <a:gd name="connsiteX2" fmla="*/ 6031471 w 6031471"/>
              <a:gd name="connsiteY2" fmla="*/ 1966577 h 5176987"/>
              <a:gd name="connsiteX3" fmla="*/ 3598940 w 6031471"/>
              <a:gd name="connsiteY3" fmla="*/ 5176987 h 5176987"/>
              <a:gd name="connsiteX4" fmla="*/ 0 w 6031471"/>
              <a:gd name="connsiteY4" fmla="*/ 3862246 h 5176987"/>
              <a:gd name="connsiteX5" fmla="*/ 235544 w 6031471"/>
              <a:gd name="connsiteY5" fmla="*/ 454429 h 5176987"/>
              <a:gd name="connsiteX0" fmla="*/ 252170 w 6048097"/>
              <a:gd name="connsiteY0" fmla="*/ 454429 h 5176987"/>
              <a:gd name="connsiteX1" fmla="*/ 5073971 w 6048097"/>
              <a:gd name="connsiteY1" fmla="*/ 0 h 5176987"/>
              <a:gd name="connsiteX2" fmla="*/ 6048097 w 6048097"/>
              <a:gd name="connsiteY2" fmla="*/ 1966577 h 5176987"/>
              <a:gd name="connsiteX3" fmla="*/ 3615566 w 6048097"/>
              <a:gd name="connsiteY3" fmla="*/ 5176987 h 5176987"/>
              <a:gd name="connsiteX4" fmla="*/ 0 w 6048097"/>
              <a:gd name="connsiteY4" fmla="*/ 3913970 h 5176987"/>
              <a:gd name="connsiteX5" fmla="*/ 252170 w 6048097"/>
              <a:gd name="connsiteY5" fmla="*/ 454429 h 5176987"/>
              <a:gd name="connsiteX0" fmla="*/ 252170 w 6048097"/>
              <a:gd name="connsiteY0" fmla="*/ 454429 h 5176987"/>
              <a:gd name="connsiteX1" fmla="*/ 5073971 w 6048097"/>
              <a:gd name="connsiteY1" fmla="*/ 0 h 5176987"/>
              <a:gd name="connsiteX2" fmla="*/ 6048097 w 6048097"/>
              <a:gd name="connsiteY2" fmla="*/ 1966577 h 5176987"/>
              <a:gd name="connsiteX3" fmla="*/ 3615566 w 6048097"/>
              <a:gd name="connsiteY3" fmla="*/ 5176987 h 5176987"/>
              <a:gd name="connsiteX4" fmla="*/ 0 w 6048097"/>
              <a:gd name="connsiteY4" fmla="*/ 3913970 h 5176987"/>
              <a:gd name="connsiteX5" fmla="*/ 252170 w 6048097"/>
              <a:gd name="connsiteY5" fmla="*/ 454429 h 5176987"/>
              <a:gd name="connsiteX0" fmla="*/ 252170 w 6048097"/>
              <a:gd name="connsiteY0" fmla="*/ 454429 h 5176987"/>
              <a:gd name="connsiteX1" fmla="*/ 5073971 w 6048097"/>
              <a:gd name="connsiteY1" fmla="*/ 0 h 5176987"/>
              <a:gd name="connsiteX2" fmla="*/ 6048097 w 6048097"/>
              <a:gd name="connsiteY2" fmla="*/ 1966577 h 5176987"/>
              <a:gd name="connsiteX3" fmla="*/ 3615566 w 6048097"/>
              <a:gd name="connsiteY3" fmla="*/ 5176987 h 5176987"/>
              <a:gd name="connsiteX4" fmla="*/ 0 w 6048097"/>
              <a:gd name="connsiteY4" fmla="*/ 3913970 h 5176987"/>
              <a:gd name="connsiteX5" fmla="*/ 252170 w 6048097"/>
              <a:gd name="connsiteY5" fmla="*/ 454429 h 5176987"/>
              <a:gd name="connsiteX0" fmla="*/ 252170 w 6048097"/>
              <a:gd name="connsiteY0" fmla="*/ 454429 h 5176987"/>
              <a:gd name="connsiteX1" fmla="*/ 5073971 w 6048097"/>
              <a:gd name="connsiteY1" fmla="*/ 0 h 5176987"/>
              <a:gd name="connsiteX2" fmla="*/ 6048097 w 6048097"/>
              <a:gd name="connsiteY2" fmla="*/ 1966577 h 5176987"/>
              <a:gd name="connsiteX3" fmla="*/ 3615566 w 6048097"/>
              <a:gd name="connsiteY3" fmla="*/ 5176987 h 5176987"/>
              <a:gd name="connsiteX4" fmla="*/ 0 w 6048097"/>
              <a:gd name="connsiteY4" fmla="*/ 3913970 h 5176987"/>
              <a:gd name="connsiteX5" fmla="*/ 252170 w 6048097"/>
              <a:gd name="connsiteY5" fmla="*/ 454429 h 5176987"/>
              <a:gd name="connsiteX0" fmla="*/ 167110 w 5963037"/>
              <a:gd name="connsiteY0" fmla="*/ 454429 h 5176987"/>
              <a:gd name="connsiteX1" fmla="*/ 4988911 w 5963037"/>
              <a:gd name="connsiteY1" fmla="*/ 0 h 5176987"/>
              <a:gd name="connsiteX2" fmla="*/ 5963037 w 5963037"/>
              <a:gd name="connsiteY2" fmla="*/ 1966577 h 5176987"/>
              <a:gd name="connsiteX3" fmla="*/ 3530506 w 5963037"/>
              <a:gd name="connsiteY3" fmla="*/ 5176987 h 5176987"/>
              <a:gd name="connsiteX4" fmla="*/ 0 w 5963037"/>
              <a:gd name="connsiteY4" fmla="*/ 3758026 h 5176987"/>
              <a:gd name="connsiteX5" fmla="*/ 167110 w 5963037"/>
              <a:gd name="connsiteY5" fmla="*/ 454429 h 5176987"/>
              <a:gd name="connsiteX0" fmla="*/ 241538 w 6037465"/>
              <a:gd name="connsiteY0" fmla="*/ 454429 h 5176987"/>
              <a:gd name="connsiteX1" fmla="*/ 5063339 w 6037465"/>
              <a:gd name="connsiteY1" fmla="*/ 0 h 5176987"/>
              <a:gd name="connsiteX2" fmla="*/ 6037465 w 6037465"/>
              <a:gd name="connsiteY2" fmla="*/ 1966577 h 5176987"/>
              <a:gd name="connsiteX3" fmla="*/ 3604934 w 6037465"/>
              <a:gd name="connsiteY3" fmla="*/ 5176987 h 5176987"/>
              <a:gd name="connsiteX4" fmla="*/ 0 w 6037465"/>
              <a:gd name="connsiteY4" fmla="*/ 3885617 h 5176987"/>
              <a:gd name="connsiteX5" fmla="*/ 241538 w 6037465"/>
              <a:gd name="connsiteY5" fmla="*/ 454429 h 5176987"/>
              <a:gd name="connsiteX0" fmla="*/ 241538 w 6037465"/>
              <a:gd name="connsiteY0" fmla="*/ 454429 h 4907628"/>
              <a:gd name="connsiteX1" fmla="*/ 5063339 w 6037465"/>
              <a:gd name="connsiteY1" fmla="*/ 0 h 4907628"/>
              <a:gd name="connsiteX2" fmla="*/ 6037465 w 6037465"/>
              <a:gd name="connsiteY2" fmla="*/ 1966577 h 4907628"/>
              <a:gd name="connsiteX3" fmla="*/ 3466711 w 6037465"/>
              <a:gd name="connsiteY3" fmla="*/ 4907628 h 4907628"/>
              <a:gd name="connsiteX4" fmla="*/ 0 w 6037465"/>
              <a:gd name="connsiteY4" fmla="*/ 3885617 h 4907628"/>
              <a:gd name="connsiteX5" fmla="*/ 241538 w 6037465"/>
              <a:gd name="connsiteY5" fmla="*/ 454429 h 4907628"/>
              <a:gd name="connsiteX0" fmla="*/ 241538 w 6037465"/>
              <a:gd name="connsiteY0" fmla="*/ 454429 h 5247869"/>
              <a:gd name="connsiteX1" fmla="*/ 5063339 w 6037465"/>
              <a:gd name="connsiteY1" fmla="*/ 0 h 5247869"/>
              <a:gd name="connsiteX2" fmla="*/ 6037465 w 6037465"/>
              <a:gd name="connsiteY2" fmla="*/ 1966577 h 5247869"/>
              <a:gd name="connsiteX3" fmla="*/ 3604934 w 6037465"/>
              <a:gd name="connsiteY3" fmla="*/ 5247869 h 5247869"/>
              <a:gd name="connsiteX4" fmla="*/ 0 w 6037465"/>
              <a:gd name="connsiteY4" fmla="*/ 3885617 h 5247869"/>
              <a:gd name="connsiteX5" fmla="*/ 241538 w 6037465"/>
              <a:gd name="connsiteY5" fmla="*/ 454429 h 5247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37465" h="5247869">
                <a:moveTo>
                  <a:pt x="241538" y="454429"/>
                </a:moveTo>
                <a:lnTo>
                  <a:pt x="5063339" y="0"/>
                </a:lnTo>
                <a:lnTo>
                  <a:pt x="6037465" y="1966577"/>
                </a:lnTo>
                <a:lnTo>
                  <a:pt x="3604934" y="5247869"/>
                </a:lnTo>
                <a:lnTo>
                  <a:pt x="0" y="3885617"/>
                </a:lnTo>
                <a:cubicBezTo>
                  <a:pt x="64395" y="2945397"/>
                  <a:pt x="170927" y="1474518"/>
                  <a:pt x="241538" y="454429"/>
                </a:cubicBezTo>
                <a:close/>
              </a:path>
            </a:pathLst>
          </a:custGeom>
          <a:ln w="19050">
            <a:solidFill>
              <a:schemeClr val="bg1"/>
            </a:solidFill>
          </a:ln>
        </p:spPr>
        <p:txBody>
          <a:bodyPr wrap="square" lIns="432000" tIns="1044000" rIns="792000" bIns="72000" rtlCol="0"/>
          <a:lstStyle>
            <a:lvl1pPr algn="ctr">
              <a:lnSpc>
                <a:spcPts val="3733"/>
              </a:lnSpc>
              <a:defRPr sz="3200" cap="all" baseline="0">
                <a:solidFill>
                  <a:schemeClr val="bg1"/>
                </a:solidFill>
              </a:defRPr>
            </a:lvl1pPr>
          </a:lstStyle>
          <a:p>
            <a:pPr rtl="0"/>
            <a:r>
              <a:rPr lang="ru"/>
              <a:t>Click to edit Master title style</a:t>
            </a: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68F66BB7-3A5C-4443-ABA2-99B015F73338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0977" y="4579922"/>
            <a:ext cx="1689596" cy="913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001092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36000" y="6405331"/>
            <a:ext cx="432000" cy="288000"/>
          </a:xfrm>
          <a:prstGeom prst="rect">
            <a:avLst/>
          </a:prstGeom>
        </p:spPr>
        <p:txBody>
          <a:bodyPr rtlCol="0"/>
          <a:lstStyle/>
          <a:p>
            <a:pPr defTabSz="1219170" rtl="0"/>
            <a:fld id="{21BB9E08-7A8D-4163-9909-5D41B3E1A857}" type="slidenum">
              <a:rPr lang="en-GB" smtClean="0"/>
              <a:pPr defTabSz="1219170"/>
              <a:t>‹#›</a:t>
            </a:fld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4"/>
          </p:nvPr>
        </p:nvSpPr>
        <p:spPr>
          <a:xfrm>
            <a:off x="865718" y="1176001"/>
            <a:ext cx="8494645" cy="341184"/>
          </a:xfrm>
        </p:spPr>
        <p:txBody>
          <a:bodyPr vert="horz" lIns="0" tIns="0" rIns="0" bIns="0" rtlCol="0" anchor="t" anchorCtr="0">
            <a:spAutoFit/>
          </a:bodyPr>
          <a:lstStyle>
            <a:lvl1pPr>
              <a:defRPr lang="de-CH" sz="2133" dirty="0">
                <a:solidFill>
                  <a:schemeClr val="tx1"/>
                </a:solidFill>
              </a:defRPr>
            </a:lvl1pPr>
          </a:lstStyle>
          <a:p>
            <a:pPr lvl="0" rtl="0">
              <a:lnSpc>
                <a:spcPts val="2880"/>
              </a:lnSpc>
              <a:spcAft>
                <a:spcPts val="0"/>
              </a:spcAft>
            </a:pPr>
            <a:r>
              <a:rPr lang="ru"/>
              <a:t>Click to edit Master subtitle sty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ru"/>
              <a:t>Click to edit Master title styl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5"/>
          </p:nvPr>
        </p:nvSpPr>
        <p:spPr>
          <a:xfrm>
            <a:off x="864000" y="1892300"/>
            <a:ext cx="9456469" cy="4032979"/>
          </a:xfrm>
        </p:spPr>
        <p:txBody>
          <a:bodyPr rtlCol="0"/>
          <a:lstStyle/>
          <a:p>
            <a:pPr lvl="0" rtl="0"/>
            <a:r>
              <a:rPr lang="ru"/>
              <a:t>Click to edit Master text styles</a:t>
            </a:r>
          </a:p>
          <a:p>
            <a:pPr lvl="1" rtl="0"/>
            <a:r>
              <a:rPr lang="ru"/>
              <a:t>Second level</a:t>
            </a:r>
          </a:p>
          <a:p>
            <a:pPr lvl="2" rtl="0"/>
            <a:r>
              <a:rPr lang="ru"/>
              <a:t>Third level</a:t>
            </a:r>
          </a:p>
          <a:p>
            <a:pPr lvl="3" rtl="0"/>
            <a:r>
              <a:rPr lang="ru"/>
              <a:t>Fourth level</a:t>
            </a:r>
          </a:p>
          <a:p>
            <a:pPr lvl="4" rtl="0"/>
            <a:r>
              <a:rPr lang="ru"/>
              <a:t>Fifth level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BBF674AE-BC63-4F1C-AE3D-45DCF5DF64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2188" y="6237288"/>
            <a:ext cx="8368175" cy="484187"/>
          </a:xfrm>
        </p:spPr>
        <p:txBody>
          <a:bodyPr rtlCol="0"/>
          <a:lstStyle>
            <a:lvl1pPr>
              <a:spcAft>
                <a:spcPts val="0"/>
              </a:spcAft>
              <a:defRPr sz="800" cap="none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800">
                <a:solidFill>
                  <a:schemeClr val="tx1"/>
                </a:solidFill>
              </a:defRPr>
            </a:lvl2pPr>
            <a:lvl3pPr>
              <a:defRPr sz="11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 rtl="0"/>
            <a:r>
              <a:rPr lang="ru"/>
              <a:t>Click to edit master text styles</a:t>
            </a:r>
          </a:p>
          <a:p>
            <a:pPr lvl="1" rt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8431933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 preserve="1" userDrawn="1">
  <p:cSld name="Divider">
    <p:bg>
      <p:bgPr>
        <a:gradFill>
          <a:gsLst>
            <a:gs pos="0">
              <a:schemeClr val="tx2"/>
            </a:gs>
            <a:gs pos="100000">
              <a:schemeClr val="bg2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hider"/>
          <p:cNvSpPr/>
          <p:nvPr userDrawn="1">
            <p:custDataLst>
              <p:tags r:id="rId2"/>
            </p:custDataLst>
          </p:nvPr>
        </p:nvSpPr>
        <p:spPr>
          <a:xfrm>
            <a:off x="821" y="6191309"/>
            <a:ext cx="12191180" cy="666691"/>
          </a:xfrm>
          <a:prstGeom prst="rect">
            <a:avLst/>
          </a:prstGeom>
          <a:solidFill>
            <a:srgbClr val="FFFFF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336000" y="6405331"/>
            <a:ext cx="432000" cy="288000"/>
          </a:xfrm>
          <a:prstGeom prst="rect">
            <a:avLst/>
          </a:prstGeom>
        </p:spPr>
        <p:txBody>
          <a:bodyPr rtlCol="0"/>
          <a:lstStyle/>
          <a:p>
            <a:pPr defTabSz="1219170" rtl="0"/>
            <a:fld id="{B62602F3-AC31-474D-8C5A-4192891678E3}" type="slidenum">
              <a:rPr lang="en-GB" smtClean="0"/>
              <a:pPr defTabSz="1219170"/>
              <a:t>‹#›</a:t>
            </a:fld>
            <a:endParaRPr lang="en-GB" dirty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0" y="6191309"/>
            <a:ext cx="12192000" cy="0"/>
          </a:xfrm>
          <a:prstGeom prst="line">
            <a:avLst/>
          </a:prstGeom>
          <a:ln w="12700">
            <a:solidFill>
              <a:srgbClr val="E5004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rtl="0"/>
            <a:r>
              <a:rPr lang="ru"/>
              <a:t>Click to edit Master title 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4"/>
          </p:nvPr>
        </p:nvSpPr>
        <p:spPr>
          <a:xfrm>
            <a:off x="865718" y="1176001"/>
            <a:ext cx="8494645" cy="341184"/>
          </a:xfrm>
        </p:spPr>
        <p:txBody>
          <a:bodyPr vert="horz" lIns="0" tIns="0" rIns="0" bIns="0" rtlCol="0" anchor="t" anchorCtr="0">
            <a:spAutoFit/>
          </a:bodyPr>
          <a:lstStyle>
            <a:lvl1pPr>
              <a:defRPr lang="de-CH" sz="2133" dirty="0">
                <a:solidFill>
                  <a:srgbClr val="FFFFFF"/>
                </a:solidFill>
              </a:defRPr>
            </a:lvl1pPr>
          </a:lstStyle>
          <a:p>
            <a:pPr lvl="0" rtl="0">
              <a:lnSpc>
                <a:spcPts val="2880"/>
              </a:lnSpc>
              <a:spcAft>
                <a:spcPts val="0"/>
              </a:spcAft>
            </a:pPr>
            <a:r>
              <a:rPr lang="ru"/>
              <a:t>Click to edit Master subtitle style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7223026C-6FC9-4F94-AC7B-BE28284CC0D6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153584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64000" y="1892301"/>
            <a:ext cx="9456867" cy="4032249"/>
          </a:xfrm>
        </p:spPr>
        <p:txBody>
          <a:bodyPr rtlCol="0"/>
          <a:lstStyle>
            <a:lvl1pPr marL="239994" indent="-239994">
              <a:spcAft>
                <a:spcPts val="1067"/>
              </a:spcAft>
              <a:buFont typeface="Wingdings" panose="05000000000000000000" pitchFamily="2" charset="2"/>
              <a:buChar char="§"/>
              <a:defRPr cap="none" baseline="0">
                <a:solidFill>
                  <a:srgbClr val="0F1539"/>
                </a:solidFill>
              </a:defRPr>
            </a:lvl1pPr>
            <a:lvl2pPr marL="479988" indent="-239994">
              <a:buFont typeface="Symbol" panose="05050102010706020507" pitchFamily="18" charset="2"/>
              <a:buChar char="-"/>
              <a:defRPr cap="none" baseline="0"/>
            </a:lvl2pPr>
            <a:lvl3pPr marL="719982" indent="-241294">
              <a:buFont typeface="Arial" panose="020B0604020202020204" pitchFamily="34" charset="0"/>
              <a:buChar char="&gt;"/>
              <a:defRPr cap="none" baseline="0"/>
            </a:lvl3pPr>
            <a:lvl4pPr marL="959976" indent="-241294">
              <a:buFont typeface="Arial" panose="020B0604020202020204" pitchFamily="34" charset="0"/>
              <a:buChar char="&gt;"/>
              <a:defRPr cap="none" baseline="0"/>
            </a:lvl4pPr>
            <a:lvl5pPr marL="1199970">
              <a:defRPr cap="none" baseline="0"/>
            </a:lvl5pPr>
          </a:lstStyle>
          <a:p>
            <a:pPr lvl="0" rtl="0"/>
            <a:r>
              <a:rPr lang="ru"/>
              <a:t>Click to edit Master text styles</a:t>
            </a:r>
          </a:p>
          <a:p>
            <a:pPr lvl="1" rtl="0"/>
            <a:r>
              <a:rPr lang="ru"/>
              <a:t>Second level</a:t>
            </a:r>
          </a:p>
          <a:p>
            <a:pPr lvl="2" rtl="0"/>
            <a:r>
              <a:rPr lang="ru"/>
              <a:t>Third level</a:t>
            </a:r>
          </a:p>
          <a:p>
            <a:pPr lvl="3" rtl="0"/>
            <a:r>
              <a:rPr lang="ru"/>
              <a:t>Fourth level</a:t>
            </a:r>
          </a:p>
          <a:p>
            <a:pPr lvl="4" rtl="0"/>
            <a:r>
              <a:rPr lang="ru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36000" y="6405331"/>
            <a:ext cx="432000" cy="288000"/>
          </a:xfrm>
          <a:prstGeom prst="rect">
            <a:avLst/>
          </a:prstGeom>
        </p:spPr>
        <p:txBody>
          <a:bodyPr rtlCol="0"/>
          <a:lstStyle/>
          <a:p>
            <a:pPr defTabSz="1219170" rtl="0"/>
            <a:fld id="{F7045E8D-DC47-4AFA-976F-B987BEC0A896}" type="slidenum">
              <a:rPr lang="en-GB" smtClean="0"/>
              <a:pPr defTabSz="1219170"/>
              <a:t>‹#›</a:t>
            </a:fld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4"/>
          </p:nvPr>
        </p:nvSpPr>
        <p:spPr>
          <a:xfrm>
            <a:off x="865718" y="1176001"/>
            <a:ext cx="8494645" cy="341184"/>
          </a:xfrm>
        </p:spPr>
        <p:txBody>
          <a:bodyPr vert="horz" lIns="0" tIns="0" rIns="0" bIns="0" rtlCol="0" anchor="t" anchorCtr="0">
            <a:spAutoFit/>
          </a:bodyPr>
          <a:lstStyle>
            <a:lvl1pPr>
              <a:defRPr lang="de-CH" sz="2133" dirty="0">
                <a:solidFill>
                  <a:schemeClr val="tx1"/>
                </a:solidFill>
              </a:defRPr>
            </a:lvl1pPr>
          </a:lstStyle>
          <a:p>
            <a:pPr lvl="0" rtl="0">
              <a:lnSpc>
                <a:spcPts val="2880"/>
              </a:lnSpc>
              <a:spcAft>
                <a:spcPts val="0"/>
              </a:spcAft>
            </a:pPr>
            <a:r>
              <a:rPr lang="ru"/>
              <a:t>Click to edit Master subtitle sty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ru"/>
              <a:t>Click to edit Master title style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58BF08BB-F0C2-4245-8367-EA4958E29B0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2188" y="6237288"/>
            <a:ext cx="8368175" cy="484187"/>
          </a:xfrm>
        </p:spPr>
        <p:txBody>
          <a:bodyPr rtlCol="0"/>
          <a:lstStyle>
            <a:lvl1pPr>
              <a:spcAft>
                <a:spcPts val="0"/>
              </a:spcAft>
              <a:defRPr sz="800" cap="none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800">
                <a:solidFill>
                  <a:schemeClr val="tx1"/>
                </a:solidFill>
              </a:defRPr>
            </a:lvl2pPr>
            <a:lvl3pPr>
              <a:defRPr sz="11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 rtl="0"/>
            <a:r>
              <a:rPr lang="ru"/>
              <a:t>Click to edit master text styles</a:t>
            </a:r>
          </a:p>
          <a:p>
            <a:pPr lvl="1" rt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28801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26" Type="http://schemas.openxmlformats.org/officeDocument/2006/relationships/tags" Target="../tags/tag27.xml"/><Relationship Id="rId39" Type="http://schemas.openxmlformats.org/officeDocument/2006/relationships/tags" Target="../tags/tag40.xml"/><Relationship Id="rId21" Type="http://schemas.openxmlformats.org/officeDocument/2006/relationships/tags" Target="../tags/tag22.xml"/><Relationship Id="rId34" Type="http://schemas.openxmlformats.org/officeDocument/2006/relationships/tags" Target="../tags/tag35.xml"/><Relationship Id="rId42" Type="http://schemas.openxmlformats.org/officeDocument/2006/relationships/tags" Target="../tags/tag43.xml"/><Relationship Id="rId47" Type="http://schemas.openxmlformats.org/officeDocument/2006/relationships/tags" Target="../tags/tag48.xml"/><Relationship Id="rId50" Type="http://schemas.openxmlformats.org/officeDocument/2006/relationships/tags" Target="../tags/tag51.xml"/><Relationship Id="rId55" Type="http://schemas.openxmlformats.org/officeDocument/2006/relationships/tags" Target="../tags/tag56.xml"/><Relationship Id="rId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5.xml"/><Relationship Id="rId16" Type="http://schemas.openxmlformats.org/officeDocument/2006/relationships/tags" Target="../tags/tag17.xml"/><Relationship Id="rId20" Type="http://schemas.openxmlformats.org/officeDocument/2006/relationships/tags" Target="../tags/tag21.xml"/><Relationship Id="rId29" Type="http://schemas.openxmlformats.org/officeDocument/2006/relationships/tags" Target="../tags/tag30.xml"/><Relationship Id="rId41" Type="http://schemas.openxmlformats.org/officeDocument/2006/relationships/tags" Target="../tags/tag42.xml"/><Relationship Id="rId54" Type="http://schemas.openxmlformats.org/officeDocument/2006/relationships/tags" Target="../tags/tag55.xml"/><Relationship Id="rId62" Type="http://schemas.openxmlformats.org/officeDocument/2006/relationships/image" Target="../media/image6.png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tags" Target="../tags/tag12.xml"/><Relationship Id="rId24" Type="http://schemas.openxmlformats.org/officeDocument/2006/relationships/tags" Target="../tags/tag25.xml"/><Relationship Id="rId32" Type="http://schemas.openxmlformats.org/officeDocument/2006/relationships/tags" Target="../tags/tag33.xml"/><Relationship Id="rId37" Type="http://schemas.openxmlformats.org/officeDocument/2006/relationships/tags" Target="../tags/tag38.xml"/><Relationship Id="rId40" Type="http://schemas.openxmlformats.org/officeDocument/2006/relationships/tags" Target="../tags/tag41.xml"/><Relationship Id="rId45" Type="http://schemas.openxmlformats.org/officeDocument/2006/relationships/tags" Target="../tags/tag46.xml"/><Relationship Id="rId53" Type="http://schemas.openxmlformats.org/officeDocument/2006/relationships/tags" Target="../tags/tag54.xml"/><Relationship Id="rId58" Type="http://schemas.openxmlformats.org/officeDocument/2006/relationships/tags" Target="../tags/tag59.xml"/><Relationship Id="rId5" Type="http://schemas.openxmlformats.org/officeDocument/2006/relationships/slideLayout" Target="../slideLayouts/slideLayout18.xml"/><Relationship Id="rId15" Type="http://schemas.openxmlformats.org/officeDocument/2006/relationships/tags" Target="../tags/tag16.xml"/><Relationship Id="rId23" Type="http://schemas.openxmlformats.org/officeDocument/2006/relationships/tags" Target="../tags/tag24.xml"/><Relationship Id="rId28" Type="http://schemas.openxmlformats.org/officeDocument/2006/relationships/tags" Target="../tags/tag29.xml"/><Relationship Id="rId36" Type="http://schemas.openxmlformats.org/officeDocument/2006/relationships/tags" Target="../tags/tag37.xml"/><Relationship Id="rId49" Type="http://schemas.openxmlformats.org/officeDocument/2006/relationships/tags" Target="../tags/tag50.xml"/><Relationship Id="rId57" Type="http://schemas.openxmlformats.org/officeDocument/2006/relationships/tags" Target="../tags/tag58.xml"/><Relationship Id="rId61" Type="http://schemas.openxmlformats.org/officeDocument/2006/relationships/image" Target="../media/image5.emf"/><Relationship Id="rId10" Type="http://schemas.openxmlformats.org/officeDocument/2006/relationships/tags" Target="../tags/tag11.xml"/><Relationship Id="rId19" Type="http://schemas.openxmlformats.org/officeDocument/2006/relationships/tags" Target="../tags/tag20.xml"/><Relationship Id="rId31" Type="http://schemas.openxmlformats.org/officeDocument/2006/relationships/tags" Target="../tags/tag32.xml"/><Relationship Id="rId44" Type="http://schemas.openxmlformats.org/officeDocument/2006/relationships/tags" Target="../tags/tag45.xml"/><Relationship Id="rId52" Type="http://schemas.openxmlformats.org/officeDocument/2006/relationships/tags" Target="../tags/tag53.xml"/><Relationship Id="rId60" Type="http://schemas.openxmlformats.org/officeDocument/2006/relationships/oleObject" Target="../embeddings/oleObject3.bin"/><Relationship Id="rId4" Type="http://schemas.openxmlformats.org/officeDocument/2006/relationships/slideLayout" Target="../slideLayouts/slideLayout17.xml"/><Relationship Id="rId9" Type="http://schemas.openxmlformats.org/officeDocument/2006/relationships/theme" Target="../theme/theme2.xml"/><Relationship Id="rId14" Type="http://schemas.openxmlformats.org/officeDocument/2006/relationships/tags" Target="../tags/tag15.xml"/><Relationship Id="rId22" Type="http://schemas.openxmlformats.org/officeDocument/2006/relationships/tags" Target="../tags/tag23.xml"/><Relationship Id="rId27" Type="http://schemas.openxmlformats.org/officeDocument/2006/relationships/tags" Target="../tags/tag28.xml"/><Relationship Id="rId30" Type="http://schemas.openxmlformats.org/officeDocument/2006/relationships/tags" Target="../tags/tag31.xml"/><Relationship Id="rId35" Type="http://schemas.openxmlformats.org/officeDocument/2006/relationships/tags" Target="../tags/tag36.xml"/><Relationship Id="rId43" Type="http://schemas.openxmlformats.org/officeDocument/2006/relationships/tags" Target="../tags/tag44.xml"/><Relationship Id="rId48" Type="http://schemas.openxmlformats.org/officeDocument/2006/relationships/tags" Target="../tags/tag49.xml"/><Relationship Id="rId56" Type="http://schemas.openxmlformats.org/officeDocument/2006/relationships/tags" Target="../tags/tag57.xml"/><Relationship Id="rId8" Type="http://schemas.openxmlformats.org/officeDocument/2006/relationships/slideLayout" Target="../slideLayouts/slideLayout21.xml"/><Relationship Id="rId51" Type="http://schemas.openxmlformats.org/officeDocument/2006/relationships/tags" Target="../tags/tag52.xml"/><Relationship Id="rId3" Type="http://schemas.openxmlformats.org/officeDocument/2006/relationships/slideLayout" Target="../slideLayouts/slideLayout16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5" Type="http://schemas.openxmlformats.org/officeDocument/2006/relationships/tags" Target="../tags/tag26.xml"/><Relationship Id="rId33" Type="http://schemas.openxmlformats.org/officeDocument/2006/relationships/tags" Target="../tags/tag34.xml"/><Relationship Id="rId38" Type="http://schemas.openxmlformats.org/officeDocument/2006/relationships/tags" Target="../tags/tag39.xml"/><Relationship Id="rId46" Type="http://schemas.openxmlformats.org/officeDocument/2006/relationships/tags" Target="../tags/tag47.xml"/><Relationship Id="rId59" Type="http://schemas.openxmlformats.org/officeDocument/2006/relationships/tags" Target="../tags/tag6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oleObject" Target="../embeddings/oleObject6.bin"/><Relationship Id="rId3" Type="http://schemas.openxmlformats.org/officeDocument/2006/relationships/slideLayout" Target="../slideLayouts/slideLayout24.xml"/><Relationship Id="rId21" Type="http://schemas.openxmlformats.org/officeDocument/2006/relationships/slide" Target="../slides/slide6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tags" Target="../tags/tag66.xml"/><Relationship Id="rId2" Type="http://schemas.openxmlformats.org/officeDocument/2006/relationships/slideLayout" Target="../slideLayouts/slideLayout23.xml"/><Relationship Id="rId16" Type="http://schemas.openxmlformats.org/officeDocument/2006/relationships/tags" Target="../tags/tag65.xml"/><Relationship Id="rId20" Type="http://schemas.openxmlformats.org/officeDocument/2006/relationships/image" Target="../media/image15.tiff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1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53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8.xml"/><Relationship Id="rId21" Type="http://schemas.openxmlformats.org/officeDocument/2006/relationships/theme" Target="../theme/theme4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slideLayout" Target="../slideLayouts/slideLayout55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24" Type="http://schemas.openxmlformats.org/officeDocument/2006/relationships/oleObject" Target="../embeddings/oleObject7.bin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23" Type="http://schemas.openxmlformats.org/officeDocument/2006/relationships/tags" Target="../tags/tag74.xml"/><Relationship Id="rId10" Type="http://schemas.openxmlformats.org/officeDocument/2006/relationships/slideLayout" Target="../slideLayouts/slideLayout45.xml"/><Relationship Id="rId19" Type="http://schemas.openxmlformats.org/officeDocument/2006/relationships/slideLayout" Target="../slideLayouts/slideLayout54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tags" Target="../tags/tag73.xml"/><Relationship Id="rId27" Type="http://schemas.openxmlformats.org/officeDocument/2006/relationships/image" Target="../media/image3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58.xml"/><Relationship Id="rId7" Type="http://schemas.openxmlformats.org/officeDocument/2006/relationships/oleObject" Target="../embeddings/oleObject9.bin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tags" Target="../tags/tag83.xml"/><Relationship Id="rId5" Type="http://schemas.openxmlformats.org/officeDocument/2006/relationships/tags" Target="../tags/tag82.xml"/><Relationship Id="rId10" Type="http://schemas.openxmlformats.org/officeDocument/2006/relationships/image" Target="../media/image3.jpeg"/><Relationship Id="rId4" Type="http://schemas.openxmlformats.org/officeDocument/2006/relationships/theme" Target="../theme/theme5.xml"/><Relationship Id="rId9" Type="http://schemas.openxmlformats.org/officeDocument/2006/relationships/image" Target="../media/image2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slideLayout" Target="../slideLayouts/slideLayout7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61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0.xml"/><Relationship Id="rId17" Type="http://schemas.openxmlformats.org/officeDocument/2006/relationships/oleObject" Target="../embeddings/oleObject10.bin"/><Relationship Id="rId2" Type="http://schemas.openxmlformats.org/officeDocument/2006/relationships/slideLayout" Target="../slideLayouts/slideLayout60.xml"/><Relationship Id="rId16" Type="http://schemas.openxmlformats.org/officeDocument/2006/relationships/tags" Target="../tags/tag86.xml"/><Relationship Id="rId20" Type="http://schemas.openxmlformats.org/officeDocument/2006/relationships/slide" Target="../slides/slide6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3.xml"/><Relationship Id="rId15" Type="http://schemas.openxmlformats.org/officeDocument/2006/relationships/tags" Target="../tags/tag85.xml"/><Relationship Id="rId10" Type="http://schemas.openxmlformats.org/officeDocument/2006/relationships/slideLayout" Target="../slideLayouts/slideLayout68.xml"/><Relationship Id="rId19" Type="http://schemas.openxmlformats.org/officeDocument/2006/relationships/image" Target="../media/image15.tiff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slideLayout" Target="../slideLayouts/slideLayout74.xml"/><Relationship Id="rId7" Type="http://schemas.openxmlformats.org/officeDocument/2006/relationships/tags" Target="../tags/tag93.xml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theme" Target="../theme/theme7.xml"/><Relationship Id="rId5" Type="http://schemas.openxmlformats.org/officeDocument/2006/relationships/slideLayout" Target="../slideLayouts/slideLayout76.xml"/><Relationship Id="rId4" Type="http://schemas.openxmlformats.org/officeDocument/2006/relationships/slideLayout" Target="../slideLayouts/slideLayout75.xml"/><Relationship Id="rId9" Type="http://schemas.openxmlformats.org/officeDocument/2006/relationships/image" Target="../media/image1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.xml"/><Relationship Id="rId13" Type="http://schemas.openxmlformats.org/officeDocument/2006/relationships/slideLayout" Target="../slideLayouts/slideLayout89.xml"/><Relationship Id="rId18" Type="http://schemas.openxmlformats.org/officeDocument/2006/relationships/slideLayout" Target="../slideLayouts/slideLayout94.xml"/><Relationship Id="rId3" Type="http://schemas.openxmlformats.org/officeDocument/2006/relationships/slideLayout" Target="../slideLayouts/slideLayout79.xml"/><Relationship Id="rId21" Type="http://schemas.openxmlformats.org/officeDocument/2006/relationships/tags" Target="../tags/tag94.xml"/><Relationship Id="rId7" Type="http://schemas.openxmlformats.org/officeDocument/2006/relationships/slideLayout" Target="../slideLayouts/slideLayout83.xml"/><Relationship Id="rId12" Type="http://schemas.openxmlformats.org/officeDocument/2006/relationships/slideLayout" Target="../slideLayouts/slideLayout88.xml"/><Relationship Id="rId17" Type="http://schemas.openxmlformats.org/officeDocument/2006/relationships/slideLayout" Target="../slideLayouts/slideLayout93.xml"/><Relationship Id="rId2" Type="http://schemas.openxmlformats.org/officeDocument/2006/relationships/slideLayout" Target="../slideLayouts/slideLayout78.xml"/><Relationship Id="rId16" Type="http://schemas.openxmlformats.org/officeDocument/2006/relationships/slideLayout" Target="../slideLayouts/slideLayout92.xml"/><Relationship Id="rId20" Type="http://schemas.openxmlformats.org/officeDocument/2006/relationships/theme" Target="../theme/theme8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slideLayout" Target="../slideLayouts/slideLayout87.xml"/><Relationship Id="rId24" Type="http://schemas.openxmlformats.org/officeDocument/2006/relationships/image" Target="../media/image20.png"/><Relationship Id="rId5" Type="http://schemas.openxmlformats.org/officeDocument/2006/relationships/slideLayout" Target="../slideLayouts/slideLayout81.xml"/><Relationship Id="rId15" Type="http://schemas.openxmlformats.org/officeDocument/2006/relationships/slideLayout" Target="../slideLayouts/slideLayout91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86.xml"/><Relationship Id="rId19" Type="http://schemas.openxmlformats.org/officeDocument/2006/relationships/slideLayout" Target="../slideLayouts/slideLayout95.xml"/><Relationship Id="rId4" Type="http://schemas.openxmlformats.org/officeDocument/2006/relationships/slideLayout" Target="../slideLayouts/slideLayout80.xml"/><Relationship Id="rId9" Type="http://schemas.openxmlformats.org/officeDocument/2006/relationships/slideLayout" Target="../slideLayouts/slideLayout85.xml"/><Relationship Id="rId14" Type="http://schemas.openxmlformats.org/officeDocument/2006/relationships/slideLayout" Target="../slideLayouts/slideLayout90.xml"/><Relationship Id="rId22" Type="http://schemas.openxmlformats.org/officeDocument/2006/relationships/oleObject" Target="../embeddings/oleObject12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3.xml"/><Relationship Id="rId13" Type="http://schemas.openxmlformats.org/officeDocument/2006/relationships/slideLayout" Target="../slideLayouts/slideLayout108.xml"/><Relationship Id="rId18" Type="http://schemas.openxmlformats.org/officeDocument/2006/relationships/slideLayout" Target="../slideLayouts/slideLayout113.xml"/><Relationship Id="rId3" Type="http://schemas.openxmlformats.org/officeDocument/2006/relationships/slideLayout" Target="../slideLayouts/slideLayout98.xml"/><Relationship Id="rId21" Type="http://schemas.openxmlformats.org/officeDocument/2006/relationships/theme" Target="../theme/theme9.xml"/><Relationship Id="rId7" Type="http://schemas.openxmlformats.org/officeDocument/2006/relationships/slideLayout" Target="../slideLayouts/slideLayout102.xml"/><Relationship Id="rId12" Type="http://schemas.openxmlformats.org/officeDocument/2006/relationships/slideLayout" Target="../slideLayouts/slideLayout107.xml"/><Relationship Id="rId17" Type="http://schemas.openxmlformats.org/officeDocument/2006/relationships/slideLayout" Target="../slideLayouts/slideLayout112.xml"/><Relationship Id="rId25" Type="http://schemas.openxmlformats.org/officeDocument/2006/relationships/image" Target="../media/image20.png"/><Relationship Id="rId2" Type="http://schemas.openxmlformats.org/officeDocument/2006/relationships/slideLayout" Target="../slideLayouts/slideLayout97.xml"/><Relationship Id="rId16" Type="http://schemas.openxmlformats.org/officeDocument/2006/relationships/slideLayout" Target="../slideLayouts/slideLayout111.xml"/><Relationship Id="rId20" Type="http://schemas.openxmlformats.org/officeDocument/2006/relationships/slideLayout" Target="../slideLayouts/slideLayout115.xml"/><Relationship Id="rId1" Type="http://schemas.openxmlformats.org/officeDocument/2006/relationships/slideLayout" Target="../slideLayouts/slideLayout96.xml"/><Relationship Id="rId6" Type="http://schemas.openxmlformats.org/officeDocument/2006/relationships/slideLayout" Target="../slideLayouts/slideLayout101.xml"/><Relationship Id="rId11" Type="http://schemas.openxmlformats.org/officeDocument/2006/relationships/slideLayout" Target="../slideLayouts/slideLayout106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100.xml"/><Relationship Id="rId15" Type="http://schemas.openxmlformats.org/officeDocument/2006/relationships/slideLayout" Target="../slideLayouts/slideLayout110.xml"/><Relationship Id="rId23" Type="http://schemas.openxmlformats.org/officeDocument/2006/relationships/oleObject" Target="../embeddings/oleObject12.bin"/><Relationship Id="rId10" Type="http://schemas.openxmlformats.org/officeDocument/2006/relationships/slideLayout" Target="../slideLayouts/slideLayout105.xml"/><Relationship Id="rId19" Type="http://schemas.openxmlformats.org/officeDocument/2006/relationships/slideLayout" Target="../slideLayouts/slideLayout114.xml"/><Relationship Id="rId4" Type="http://schemas.openxmlformats.org/officeDocument/2006/relationships/slideLayout" Target="../slideLayouts/slideLayout99.xml"/><Relationship Id="rId9" Type="http://schemas.openxmlformats.org/officeDocument/2006/relationships/slideLayout" Target="../slideLayouts/slideLayout104.xml"/><Relationship Id="rId14" Type="http://schemas.openxmlformats.org/officeDocument/2006/relationships/slideLayout" Target="../slideLayouts/slideLayout109.xml"/><Relationship Id="rId22" Type="http://schemas.openxmlformats.org/officeDocument/2006/relationships/tags" Target="../tags/tag10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BF0140-3FD7-4150-BA1A-8B3A002B64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6183421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2913" y="439573"/>
            <a:ext cx="11306175" cy="90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442913" y="1916113"/>
            <a:ext cx="11306175" cy="42608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  <p:pic>
        <p:nvPicPr>
          <p:cNvPr id="54" name="Content Placeholder 7"/>
          <p:cNvPicPr>
            <a:picLocks noChangeAspect="1"/>
          </p:cNvPicPr>
          <p:nvPr userDrawn="1"/>
        </p:nvPicPr>
        <p:blipFill rotWithShape="1"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4717" y="6309007"/>
            <a:ext cx="710464" cy="440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76859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8" r:id="rId6"/>
    <p:sldLayoutId id="2147483669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</p:sldLayoutIdLst>
  <p:hf hdr="0" ftr="0" dt="0"/>
  <p:txStyles>
    <p:titleStyle>
      <a:lvl1pPr algn="l" defTabSz="1219170" rtl="0" eaLnBrk="1" latinLnBrk="0" hangingPunct="1">
        <a:lnSpc>
          <a:spcPts val="2667"/>
        </a:lnSpc>
        <a:spcBef>
          <a:spcPct val="0"/>
        </a:spcBef>
        <a:buNone/>
        <a:defRPr sz="1800" kern="1200" cap="all" baseline="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kern="1200" cap="none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Wingdings" panose="05000000000000000000" pitchFamily="2" charset="2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0" indent="1588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ymbol" panose="05050102010706020507" pitchFamily="18" charset="2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958827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1195887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1432948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1672125" indent="-239178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6501">
          <p15:clr>
            <a:srgbClr val="F26B43"/>
          </p15:clr>
        </p15:guide>
        <p15:guide id="3" pos="279">
          <p15:clr>
            <a:srgbClr val="F26B43"/>
          </p15:clr>
        </p15:guide>
        <p15:guide id="4" orient="horz" pos="1207">
          <p15:clr>
            <a:srgbClr val="F26B43"/>
          </p15:clr>
        </p15:guide>
        <p15:guide id="5" pos="5896">
          <p15:clr>
            <a:srgbClr val="F26B43"/>
          </p15:clr>
        </p15:guide>
        <p15:guide id="6" pos="7401">
          <p15:clr>
            <a:srgbClr val="F26B43"/>
          </p15:clr>
        </p15:guide>
        <p15:guide id="7" orient="horz" pos="3732">
          <p15:clr>
            <a:srgbClr val="F26B43"/>
          </p15:clr>
        </p15:guide>
        <p15:guide id="8" orient="horz" pos="278">
          <p15:clr>
            <a:srgbClr val="F26B43"/>
          </p15:clr>
        </p15:guide>
        <p15:guide id="9" pos="3840">
          <p15:clr>
            <a:srgbClr val="F26B43"/>
          </p15:clr>
        </p15:guide>
        <p15:guide id="10" pos="3976">
          <p15:clr>
            <a:srgbClr val="F26B43"/>
          </p15:clr>
        </p15:guide>
        <p15:guide id="11" pos="3704">
          <p15:clr>
            <a:srgbClr val="F26B43"/>
          </p15:clr>
        </p15:guide>
        <p15:guide id="12" orient="horz" pos="216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789120414"/>
              </p:ext>
            </p:extLst>
          </p:nvPr>
        </p:nvGraphicFramePr>
        <p:xfrm>
          <a:off x="0" y="1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0" imgW="360" imgH="360" progId="">
                  <p:embed/>
                </p:oleObj>
              </mc:Choice>
              <mc:Fallback>
                <p:oleObj name="think-cell Slide" r:id="rId60" imgW="360" imgH="360" progId="">
                  <p:embed/>
                  <p:pic>
                    <p:nvPicPr>
                      <p:cNvPr id="0" name="Picture 1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979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11"/>
            </p:custDataLst>
          </p:nvPr>
        </p:nvSpPr>
        <p:spPr bwMode="auto">
          <a:xfrm>
            <a:off x="0" y="1"/>
            <a:ext cx="215979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76" b="0" i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33C26D1A-0705-42F8-B032-994E5A2C94F2}"/>
              </a:ext>
            </a:extLst>
          </p:cNvPr>
          <p:cNvSpPr/>
          <p:nvPr userDrawn="1"/>
        </p:nvSpPr>
        <p:spPr>
          <a:xfrm>
            <a:off x="0" y="6090384"/>
            <a:ext cx="12192000" cy="76761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gray">
          <a:xfrm flipH="1">
            <a:off x="10658003" y="51835"/>
            <a:ext cx="123156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26"/>
            <a:endParaRPr lang="x-none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"/>
          <p:cNvSpPr>
            <a:spLocks noGrp="1" noChangeArrowheads="1"/>
          </p:cNvSpPr>
          <p:nvPr>
            <p:ph type="title"/>
          </p:nvPr>
        </p:nvSpPr>
        <p:spPr bwMode="gray">
          <a:xfrm>
            <a:off x="619690" y="540024"/>
            <a:ext cx="10990479" cy="410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x-none" noProof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619690" y="77303"/>
            <a:ext cx="644407" cy="164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067" cap="all" baseline="0" noProof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619690" y="1034737"/>
            <a:ext cx="10990479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2133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619690" y="5906368"/>
            <a:ext cx="10990479" cy="164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18530" indent="-118530">
              <a:defRPr lang="x-none"/>
            </a:pPr>
            <a:r>
              <a:rPr lang="en-US" sz="1067" baseline="0" noProof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619690" y="6392363"/>
            <a:ext cx="7510849" cy="164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pPr marL="690016" indent="-690016" defTabSz="1218026">
              <a:tabLst/>
            </a:pPr>
            <a:r>
              <a:rPr lang="en-US" sz="1067" baseline="0" noProof="0">
                <a:solidFill>
                  <a:schemeClr val="bg1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Rectangle 286"/>
          <p:cNvSpPr>
            <a:spLocks noGrp="1"/>
          </p:cNvSpPr>
          <p:nvPr userDrawn="1">
            <p:ph type="body" idx="1"/>
          </p:nvPr>
        </p:nvSpPr>
        <p:spPr bwMode="gray">
          <a:xfrm>
            <a:off x="2371623" y="2608263"/>
            <a:ext cx="5801188" cy="164147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2371623" y="1750367"/>
            <a:ext cx="5801188" cy="675436"/>
            <a:chOff x="915" y="613"/>
            <a:chExt cx="2686" cy="417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613"/>
              <a:ext cx="2686" cy="41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2133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x-none" sz="2133" baseline="0" noProof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61" name="Slide Number"/>
          <p:cNvSpPr txBox="1">
            <a:spLocks/>
          </p:cNvSpPr>
          <p:nvPr userDrawn="1"/>
        </p:nvSpPr>
        <p:spPr bwMode="gray">
          <a:xfrm>
            <a:off x="11308803" y="6392087"/>
            <a:ext cx="301365" cy="16421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1067" baseline="0" smtClean="0">
                <a:solidFill>
                  <a:schemeClr val="bg1"/>
                </a:solidFill>
              </a:rPr>
              <a:pPr lvl="0" algn="r"/>
              <a:t>‹#›</a:t>
            </a:fld>
            <a:endParaRPr lang="en-US" sz="1067" baseline="0">
              <a:solidFill>
                <a:schemeClr val="bg1"/>
              </a:solidFill>
            </a:endParaRPr>
          </a:p>
        </p:txBody>
      </p:sp>
      <p:grpSp>
        <p:nvGrpSpPr>
          <p:cNvPr id="60" name="Sticker" hidden="1"/>
          <p:cNvGrpSpPr/>
          <p:nvPr userDrawn="1"/>
        </p:nvGrpSpPr>
        <p:grpSpPr bwMode="gray">
          <a:xfrm>
            <a:off x="10912062" y="1128968"/>
            <a:ext cx="635237" cy="191912"/>
            <a:chOff x="8264347" y="285750"/>
            <a:chExt cx="476428" cy="143934"/>
          </a:xfrm>
        </p:grpSpPr>
        <p:sp>
          <p:nvSpPr>
            <p:cNvPr id="62" name="StickerRectangle"/>
            <p:cNvSpPr>
              <a:spLocks noChangeArrowheads="1"/>
            </p:cNvSpPr>
            <p:nvPr/>
          </p:nvSpPr>
          <p:spPr bwMode="gray">
            <a:xfrm>
              <a:off x="8264347" y="285750"/>
              <a:ext cx="476428" cy="14393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770">
                <a:buClr>
                  <a:srgbClr val="002960"/>
                </a:buClr>
              </a:pPr>
              <a:r>
                <a:rPr lang="x-none" sz="1067" baseline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63" name="AutoShape 31"/>
            <p:cNvCxnSpPr>
              <a:cxnSpLocks noChangeShapeType="1"/>
              <a:stCxn id="62" idx="2"/>
              <a:endCxn id="62" idx="4"/>
            </p:cNvCxnSpPr>
            <p:nvPr/>
          </p:nvCxnSpPr>
          <p:spPr bwMode="gray">
            <a:xfrm>
              <a:off x="8264347" y="285750"/>
              <a:ext cx="0" cy="143934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4" name="AutoShape 32"/>
            <p:cNvCxnSpPr>
              <a:cxnSpLocks noChangeShapeType="1"/>
              <a:stCxn id="62" idx="4"/>
              <a:endCxn id="62" idx="6"/>
            </p:cNvCxnSpPr>
            <p:nvPr/>
          </p:nvCxnSpPr>
          <p:spPr bwMode="gray">
            <a:xfrm>
              <a:off x="8264347" y="429684"/>
              <a:ext cx="476428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5" name="LegendBoxes" hidden="1"/>
          <p:cNvGrpSpPr/>
          <p:nvPr userDrawn="1"/>
        </p:nvGrpSpPr>
        <p:grpSpPr bwMode="gray">
          <a:xfrm>
            <a:off x="10528958" y="1128968"/>
            <a:ext cx="1082460" cy="1329956"/>
            <a:chOff x="7835905" y="279400"/>
            <a:chExt cx="811845" cy="997467"/>
          </a:xfrm>
        </p:grpSpPr>
        <p:sp>
          <p:nvSpPr>
            <p:cNvPr id="6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2400" baseline="0">
                <a:latin typeface="+mn-lt"/>
                <a:ea typeface="+mn-ea"/>
              </a:endParaRPr>
            </a:p>
          </p:txBody>
        </p:sp>
        <p:sp>
          <p:nvSpPr>
            <p:cNvPr id="6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2400" baseline="0">
                <a:latin typeface="+mn-lt"/>
                <a:ea typeface="+mn-ea"/>
              </a:endParaRPr>
            </a:p>
          </p:txBody>
        </p:sp>
        <p:sp>
          <p:nvSpPr>
            <p:cNvPr id="6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2400" baseline="0">
                <a:latin typeface="+mn-lt"/>
                <a:ea typeface="+mn-ea"/>
              </a:endParaRPr>
            </a:p>
          </p:txBody>
        </p:sp>
        <p:sp>
          <p:nvSpPr>
            <p:cNvPr id="6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2400" baseline="0">
                <a:latin typeface="+mn-lt"/>
                <a:ea typeface="+mn-ea"/>
              </a:endParaRPr>
            </a:p>
          </p:txBody>
        </p:sp>
        <p:sp>
          <p:nvSpPr>
            <p:cNvPr id="70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x-none" sz="16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x-none" sz="16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x-none" sz="16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x-none" sz="1600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4" name="LegendLines" hidden="1"/>
          <p:cNvGrpSpPr/>
          <p:nvPr userDrawn="1"/>
        </p:nvGrpSpPr>
        <p:grpSpPr bwMode="gray">
          <a:xfrm>
            <a:off x="10118547" y="1128968"/>
            <a:ext cx="1493093" cy="974356"/>
            <a:chOff x="7540629" y="279400"/>
            <a:chExt cx="1119820" cy="730767"/>
          </a:xfrm>
        </p:grpSpPr>
        <p:sp>
          <p:nvSpPr>
            <p:cNvPr id="7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2400" baseline="0">
                <a:latin typeface="+mn-lt"/>
                <a:ea typeface="+mn-ea"/>
              </a:endParaRPr>
            </a:p>
          </p:txBody>
        </p:sp>
        <p:sp>
          <p:nvSpPr>
            <p:cNvPr id="7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2400" baseline="0">
                <a:latin typeface="+mn-lt"/>
                <a:ea typeface="+mn-ea"/>
              </a:endParaRPr>
            </a:p>
          </p:txBody>
        </p:sp>
        <p:sp>
          <p:nvSpPr>
            <p:cNvPr id="7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2400" baseline="0">
                <a:latin typeface="+mn-lt"/>
                <a:ea typeface="+mn-ea"/>
              </a:endParaRPr>
            </a:p>
          </p:txBody>
        </p:sp>
        <p:sp>
          <p:nvSpPr>
            <p:cNvPr id="7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x-none" sz="16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x-none" sz="16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x-none" sz="1600" baseline="0">
                  <a:latin typeface="+mn-lt"/>
                  <a:ea typeface="+mn-ea"/>
                </a:rPr>
                <a:t>Legend</a:t>
              </a:r>
            </a:p>
          </p:txBody>
        </p:sp>
      </p:grpSp>
      <p:pic>
        <p:nvPicPr>
          <p:cNvPr id="105" name="Picture 104">
            <a:extLst>
              <a:ext uri="{FF2B5EF4-FFF2-40B4-BE49-F238E27FC236}">
                <a16:creationId xmlns:a16="http://schemas.microsoft.com/office/drawing/2014/main" id="{7385457F-6740-4AC4-B3F2-CB7B667942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26452" y="6123941"/>
            <a:ext cx="3492448" cy="703580"/>
          </a:xfrm>
          <a:prstGeom prst="rect">
            <a:avLst/>
          </a:prstGeom>
        </p:spPr>
      </p:pic>
      <p:sp>
        <p:nvSpPr>
          <p:cNvPr id="106" name="Oval" hidden="1">
            <a:extLst>
              <a:ext uri="{FF2B5EF4-FFF2-40B4-BE49-F238E27FC236}">
                <a16:creationId xmlns:a16="http://schemas.microsoft.com/office/drawing/2014/main" id="{E3CFFF1D-0349-43B6-BE0F-EFCE3DC8F765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1315082" y="991228"/>
            <a:ext cx="1535305" cy="1535305"/>
          </a:xfrm>
          <a:prstGeom prst="ellipse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5080" tIns="0" rIns="508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Tx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Tx/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Tx/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Tx/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Tx/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GB" sz="2133" b="1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107" name="Rectangle" hidden="1">
            <a:extLst>
              <a:ext uri="{FF2B5EF4-FFF2-40B4-BE49-F238E27FC236}">
                <a16:creationId xmlns:a16="http://schemas.microsoft.com/office/drawing/2014/main" id="{BC8A434E-2DF3-42DA-A795-1C92A37D3B41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1315082" y="2654476"/>
            <a:ext cx="1535305" cy="153530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101600" tIns="101600" rIns="101600" bIns="1016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Tx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Tx/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Tx/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Tx/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Tx/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2133" b="1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108" name="RoundedRectangle" hidden="1">
            <a:extLst>
              <a:ext uri="{FF2B5EF4-FFF2-40B4-BE49-F238E27FC236}">
                <a16:creationId xmlns:a16="http://schemas.microsoft.com/office/drawing/2014/main" id="{DA1B90DE-CC58-4B2A-90B8-DCD12613703E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1315082" y="4317724"/>
            <a:ext cx="1535305" cy="1535305"/>
          </a:xfrm>
          <a:prstGeom prst="round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101600" tIns="101600" rIns="101600" bIns="1016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Tx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Tx/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Tx/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Tx/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Tx/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2133" b="1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109" name="Arrow" hidden="1">
            <a:extLst>
              <a:ext uri="{FF2B5EF4-FFF2-40B4-BE49-F238E27FC236}">
                <a16:creationId xmlns:a16="http://schemas.microsoft.com/office/drawing/2014/main" id="{B5DF9946-FD21-48EA-B6E8-7C5CA4133CCA}"/>
              </a:ext>
            </a:extLst>
          </p:cNvPr>
          <p:cNvSpPr txBox="1"/>
          <p:nvPr userDrawn="1">
            <p:custDataLst>
              <p:tags r:id="rId15"/>
            </p:custDataLst>
          </p:nvPr>
        </p:nvSpPr>
        <p:spPr>
          <a:xfrm>
            <a:off x="3285391" y="991227"/>
            <a:ext cx="1842367" cy="921184"/>
          </a:xfrm>
          <a:prstGeom prst="rightArrow">
            <a:avLst>
              <a:gd name="adj1" fmla="val 54000"/>
              <a:gd name="adj2" fmla="val 37676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10160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Tx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Tx/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Tx/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Tx/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Tx/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2133" b="1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110" name="DirArrow" hidden="1">
            <a:extLst>
              <a:ext uri="{FF2B5EF4-FFF2-40B4-BE49-F238E27FC236}">
                <a16:creationId xmlns:a16="http://schemas.microsoft.com/office/drawing/2014/main" id="{1E62280B-28B6-438C-BD83-401DB78A52FA}"/>
              </a:ext>
            </a:extLst>
          </p:cNvPr>
          <p:cNvSpPr>
            <a:spLocks/>
          </p:cNvSpPr>
          <p:nvPr userDrawn="1">
            <p:custDataLst>
              <p:tags r:id="rId16"/>
            </p:custDataLst>
          </p:nvPr>
        </p:nvSpPr>
        <p:spPr>
          <a:xfrm rot="5400000">
            <a:off x="6170487" y="3805954"/>
            <a:ext cx="3108995" cy="345444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133" b="1" err="1">
              <a:solidFill>
                <a:schemeClr val="bg1"/>
              </a:solidFill>
            </a:endParaRPr>
          </a:p>
        </p:txBody>
      </p:sp>
      <p:grpSp>
        <p:nvGrpSpPr>
          <p:cNvPr id="4" name="Group 3" hidden="1">
            <a:extLst>
              <a:ext uri="{FF2B5EF4-FFF2-40B4-BE49-F238E27FC236}">
                <a16:creationId xmlns:a16="http://schemas.microsoft.com/office/drawing/2014/main" id="{AD85F77F-714D-44D8-B47C-C3E47E734F19}"/>
              </a:ext>
            </a:extLst>
          </p:cNvPr>
          <p:cNvGrpSpPr/>
          <p:nvPr userDrawn="1">
            <p:custDataLst>
              <p:tags r:id="rId17"/>
            </p:custDataLst>
          </p:nvPr>
        </p:nvGrpSpPr>
        <p:grpSpPr>
          <a:xfrm>
            <a:off x="3285391" y="3831543"/>
            <a:ext cx="1842367" cy="921184"/>
            <a:chOff x="2942111" y="3562821"/>
            <a:chExt cx="1828800" cy="914400"/>
          </a:xfrm>
        </p:grpSpPr>
        <p:sp>
          <p:nvSpPr>
            <p:cNvPr id="112" name="Freeform 217">
              <a:extLst>
                <a:ext uri="{FF2B5EF4-FFF2-40B4-BE49-F238E27FC236}">
                  <a16:creationId xmlns:a16="http://schemas.microsoft.com/office/drawing/2014/main" id="{387C1F73-4B7D-49E0-BD5E-AFE315404BBE}"/>
                </a:ext>
              </a:extLst>
            </p:cNvPr>
            <p:cNvSpPr/>
            <p:nvPr>
              <p:custDataLst>
                <p:tags r:id="rId58"/>
              </p:custDataLst>
            </p:nvPr>
          </p:nvSpPr>
          <p:spPr>
            <a:xfrm>
              <a:off x="2942111" y="3562821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164592" y="4572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133" b="1" err="1">
                <a:solidFill>
                  <a:schemeClr val="bg1"/>
                </a:solidFill>
              </a:endParaRP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78C7F8EE-BDE4-4B37-AC31-9347D5E749C0}"/>
                </a:ext>
              </a:extLst>
            </p:cNvPr>
            <p:cNvSpPr txBox="1"/>
            <p:nvPr>
              <p:custDataLst>
                <p:tags r:id="rId59"/>
              </p:custDataLst>
            </p:nvPr>
          </p:nvSpPr>
          <p:spPr>
            <a:xfrm>
              <a:off x="3157503" y="3626321"/>
              <a:ext cx="1448816" cy="787400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Tx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hangingPunct="1">
                <a:buClrTx/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hangingPunct="1">
                <a:buClrTx/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hangingPunct="1">
                <a:buClrTx/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hangingPunct="1">
                <a:buClrTx/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GB" sz="2133" b="1">
                  <a:solidFill>
                    <a:schemeClr val="bg1"/>
                  </a:solidFill>
                </a:rPr>
                <a:t>Text</a:t>
              </a:r>
            </a:p>
          </p:txBody>
        </p:sp>
      </p:grpSp>
      <p:grpSp>
        <p:nvGrpSpPr>
          <p:cNvPr id="5" name="Group 4" hidden="1">
            <a:extLst>
              <a:ext uri="{FF2B5EF4-FFF2-40B4-BE49-F238E27FC236}">
                <a16:creationId xmlns:a16="http://schemas.microsoft.com/office/drawing/2014/main" id="{CADA48FE-0092-4372-A2CB-838E4BB4C27D}"/>
              </a:ext>
            </a:extLst>
          </p:cNvPr>
          <p:cNvGrpSpPr/>
          <p:nvPr userDrawn="1">
            <p:custDataLst>
              <p:tags r:id="rId18"/>
            </p:custDataLst>
          </p:nvPr>
        </p:nvGrpSpPr>
        <p:grpSpPr>
          <a:xfrm>
            <a:off x="3285391" y="4880669"/>
            <a:ext cx="1842367" cy="921184"/>
            <a:chOff x="2942111" y="4604221"/>
            <a:chExt cx="1828800" cy="914400"/>
          </a:xfrm>
        </p:grpSpPr>
        <p:sp>
          <p:nvSpPr>
            <p:cNvPr id="115" name="Freeform 213">
              <a:extLst>
                <a:ext uri="{FF2B5EF4-FFF2-40B4-BE49-F238E27FC236}">
                  <a16:creationId xmlns:a16="http://schemas.microsoft.com/office/drawing/2014/main" id="{8074B620-3C9C-4737-BE9A-52C09722A18B}"/>
                </a:ext>
              </a:extLst>
            </p:cNvPr>
            <p:cNvSpPr/>
            <p:nvPr>
              <p:custDataLst>
                <p:tags r:id="rId54"/>
              </p:custDataLst>
            </p:nvPr>
          </p:nvSpPr>
          <p:spPr>
            <a:xfrm>
              <a:off x="2942111" y="4604221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164592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4592" y="4572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133" b="1" err="1">
                <a:solidFill>
                  <a:schemeClr val="bg1"/>
                </a:solidFill>
              </a:endParaRP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5E2355CC-874A-4F6B-B564-38D38D72A752}"/>
                </a:ext>
              </a:extLst>
            </p:cNvPr>
            <p:cNvSpPr txBox="1"/>
            <p:nvPr>
              <p:custDataLst>
                <p:tags r:id="rId55"/>
              </p:custDataLst>
            </p:nvPr>
          </p:nvSpPr>
          <p:spPr>
            <a:xfrm>
              <a:off x="3144803" y="4661371"/>
              <a:ext cx="1461516" cy="342900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Tx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hangingPunct="1">
                <a:buClrTx/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hangingPunct="1">
                <a:buClrTx/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hangingPunct="1">
                <a:buClrTx/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hangingPunct="1">
                <a:buClrTx/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GB" sz="2133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117" name="Freeform 215">
              <a:extLst>
                <a:ext uri="{FF2B5EF4-FFF2-40B4-BE49-F238E27FC236}">
                  <a16:creationId xmlns:a16="http://schemas.microsoft.com/office/drawing/2014/main" id="{EA2D3E5F-2A32-42AA-842C-43D72D1B55F4}"/>
                </a:ext>
              </a:extLst>
            </p:cNvPr>
            <p:cNvSpPr/>
            <p:nvPr>
              <p:custDataLst>
                <p:tags r:id="rId56"/>
              </p:custDataLst>
            </p:nvPr>
          </p:nvSpPr>
          <p:spPr>
            <a:xfrm>
              <a:off x="2942111" y="5061421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64592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164592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133" b="1" err="1">
                <a:solidFill>
                  <a:schemeClr val="bg1"/>
                </a:solidFill>
              </a:endParaRP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E8264D6F-92C9-4325-8BFC-8E28A038E8FB}"/>
                </a:ext>
              </a:extLst>
            </p:cNvPr>
            <p:cNvSpPr txBox="1"/>
            <p:nvPr>
              <p:custDataLst>
                <p:tags r:id="rId57"/>
              </p:custDataLst>
            </p:nvPr>
          </p:nvSpPr>
          <p:spPr>
            <a:xfrm>
              <a:off x="3144803" y="5118571"/>
              <a:ext cx="1461516" cy="342900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Tx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hangingPunct="1">
                <a:buClrTx/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hangingPunct="1">
                <a:buClrTx/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hangingPunct="1">
                <a:buClrTx/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hangingPunct="1">
                <a:buClrTx/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GB" sz="2133" b="1">
                  <a:solidFill>
                    <a:schemeClr val="bg1"/>
                  </a:solidFill>
                </a:rPr>
                <a:t>Text</a:t>
              </a:r>
            </a:p>
          </p:txBody>
        </p:sp>
      </p:grpSp>
      <p:sp>
        <p:nvSpPr>
          <p:cNvPr id="119" name="SingleChevron" hidden="1">
            <a:extLst>
              <a:ext uri="{FF2B5EF4-FFF2-40B4-BE49-F238E27FC236}">
                <a16:creationId xmlns:a16="http://schemas.microsoft.com/office/drawing/2014/main" id="{6D2DBCF5-00B7-4001-85EC-C429FAF406B9}"/>
              </a:ext>
            </a:extLst>
          </p:cNvPr>
          <p:cNvSpPr>
            <a:spLocks noChangeAspect="1"/>
          </p:cNvSpPr>
          <p:nvPr userDrawn="1">
            <p:custDataLst>
              <p:tags r:id="rId19"/>
            </p:custDataLst>
          </p:nvPr>
        </p:nvSpPr>
        <p:spPr>
          <a:xfrm>
            <a:off x="5690703" y="991228"/>
            <a:ext cx="671696" cy="1535305"/>
          </a:xfrm>
          <a:custGeom>
            <a:avLst/>
            <a:gdLst>
              <a:gd name="connsiteX0" fmla="*/ 0 w 17448211"/>
              <a:gd name="connsiteY0" fmla="*/ 0 h 7558068"/>
              <a:gd name="connsiteX1" fmla="*/ 15987710 w 17448211"/>
              <a:gd name="connsiteY1" fmla="*/ 2478067 h 7558068"/>
              <a:gd name="connsiteX2" fmla="*/ 17448210 w 17448211"/>
              <a:gd name="connsiteY2" fmla="*/ 5018067 h 7558068"/>
              <a:gd name="connsiteX3" fmla="*/ 15987710 w 17448211"/>
              <a:gd name="connsiteY3" fmla="*/ 7558067 h 7558068"/>
              <a:gd name="connsiteX4" fmla="*/ 15225710 w 17448211"/>
              <a:gd name="connsiteY4" fmla="*/ 7558067 h 7558068"/>
              <a:gd name="connsiteX5" fmla="*/ 16686210 w 17448211"/>
              <a:gd name="connsiteY5" fmla="*/ 5018067 h 7558068"/>
              <a:gd name="connsiteX0" fmla="*/ 0 w 17448211"/>
              <a:gd name="connsiteY0" fmla="*/ 0 h 8466668"/>
              <a:gd name="connsiteX1" fmla="*/ 4868339 w 17448211"/>
              <a:gd name="connsiteY1" fmla="*/ 8466668 h 8466668"/>
              <a:gd name="connsiteX2" fmla="*/ 17448210 w 17448211"/>
              <a:gd name="connsiteY2" fmla="*/ 5018067 h 8466668"/>
              <a:gd name="connsiteX3" fmla="*/ 15987710 w 17448211"/>
              <a:gd name="connsiteY3" fmla="*/ 7558067 h 8466668"/>
              <a:gd name="connsiteX4" fmla="*/ 15225710 w 17448211"/>
              <a:gd name="connsiteY4" fmla="*/ 7558067 h 8466668"/>
              <a:gd name="connsiteX5" fmla="*/ 16686210 w 17448211"/>
              <a:gd name="connsiteY5" fmla="*/ 5018067 h 8466668"/>
              <a:gd name="connsiteX0" fmla="*/ 0 w 16686211"/>
              <a:gd name="connsiteY0" fmla="*/ 0 h 16933336"/>
              <a:gd name="connsiteX1" fmla="*/ 4868339 w 16686211"/>
              <a:gd name="connsiteY1" fmla="*/ 8466668 h 16933336"/>
              <a:gd name="connsiteX2" fmla="*/ 3 w 16686211"/>
              <a:gd name="connsiteY2" fmla="*/ 16933336 h 16933336"/>
              <a:gd name="connsiteX3" fmla="*/ 15987710 w 16686211"/>
              <a:gd name="connsiteY3" fmla="*/ 7558067 h 16933336"/>
              <a:gd name="connsiteX4" fmla="*/ 15225710 w 16686211"/>
              <a:gd name="connsiteY4" fmla="*/ 7558067 h 16933336"/>
              <a:gd name="connsiteX5" fmla="*/ 16686210 w 16686211"/>
              <a:gd name="connsiteY5" fmla="*/ 5018067 h 16933336"/>
              <a:gd name="connsiteX0" fmla="*/ 2539998 w 19226209"/>
              <a:gd name="connsiteY0" fmla="*/ 0 h 16933336"/>
              <a:gd name="connsiteX1" fmla="*/ 7408337 w 19226209"/>
              <a:gd name="connsiteY1" fmla="*/ 8466668 h 16933336"/>
              <a:gd name="connsiteX2" fmla="*/ 2540001 w 19226209"/>
              <a:gd name="connsiteY2" fmla="*/ 16933336 h 16933336"/>
              <a:gd name="connsiteX3" fmla="*/ 0 w 19226209"/>
              <a:gd name="connsiteY3" fmla="*/ 16933336 h 16933336"/>
              <a:gd name="connsiteX4" fmla="*/ 17765708 w 19226209"/>
              <a:gd name="connsiteY4" fmla="*/ 7558067 h 16933336"/>
              <a:gd name="connsiteX5" fmla="*/ 19226208 w 19226209"/>
              <a:gd name="connsiteY5" fmla="*/ 5018067 h 16933336"/>
              <a:gd name="connsiteX0" fmla="*/ 2539998 w 19226209"/>
              <a:gd name="connsiteY0" fmla="*/ 0 h 16933336"/>
              <a:gd name="connsiteX1" fmla="*/ 7408337 w 19226209"/>
              <a:gd name="connsiteY1" fmla="*/ 8466668 h 16933336"/>
              <a:gd name="connsiteX2" fmla="*/ 2540001 w 19226209"/>
              <a:gd name="connsiteY2" fmla="*/ 16933336 h 16933336"/>
              <a:gd name="connsiteX3" fmla="*/ 0 w 19226209"/>
              <a:gd name="connsiteY3" fmla="*/ 16933336 h 16933336"/>
              <a:gd name="connsiteX4" fmla="*/ 4868336 w 19226209"/>
              <a:gd name="connsiteY4" fmla="*/ 8466668 h 16933336"/>
              <a:gd name="connsiteX5" fmla="*/ 19226208 w 19226209"/>
              <a:gd name="connsiteY5" fmla="*/ 5018067 h 16933336"/>
              <a:gd name="connsiteX0" fmla="*/ 2539998 w 7408337"/>
              <a:gd name="connsiteY0" fmla="*/ 0 h 16933336"/>
              <a:gd name="connsiteX1" fmla="*/ 7408337 w 7408337"/>
              <a:gd name="connsiteY1" fmla="*/ 8466668 h 16933336"/>
              <a:gd name="connsiteX2" fmla="*/ 2540001 w 7408337"/>
              <a:gd name="connsiteY2" fmla="*/ 16933336 h 16933336"/>
              <a:gd name="connsiteX3" fmla="*/ 0 w 7408337"/>
              <a:gd name="connsiteY3" fmla="*/ 16933336 h 16933336"/>
              <a:gd name="connsiteX4" fmla="*/ 4868336 w 7408337"/>
              <a:gd name="connsiteY4" fmla="*/ 8466668 h 16933336"/>
              <a:gd name="connsiteX5" fmla="*/ 0 w 7408337"/>
              <a:gd name="connsiteY5" fmla="*/ 0 h 169333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08337" h="16933336">
                <a:moveTo>
                  <a:pt x="2539998" y="0"/>
                </a:moveTo>
                <a:lnTo>
                  <a:pt x="7408337" y="8466668"/>
                </a:lnTo>
                <a:lnTo>
                  <a:pt x="2540001" y="16933336"/>
                </a:lnTo>
                <a:lnTo>
                  <a:pt x="0" y="16933336"/>
                </a:lnTo>
                <a:lnTo>
                  <a:pt x="4868336" y="846666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133" b="1" err="1">
              <a:solidFill>
                <a:schemeClr val="bg1"/>
              </a:solidFill>
            </a:endParaRPr>
          </a:p>
        </p:txBody>
      </p:sp>
      <p:grpSp>
        <p:nvGrpSpPr>
          <p:cNvPr id="7" name="Group 6" hidden="1">
            <a:extLst>
              <a:ext uri="{FF2B5EF4-FFF2-40B4-BE49-F238E27FC236}">
                <a16:creationId xmlns:a16="http://schemas.microsoft.com/office/drawing/2014/main" id="{1B99E148-256C-482A-84FB-3D27245D3699}"/>
              </a:ext>
            </a:extLst>
          </p:cNvPr>
          <p:cNvGrpSpPr>
            <a:grpSpLocks noChangeAspect="1"/>
          </p:cNvGrpSpPr>
          <p:nvPr userDrawn="1">
            <p:custDataLst>
              <p:tags r:id="rId20"/>
            </p:custDataLst>
          </p:nvPr>
        </p:nvGrpSpPr>
        <p:grpSpPr>
          <a:xfrm>
            <a:off x="5690703" y="2654476"/>
            <a:ext cx="1021853" cy="1535305"/>
            <a:chOff x="1270000" y="1270000"/>
            <a:chExt cx="2409031" cy="3619500"/>
          </a:xfrm>
        </p:grpSpPr>
        <p:sp>
          <p:nvSpPr>
            <p:cNvPr id="121" name="Chevron1">
              <a:extLst>
                <a:ext uri="{FF2B5EF4-FFF2-40B4-BE49-F238E27FC236}">
                  <a16:creationId xmlns:a16="http://schemas.microsoft.com/office/drawing/2014/main" id="{E1D4523D-F612-44ED-8B7A-C19DB316FCA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1" cy="3619500"/>
            </a:xfrm>
            <a:custGeom>
              <a:avLst/>
              <a:gdLst>
                <a:gd name="connsiteX0" fmla="*/ 0 w 17448211"/>
                <a:gd name="connsiteY0" fmla="*/ 0 h 13061403"/>
                <a:gd name="connsiteX1" fmla="*/ 15987710 w 17448211"/>
                <a:gd name="connsiteY1" fmla="*/ 7981402 h 13061403"/>
                <a:gd name="connsiteX2" fmla="*/ 17448210 w 17448211"/>
                <a:gd name="connsiteY2" fmla="*/ 10521402 h 13061403"/>
                <a:gd name="connsiteX3" fmla="*/ 15987710 w 17448211"/>
                <a:gd name="connsiteY3" fmla="*/ 13061402 h 13061403"/>
                <a:gd name="connsiteX4" fmla="*/ 15225710 w 17448211"/>
                <a:gd name="connsiteY4" fmla="*/ 13061402 h 13061403"/>
                <a:gd name="connsiteX5" fmla="*/ 16686210 w 17448211"/>
                <a:gd name="connsiteY5" fmla="*/ 10521402 h 13061403"/>
                <a:gd name="connsiteX0" fmla="*/ 0 w 17448211"/>
                <a:gd name="connsiteY0" fmla="*/ 0 h 13061403"/>
                <a:gd name="connsiteX1" fmla="*/ 4868339 w 17448211"/>
                <a:gd name="connsiteY1" fmla="*/ 8466669 h 13061403"/>
                <a:gd name="connsiteX2" fmla="*/ 17448210 w 17448211"/>
                <a:gd name="connsiteY2" fmla="*/ 10521402 h 13061403"/>
                <a:gd name="connsiteX3" fmla="*/ 15987710 w 17448211"/>
                <a:gd name="connsiteY3" fmla="*/ 13061402 h 13061403"/>
                <a:gd name="connsiteX4" fmla="*/ 15225710 w 17448211"/>
                <a:gd name="connsiteY4" fmla="*/ 13061402 h 13061403"/>
                <a:gd name="connsiteX5" fmla="*/ 16686210 w 17448211"/>
                <a:gd name="connsiteY5" fmla="*/ 10521402 h 13061403"/>
                <a:gd name="connsiteX0" fmla="*/ 0 w 16686211"/>
                <a:gd name="connsiteY0" fmla="*/ 0 h 16933337"/>
                <a:gd name="connsiteX1" fmla="*/ 4868339 w 16686211"/>
                <a:gd name="connsiteY1" fmla="*/ 8466669 h 16933337"/>
                <a:gd name="connsiteX2" fmla="*/ 3 w 16686211"/>
                <a:gd name="connsiteY2" fmla="*/ 16933337 h 16933337"/>
                <a:gd name="connsiteX3" fmla="*/ 15987710 w 16686211"/>
                <a:gd name="connsiteY3" fmla="*/ 13061402 h 16933337"/>
                <a:gd name="connsiteX4" fmla="*/ 15225710 w 16686211"/>
                <a:gd name="connsiteY4" fmla="*/ 13061402 h 16933337"/>
                <a:gd name="connsiteX5" fmla="*/ 16686210 w 16686211"/>
                <a:gd name="connsiteY5" fmla="*/ 10521402 h 16933337"/>
                <a:gd name="connsiteX0" fmla="*/ 2539998 w 19226209"/>
                <a:gd name="connsiteY0" fmla="*/ 0 h 16933337"/>
                <a:gd name="connsiteX1" fmla="*/ 7408337 w 19226209"/>
                <a:gd name="connsiteY1" fmla="*/ 8466669 h 16933337"/>
                <a:gd name="connsiteX2" fmla="*/ 2540001 w 19226209"/>
                <a:gd name="connsiteY2" fmla="*/ 16933337 h 16933337"/>
                <a:gd name="connsiteX3" fmla="*/ 0 w 19226209"/>
                <a:gd name="connsiteY3" fmla="*/ 16933337 h 16933337"/>
                <a:gd name="connsiteX4" fmla="*/ 17765708 w 19226209"/>
                <a:gd name="connsiteY4" fmla="*/ 13061402 h 16933337"/>
                <a:gd name="connsiteX5" fmla="*/ 19226208 w 19226209"/>
                <a:gd name="connsiteY5" fmla="*/ 10521402 h 16933337"/>
                <a:gd name="connsiteX0" fmla="*/ 2539998 w 19226209"/>
                <a:gd name="connsiteY0" fmla="*/ 0 h 16933337"/>
                <a:gd name="connsiteX1" fmla="*/ 7408337 w 19226209"/>
                <a:gd name="connsiteY1" fmla="*/ 8466669 h 16933337"/>
                <a:gd name="connsiteX2" fmla="*/ 2540001 w 19226209"/>
                <a:gd name="connsiteY2" fmla="*/ 16933337 h 16933337"/>
                <a:gd name="connsiteX3" fmla="*/ 0 w 19226209"/>
                <a:gd name="connsiteY3" fmla="*/ 16933337 h 16933337"/>
                <a:gd name="connsiteX4" fmla="*/ 4868336 w 19226209"/>
                <a:gd name="connsiteY4" fmla="*/ 8466669 h 16933337"/>
                <a:gd name="connsiteX5" fmla="*/ 19226208 w 19226209"/>
                <a:gd name="connsiteY5" fmla="*/ 10521402 h 16933337"/>
                <a:gd name="connsiteX0" fmla="*/ 2539998 w 7408337"/>
                <a:gd name="connsiteY0" fmla="*/ 0 h 16933337"/>
                <a:gd name="connsiteX1" fmla="*/ 7408337 w 7408337"/>
                <a:gd name="connsiteY1" fmla="*/ 8466669 h 16933337"/>
                <a:gd name="connsiteX2" fmla="*/ 2540001 w 7408337"/>
                <a:gd name="connsiteY2" fmla="*/ 16933337 h 16933337"/>
                <a:gd name="connsiteX3" fmla="*/ 0 w 7408337"/>
                <a:gd name="connsiteY3" fmla="*/ 16933337 h 16933337"/>
                <a:gd name="connsiteX4" fmla="*/ 4868336 w 7408337"/>
                <a:gd name="connsiteY4" fmla="*/ 8466669 h 16933337"/>
                <a:gd name="connsiteX5" fmla="*/ 0 w 7408337"/>
                <a:gd name="connsiteY5" fmla="*/ 0 h 16933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408337" h="16933337">
                  <a:moveTo>
                    <a:pt x="2539998" y="0"/>
                  </a:moveTo>
                  <a:lnTo>
                    <a:pt x="7408337" y="8466669"/>
                  </a:lnTo>
                  <a:lnTo>
                    <a:pt x="2540001" y="16933337"/>
                  </a:lnTo>
                  <a:lnTo>
                    <a:pt x="0" y="16933337"/>
                  </a:lnTo>
                  <a:lnTo>
                    <a:pt x="4868336" y="846666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133" b="1" err="1">
                <a:solidFill>
                  <a:schemeClr val="bg1"/>
                </a:solidFill>
              </a:endParaRPr>
            </a:p>
          </p:txBody>
        </p:sp>
        <p:sp>
          <p:nvSpPr>
            <p:cNvPr id="122" name="Chevron2">
              <a:extLst>
                <a:ext uri="{FF2B5EF4-FFF2-40B4-BE49-F238E27FC236}">
                  <a16:creationId xmlns:a16="http://schemas.microsoft.com/office/drawing/2014/main" id="{B57C7205-840C-43F7-88E3-F17F56A84F59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2095500" y="1270000"/>
              <a:ext cx="1583531" cy="3619500"/>
            </a:xfrm>
            <a:custGeom>
              <a:avLst/>
              <a:gdLst>
                <a:gd name="connsiteX0" fmla="*/ 0 w 18606808"/>
                <a:gd name="connsiteY0" fmla="*/ 0 h 13061403"/>
                <a:gd name="connsiteX1" fmla="*/ 17146307 w 18606808"/>
                <a:gd name="connsiteY1" fmla="*/ 7981402 h 13061403"/>
                <a:gd name="connsiteX2" fmla="*/ 18606807 w 18606808"/>
                <a:gd name="connsiteY2" fmla="*/ 10521402 h 13061403"/>
                <a:gd name="connsiteX3" fmla="*/ 17146307 w 18606808"/>
                <a:gd name="connsiteY3" fmla="*/ 13061402 h 13061403"/>
                <a:gd name="connsiteX4" fmla="*/ 16384307 w 18606808"/>
                <a:gd name="connsiteY4" fmla="*/ 13061402 h 13061403"/>
                <a:gd name="connsiteX5" fmla="*/ 17844807 w 18606808"/>
                <a:gd name="connsiteY5" fmla="*/ 10521402 h 13061403"/>
                <a:gd name="connsiteX0" fmla="*/ 0 w 18606808"/>
                <a:gd name="connsiteY0" fmla="*/ 0 h 13061403"/>
                <a:gd name="connsiteX1" fmla="*/ 4868335 w 18606808"/>
                <a:gd name="connsiteY1" fmla="*/ 8466669 h 13061403"/>
                <a:gd name="connsiteX2" fmla="*/ 18606807 w 18606808"/>
                <a:gd name="connsiteY2" fmla="*/ 10521402 h 13061403"/>
                <a:gd name="connsiteX3" fmla="*/ 17146307 w 18606808"/>
                <a:gd name="connsiteY3" fmla="*/ 13061402 h 13061403"/>
                <a:gd name="connsiteX4" fmla="*/ 16384307 w 18606808"/>
                <a:gd name="connsiteY4" fmla="*/ 13061402 h 13061403"/>
                <a:gd name="connsiteX5" fmla="*/ 17844807 w 18606808"/>
                <a:gd name="connsiteY5" fmla="*/ 10521402 h 13061403"/>
                <a:gd name="connsiteX0" fmla="*/ 0 w 17844808"/>
                <a:gd name="connsiteY0" fmla="*/ 0 h 16933337"/>
                <a:gd name="connsiteX1" fmla="*/ 4868335 w 17844808"/>
                <a:gd name="connsiteY1" fmla="*/ 8466669 h 16933337"/>
                <a:gd name="connsiteX2" fmla="*/ 0 w 17844808"/>
                <a:gd name="connsiteY2" fmla="*/ 16933337 h 16933337"/>
                <a:gd name="connsiteX3" fmla="*/ 17146307 w 17844808"/>
                <a:gd name="connsiteY3" fmla="*/ 13061402 h 16933337"/>
                <a:gd name="connsiteX4" fmla="*/ 16384307 w 17844808"/>
                <a:gd name="connsiteY4" fmla="*/ 13061402 h 16933337"/>
                <a:gd name="connsiteX5" fmla="*/ 17844807 w 17844808"/>
                <a:gd name="connsiteY5" fmla="*/ 10521402 h 16933337"/>
                <a:gd name="connsiteX0" fmla="*/ 2540001 w 20384809"/>
                <a:gd name="connsiteY0" fmla="*/ 0 h 16933337"/>
                <a:gd name="connsiteX1" fmla="*/ 7408336 w 20384809"/>
                <a:gd name="connsiteY1" fmla="*/ 8466669 h 16933337"/>
                <a:gd name="connsiteX2" fmla="*/ 2540001 w 20384809"/>
                <a:gd name="connsiteY2" fmla="*/ 16933337 h 16933337"/>
                <a:gd name="connsiteX3" fmla="*/ 0 w 20384809"/>
                <a:gd name="connsiteY3" fmla="*/ 16933337 h 16933337"/>
                <a:gd name="connsiteX4" fmla="*/ 18924308 w 20384809"/>
                <a:gd name="connsiteY4" fmla="*/ 13061402 h 16933337"/>
                <a:gd name="connsiteX5" fmla="*/ 20384808 w 20384809"/>
                <a:gd name="connsiteY5" fmla="*/ 10521402 h 16933337"/>
                <a:gd name="connsiteX0" fmla="*/ 2540001 w 20384809"/>
                <a:gd name="connsiteY0" fmla="*/ 0 h 16933337"/>
                <a:gd name="connsiteX1" fmla="*/ 7408336 w 20384809"/>
                <a:gd name="connsiteY1" fmla="*/ 8466669 h 16933337"/>
                <a:gd name="connsiteX2" fmla="*/ 2540001 w 20384809"/>
                <a:gd name="connsiteY2" fmla="*/ 16933337 h 16933337"/>
                <a:gd name="connsiteX3" fmla="*/ 0 w 20384809"/>
                <a:gd name="connsiteY3" fmla="*/ 16933337 h 16933337"/>
                <a:gd name="connsiteX4" fmla="*/ 4868335 w 20384809"/>
                <a:gd name="connsiteY4" fmla="*/ 8466669 h 16933337"/>
                <a:gd name="connsiteX5" fmla="*/ 20384808 w 20384809"/>
                <a:gd name="connsiteY5" fmla="*/ 10521402 h 16933337"/>
                <a:gd name="connsiteX0" fmla="*/ 2540001 w 7408337"/>
                <a:gd name="connsiteY0" fmla="*/ 0 h 16933337"/>
                <a:gd name="connsiteX1" fmla="*/ 7408336 w 7408337"/>
                <a:gd name="connsiteY1" fmla="*/ 8466669 h 16933337"/>
                <a:gd name="connsiteX2" fmla="*/ 2540001 w 7408337"/>
                <a:gd name="connsiteY2" fmla="*/ 16933337 h 16933337"/>
                <a:gd name="connsiteX3" fmla="*/ 0 w 7408337"/>
                <a:gd name="connsiteY3" fmla="*/ 16933337 h 16933337"/>
                <a:gd name="connsiteX4" fmla="*/ 4868335 w 7408337"/>
                <a:gd name="connsiteY4" fmla="*/ 8466669 h 16933337"/>
                <a:gd name="connsiteX5" fmla="*/ 0 w 7408337"/>
                <a:gd name="connsiteY5" fmla="*/ 0 h 16933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408337" h="16933337">
                  <a:moveTo>
                    <a:pt x="2540001" y="0"/>
                  </a:moveTo>
                  <a:lnTo>
                    <a:pt x="7408336" y="8466669"/>
                  </a:lnTo>
                  <a:lnTo>
                    <a:pt x="2540001" y="16933337"/>
                  </a:lnTo>
                  <a:lnTo>
                    <a:pt x="0" y="16933337"/>
                  </a:lnTo>
                  <a:lnTo>
                    <a:pt x="4868335" y="846666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133" b="1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8" name="Group 7" hidden="1">
            <a:extLst>
              <a:ext uri="{FF2B5EF4-FFF2-40B4-BE49-F238E27FC236}">
                <a16:creationId xmlns:a16="http://schemas.microsoft.com/office/drawing/2014/main" id="{244B434B-3011-45E4-9D69-12DC2FB958EB}"/>
              </a:ext>
            </a:extLst>
          </p:cNvPr>
          <p:cNvGrpSpPr>
            <a:grpSpLocks noChangeAspect="1"/>
          </p:cNvGrpSpPr>
          <p:nvPr userDrawn="1">
            <p:custDataLst>
              <p:tags r:id="rId21"/>
            </p:custDataLst>
          </p:nvPr>
        </p:nvGrpSpPr>
        <p:grpSpPr>
          <a:xfrm>
            <a:off x="5690704" y="4317724"/>
            <a:ext cx="1252149" cy="1535305"/>
            <a:chOff x="1270000" y="1270000"/>
            <a:chExt cx="2951956" cy="3619500"/>
          </a:xfrm>
        </p:grpSpPr>
        <p:sp>
          <p:nvSpPr>
            <p:cNvPr id="124" name="Chevron1">
              <a:extLst>
                <a:ext uri="{FF2B5EF4-FFF2-40B4-BE49-F238E27FC236}">
                  <a16:creationId xmlns:a16="http://schemas.microsoft.com/office/drawing/2014/main" id="{0E858388-098D-4D50-895F-E0A4F53D2DB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1" cy="3619500"/>
            </a:xfrm>
            <a:custGeom>
              <a:avLst/>
              <a:gdLst>
                <a:gd name="connsiteX0" fmla="*/ 0 w 17448211"/>
                <a:gd name="connsiteY0" fmla="*/ 0 h 18564737"/>
                <a:gd name="connsiteX1" fmla="*/ 15987710 w 17448211"/>
                <a:gd name="connsiteY1" fmla="*/ 13484736 h 18564737"/>
                <a:gd name="connsiteX2" fmla="*/ 17448210 w 17448211"/>
                <a:gd name="connsiteY2" fmla="*/ 16024736 h 18564737"/>
                <a:gd name="connsiteX3" fmla="*/ 15987710 w 17448211"/>
                <a:gd name="connsiteY3" fmla="*/ 18564736 h 18564737"/>
                <a:gd name="connsiteX4" fmla="*/ 15225710 w 17448211"/>
                <a:gd name="connsiteY4" fmla="*/ 18564736 h 18564737"/>
                <a:gd name="connsiteX5" fmla="*/ 16686210 w 17448211"/>
                <a:gd name="connsiteY5" fmla="*/ 16024736 h 18564737"/>
                <a:gd name="connsiteX0" fmla="*/ 0 w 17448211"/>
                <a:gd name="connsiteY0" fmla="*/ 0 h 18564737"/>
                <a:gd name="connsiteX1" fmla="*/ 4868339 w 17448211"/>
                <a:gd name="connsiteY1" fmla="*/ 8466668 h 18564737"/>
                <a:gd name="connsiteX2" fmla="*/ 17448210 w 17448211"/>
                <a:gd name="connsiteY2" fmla="*/ 16024736 h 18564737"/>
                <a:gd name="connsiteX3" fmla="*/ 15987710 w 17448211"/>
                <a:gd name="connsiteY3" fmla="*/ 18564736 h 18564737"/>
                <a:gd name="connsiteX4" fmla="*/ 15225710 w 17448211"/>
                <a:gd name="connsiteY4" fmla="*/ 18564736 h 18564737"/>
                <a:gd name="connsiteX5" fmla="*/ 16686210 w 17448211"/>
                <a:gd name="connsiteY5" fmla="*/ 16024736 h 18564737"/>
                <a:gd name="connsiteX0" fmla="*/ 0 w 16686211"/>
                <a:gd name="connsiteY0" fmla="*/ 0 h 18564737"/>
                <a:gd name="connsiteX1" fmla="*/ 4868339 w 16686211"/>
                <a:gd name="connsiteY1" fmla="*/ 8466668 h 18564737"/>
                <a:gd name="connsiteX2" fmla="*/ 3 w 16686211"/>
                <a:gd name="connsiteY2" fmla="*/ 16933337 h 18564737"/>
                <a:gd name="connsiteX3" fmla="*/ 15987710 w 16686211"/>
                <a:gd name="connsiteY3" fmla="*/ 18564736 h 18564737"/>
                <a:gd name="connsiteX4" fmla="*/ 15225710 w 16686211"/>
                <a:gd name="connsiteY4" fmla="*/ 18564736 h 18564737"/>
                <a:gd name="connsiteX5" fmla="*/ 16686210 w 16686211"/>
                <a:gd name="connsiteY5" fmla="*/ 16024736 h 18564737"/>
                <a:gd name="connsiteX0" fmla="*/ 2539998 w 19226209"/>
                <a:gd name="connsiteY0" fmla="*/ 0 h 18564737"/>
                <a:gd name="connsiteX1" fmla="*/ 7408337 w 19226209"/>
                <a:gd name="connsiteY1" fmla="*/ 8466668 h 18564737"/>
                <a:gd name="connsiteX2" fmla="*/ 2540001 w 19226209"/>
                <a:gd name="connsiteY2" fmla="*/ 16933337 h 18564737"/>
                <a:gd name="connsiteX3" fmla="*/ 0 w 19226209"/>
                <a:gd name="connsiteY3" fmla="*/ 16933337 h 18564737"/>
                <a:gd name="connsiteX4" fmla="*/ 17765708 w 19226209"/>
                <a:gd name="connsiteY4" fmla="*/ 18564736 h 18564737"/>
                <a:gd name="connsiteX5" fmla="*/ 19226208 w 19226209"/>
                <a:gd name="connsiteY5" fmla="*/ 16024736 h 18564737"/>
                <a:gd name="connsiteX0" fmla="*/ 2539998 w 19226209"/>
                <a:gd name="connsiteY0" fmla="*/ 0 h 16933337"/>
                <a:gd name="connsiteX1" fmla="*/ 7408337 w 19226209"/>
                <a:gd name="connsiteY1" fmla="*/ 8466668 h 16933337"/>
                <a:gd name="connsiteX2" fmla="*/ 2540001 w 19226209"/>
                <a:gd name="connsiteY2" fmla="*/ 16933337 h 16933337"/>
                <a:gd name="connsiteX3" fmla="*/ 0 w 19226209"/>
                <a:gd name="connsiteY3" fmla="*/ 16933337 h 16933337"/>
                <a:gd name="connsiteX4" fmla="*/ 4868336 w 19226209"/>
                <a:gd name="connsiteY4" fmla="*/ 8466668 h 16933337"/>
                <a:gd name="connsiteX5" fmla="*/ 19226208 w 19226209"/>
                <a:gd name="connsiteY5" fmla="*/ 16024736 h 16933337"/>
                <a:gd name="connsiteX0" fmla="*/ 2539998 w 7408337"/>
                <a:gd name="connsiteY0" fmla="*/ 0 h 16933337"/>
                <a:gd name="connsiteX1" fmla="*/ 7408337 w 7408337"/>
                <a:gd name="connsiteY1" fmla="*/ 8466668 h 16933337"/>
                <a:gd name="connsiteX2" fmla="*/ 2540001 w 7408337"/>
                <a:gd name="connsiteY2" fmla="*/ 16933337 h 16933337"/>
                <a:gd name="connsiteX3" fmla="*/ 0 w 7408337"/>
                <a:gd name="connsiteY3" fmla="*/ 16933337 h 16933337"/>
                <a:gd name="connsiteX4" fmla="*/ 4868336 w 7408337"/>
                <a:gd name="connsiteY4" fmla="*/ 8466668 h 16933337"/>
                <a:gd name="connsiteX5" fmla="*/ 0 w 7408337"/>
                <a:gd name="connsiteY5" fmla="*/ 0 h 16933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408337" h="16933337">
                  <a:moveTo>
                    <a:pt x="2539998" y="0"/>
                  </a:moveTo>
                  <a:lnTo>
                    <a:pt x="7408337" y="8466668"/>
                  </a:lnTo>
                  <a:lnTo>
                    <a:pt x="2540001" y="16933337"/>
                  </a:lnTo>
                  <a:lnTo>
                    <a:pt x="0" y="16933337"/>
                  </a:lnTo>
                  <a:lnTo>
                    <a:pt x="4868336" y="846666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133" b="1" err="1">
                <a:solidFill>
                  <a:schemeClr val="bg1"/>
                </a:solidFill>
              </a:endParaRPr>
            </a:p>
          </p:txBody>
        </p:sp>
        <p:sp>
          <p:nvSpPr>
            <p:cNvPr id="125" name="Chevron2">
              <a:extLst>
                <a:ext uri="{FF2B5EF4-FFF2-40B4-BE49-F238E27FC236}">
                  <a16:creationId xmlns:a16="http://schemas.microsoft.com/office/drawing/2014/main" id="{84926589-627E-4BDE-BDA5-9E4EB2915815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2095500" y="1270000"/>
              <a:ext cx="2126456" cy="3619500"/>
            </a:xfrm>
            <a:custGeom>
              <a:avLst/>
              <a:gdLst>
                <a:gd name="connsiteX0" fmla="*/ 0 w 16828806"/>
                <a:gd name="connsiteY0" fmla="*/ 0 h 18564737"/>
                <a:gd name="connsiteX1" fmla="*/ 15368305 w 16828806"/>
                <a:gd name="connsiteY1" fmla="*/ 13484736 h 18564737"/>
                <a:gd name="connsiteX2" fmla="*/ 16828805 w 16828806"/>
                <a:gd name="connsiteY2" fmla="*/ 16024736 h 18564737"/>
                <a:gd name="connsiteX3" fmla="*/ 15368305 w 16828806"/>
                <a:gd name="connsiteY3" fmla="*/ 18564736 h 18564737"/>
                <a:gd name="connsiteX4" fmla="*/ 13844305 w 16828806"/>
                <a:gd name="connsiteY4" fmla="*/ 18564736 h 18564737"/>
                <a:gd name="connsiteX5" fmla="*/ 15304805 w 16828806"/>
                <a:gd name="connsiteY5" fmla="*/ 16024736 h 18564737"/>
                <a:gd name="connsiteX0" fmla="*/ 0 w 16828806"/>
                <a:gd name="connsiteY0" fmla="*/ 0 h 18564737"/>
                <a:gd name="connsiteX1" fmla="*/ 4868335 w 16828806"/>
                <a:gd name="connsiteY1" fmla="*/ 8466668 h 18564737"/>
                <a:gd name="connsiteX2" fmla="*/ 16828805 w 16828806"/>
                <a:gd name="connsiteY2" fmla="*/ 16024736 h 18564737"/>
                <a:gd name="connsiteX3" fmla="*/ 15368305 w 16828806"/>
                <a:gd name="connsiteY3" fmla="*/ 18564736 h 18564737"/>
                <a:gd name="connsiteX4" fmla="*/ 13844305 w 16828806"/>
                <a:gd name="connsiteY4" fmla="*/ 18564736 h 18564737"/>
                <a:gd name="connsiteX5" fmla="*/ 15304805 w 16828806"/>
                <a:gd name="connsiteY5" fmla="*/ 16024736 h 18564737"/>
                <a:gd name="connsiteX0" fmla="*/ 0 w 15368305"/>
                <a:gd name="connsiteY0" fmla="*/ 0 h 18564737"/>
                <a:gd name="connsiteX1" fmla="*/ 4868335 w 15368305"/>
                <a:gd name="connsiteY1" fmla="*/ 8466668 h 18564737"/>
                <a:gd name="connsiteX2" fmla="*/ 0 w 15368305"/>
                <a:gd name="connsiteY2" fmla="*/ 16933337 h 18564737"/>
                <a:gd name="connsiteX3" fmla="*/ 15368305 w 15368305"/>
                <a:gd name="connsiteY3" fmla="*/ 18564736 h 18564737"/>
                <a:gd name="connsiteX4" fmla="*/ 13844305 w 15368305"/>
                <a:gd name="connsiteY4" fmla="*/ 18564736 h 18564737"/>
                <a:gd name="connsiteX5" fmla="*/ 15304805 w 15368305"/>
                <a:gd name="connsiteY5" fmla="*/ 16024736 h 18564737"/>
                <a:gd name="connsiteX0" fmla="*/ 5080002 w 20384807"/>
                <a:gd name="connsiteY0" fmla="*/ 0 h 18564737"/>
                <a:gd name="connsiteX1" fmla="*/ 9948337 w 20384807"/>
                <a:gd name="connsiteY1" fmla="*/ 8466668 h 18564737"/>
                <a:gd name="connsiteX2" fmla="*/ 5080002 w 20384807"/>
                <a:gd name="connsiteY2" fmla="*/ 16933337 h 18564737"/>
                <a:gd name="connsiteX3" fmla="*/ 0 w 20384807"/>
                <a:gd name="connsiteY3" fmla="*/ 16933337 h 18564737"/>
                <a:gd name="connsiteX4" fmla="*/ 18924307 w 20384807"/>
                <a:gd name="connsiteY4" fmla="*/ 18564736 h 18564737"/>
                <a:gd name="connsiteX5" fmla="*/ 20384807 w 20384807"/>
                <a:gd name="connsiteY5" fmla="*/ 16024736 h 18564737"/>
                <a:gd name="connsiteX0" fmla="*/ 5080002 w 20384807"/>
                <a:gd name="connsiteY0" fmla="*/ 0 h 16933337"/>
                <a:gd name="connsiteX1" fmla="*/ 9948337 w 20384807"/>
                <a:gd name="connsiteY1" fmla="*/ 8466668 h 16933337"/>
                <a:gd name="connsiteX2" fmla="*/ 5080002 w 20384807"/>
                <a:gd name="connsiteY2" fmla="*/ 16933337 h 16933337"/>
                <a:gd name="connsiteX3" fmla="*/ 0 w 20384807"/>
                <a:gd name="connsiteY3" fmla="*/ 16933337 h 16933337"/>
                <a:gd name="connsiteX4" fmla="*/ 4868335 w 20384807"/>
                <a:gd name="connsiteY4" fmla="*/ 8466668 h 16933337"/>
                <a:gd name="connsiteX5" fmla="*/ 20384807 w 20384807"/>
                <a:gd name="connsiteY5" fmla="*/ 16024736 h 16933337"/>
                <a:gd name="connsiteX0" fmla="*/ 5080002 w 9948337"/>
                <a:gd name="connsiteY0" fmla="*/ 0 h 16933337"/>
                <a:gd name="connsiteX1" fmla="*/ 9948337 w 9948337"/>
                <a:gd name="connsiteY1" fmla="*/ 8466668 h 16933337"/>
                <a:gd name="connsiteX2" fmla="*/ 5080002 w 9948337"/>
                <a:gd name="connsiteY2" fmla="*/ 16933337 h 16933337"/>
                <a:gd name="connsiteX3" fmla="*/ 0 w 9948337"/>
                <a:gd name="connsiteY3" fmla="*/ 16933337 h 16933337"/>
                <a:gd name="connsiteX4" fmla="*/ 4868335 w 9948337"/>
                <a:gd name="connsiteY4" fmla="*/ 8466668 h 16933337"/>
                <a:gd name="connsiteX5" fmla="*/ 0 w 9948337"/>
                <a:gd name="connsiteY5" fmla="*/ 0 h 16933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948337" h="16933337">
                  <a:moveTo>
                    <a:pt x="5080002" y="0"/>
                  </a:moveTo>
                  <a:lnTo>
                    <a:pt x="9948337" y="8466668"/>
                  </a:lnTo>
                  <a:lnTo>
                    <a:pt x="5080002" y="16933337"/>
                  </a:lnTo>
                  <a:lnTo>
                    <a:pt x="0" y="16933337"/>
                  </a:lnTo>
                  <a:lnTo>
                    <a:pt x="4868335" y="846666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133" b="1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126" name="EmptyMoon" hidden="1">
            <a:extLst>
              <a:ext uri="{FF2B5EF4-FFF2-40B4-BE49-F238E27FC236}">
                <a16:creationId xmlns:a16="http://schemas.microsoft.com/office/drawing/2014/main" id="{B026AE3E-37C8-405D-A04D-09F02FB5404A}"/>
              </a:ext>
            </a:extLst>
          </p:cNvPr>
          <p:cNvGrpSpPr>
            <a:grpSpLocks noChangeAspect="1"/>
          </p:cNvGrpSpPr>
          <p:nvPr userDrawn="1">
            <p:custDataLst>
              <p:tags r:id="rId22"/>
            </p:custDataLst>
          </p:nvPr>
        </p:nvGrpSpPr>
        <p:grpSpPr>
          <a:xfrm>
            <a:off x="9238039" y="1998768"/>
            <a:ext cx="338667" cy="338667"/>
            <a:chOff x="762000" y="1270000"/>
            <a:chExt cx="254000" cy="254000"/>
          </a:xfrm>
          <a:solidFill>
            <a:schemeClr val="bg1"/>
          </a:solidFill>
        </p:grpSpPr>
        <p:sp>
          <p:nvSpPr>
            <p:cNvPr id="127" name="Oval 126">
              <a:extLst>
                <a:ext uri="{FF2B5EF4-FFF2-40B4-BE49-F238E27FC236}">
                  <a16:creationId xmlns:a16="http://schemas.microsoft.com/office/drawing/2014/main" id="{5DB74236-1E4A-47D3-8B06-FE4131A6F1D7}"/>
                </a:ext>
              </a:extLst>
            </p:cNvPr>
            <p:cNvSpPr/>
            <p:nvPr>
              <p:custDataLst>
                <p:tags r:id="rId50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grpFill/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err="1">
                <a:solidFill>
                  <a:schemeClr val="tx1"/>
                </a:solidFill>
              </a:endParaRPr>
            </a:p>
          </p:txBody>
        </p:sp>
        <p:sp>
          <p:nvSpPr>
            <p:cNvPr id="128" name="Arc 127">
              <a:extLst>
                <a:ext uri="{FF2B5EF4-FFF2-40B4-BE49-F238E27FC236}">
                  <a16:creationId xmlns:a16="http://schemas.microsoft.com/office/drawing/2014/main" id="{0F32937C-EE1E-48A4-AB55-C8D2E48782B5}"/>
                </a:ext>
              </a:extLst>
            </p:cNvPr>
            <p:cNvSpPr/>
            <p:nvPr>
              <p:custDataLst>
                <p:tags r:id="rId51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0"/>
              </a:avLst>
            </a:prstGeom>
            <a:grpFill/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grpSp>
        <p:nvGrpSpPr>
          <p:cNvPr id="129" name="QuaterMoon" hidden="1">
            <a:extLst>
              <a:ext uri="{FF2B5EF4-FFF2-40B4-BE49-F238E27FC236}">
                <a16:creationId xmlns:a16="http://schemas.microsoft.com/office/drawing/2014/main" id="{127AC0DF-7C81-40CC-B782-75399532A42A}"/>
              </a:ext>
            </a:extLst>
          </p:cNvPr>
          <p:cNvGrpSpPr>
            <a:grpSpLocks noChangeAspect="1"/>
          </p:cNvGrpSpPr>
          <p:nvPr userDrawn="1">
            <p:custDataLst>
              <p:tags r:id="rId23"/>
            </p:custDataLst>
          </p:nvPr>
        </p:nvGrpSpPr>
        <p:grpSpPr>
          <a:xfrm>
            <a:off x="9238039" y="2676101"/>
            <a:ext cx="338667" cy="338667"/>
            <a:chOff x="762000" y="1270000"/>
            <a:chExt cx="254000" cy="254000"/>
          </a:xfrm>
        </p:grpSpPr>
        <p:sp>
          <p:nvSpPr>
            <p:cNvPr id="130" name="Oval 129">
              <a:extLst>
                <a:ext uri="{FF2B5EF4-FFF2-40B4-BE49-F238E27FC236}">
                  <a16:creationId xmlns:a16="http://schemas.microsoft.com/office/drawing/2014/main" id="{2F521C81-C266-4DB0-BE64-1EAA72939F5E}"/>
                </a:ext>
              </a:extLst>
            </p:cNvPr>
            <p:cNvSpPr/>
            <p:nvPr>
              <p:custDataLst>
                <p:tags r:id="rId48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err="1">
                <a:solidFill>
                  <a:schemeClr val="tx1"/>
                </a:solidFill>
              </a:endParaRPr>
            </a:p>
          </p:txBody>
        </p:sp>
        <p:sp>
          <p:nvSpPr>
            <p:cNvPr id="131" name="Arc 130">
              <a:extLst>
                <a:ext uri="{FF2B5EF4-FFF2-40B4-BE49-F238E27FC236}">
                  <a16:creationId xmlns:a16="http://schemas.microsoft.com/office/drawing/2014/main" id="{20B63D47-3551-443A-A78D-63E5104F056F}"/>
                </a:ext>
              </a:extLst>
            </p:cNvPr>
            <p:cNvSpPr/>
            <p:nvPr>
              <p:custDataLst>
                <p:tags r:id="rId49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grpSp>
        <p:nvGrpSpPr>
          <p:cNvPr id="132" name="HalfMoon" hidden="1">
            <a:extLst>
              <a:ext uri="{FF2B5EF4-FFF2-40B4-BE49-F238E27FC236}">
                <a16:creationId xmlns:a16="http://schemas.microsoft.com/office/drawing/2014/main" id="{8B23EAA4-94BA-43B1-8E1F-5ABB3CCE20CE}"/>
              </a:ext>
            </a:extLst>
          </p:cNvPr>
          <p:cNvGrpSpPr>
            <a:grpSpLocks noChangeAspect="1"/>
          </p:cNvGrpSpPr>
          <p:nvPr userDrawn="1">
            <p:custDataLst>
              <p:tags r:id="rId24"/>
            </p:custDataLst>
          </p:nvPr>
        </p:nvGrpSpPr>
        <p:grpSpPr>
          <a:xfrm>
            <a:off x="9238039" y="3353435"/>
            <a:ext cx="338667" cy="338667"/>
            <a:chOff x="762000" y="1270000"/>
            <a:chExt cx="254000" cy="254000"/>
          </a:xfrm>
        </p:grpSpPr>
        <p:sp>
          <p:nvSpPr>
            <p:cNvPr id="133" name="Oval 132">
              <a:extLst>
                <a:ext uri="{FF2B5EF4-FFF2-40B4-BE49-F238E27FC236}">
                  <a16:creationId xmlns:a16="http://schemas.microsoft.com/office/drawing/2014/main" id="{ACB251DF-6D7B-44E6-B5E6-01C64D37D48C}"/>
                </a:ext>
              </a:extLst>
            </p:cNvPr>
            <p:cNvSpPr/>
            <p:nvPr>
              <p:custDataLst>
                <p:tags r:id="rId46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err="1">
                <a:solidFill>
                  <a:schemeClr val="tx1"/>
                </a:solidFill>
              </a:endParaRPr>
            </a:p>
          </p:txBody>
        </p:sp>
        <p:sp>
          <p:nvSpPr>
            <p:cNvPr id="134" name="Arc 133">
              <a:extLst>
                <a:ext uri="{FF2B5EF4-FFF2-40B4-BE49-F238E27FC236}">
                  <a16:creationId xmlns:a16="http://schemas.microsoft.com/office/drawing/2014/main" id="{966C4B4C-FB48-40CA-8A75-611BDE29A3EF}"/>
                </a:ext>
              </a:extLst>
            </p:cNvPr>
            <p:cNvSpPr/>
            <p:nvPr>
              <p:custDataLst>
                <p:tags r:id="rId47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grpSp>
        <p:nvGrpSpPr>
          <p:cNvPr id="135" name="3QuaterMoon" hidden="1">
            <a:extLst>
              <a:ext uri="{FF2B5EF4-FFF2-40B4-BE49-F238E27FC236}">
                <a16:creationId xmlns:a16="http://schemas.microsoft.com/office/drawing/2014/main" id="{D5497B87-6FD6-4164-A3EA-2F91B7ADA1EA}"/>
              </a:ext>
            </a:extLst>
          </p:cNvPr>
          <p:cNvGrpSpPr>
            <a:grpSpLocks noChangeAspect="1"/>
          </p:cNvGrpSpPr>
          <p:nvPr userDrawn="1">
            <p:custDataLst>
              <p:tags r:id="rId25"/>
            </p:custDataLst>
          </p:nvPr>
        </p:nvGrpSpPr>
        <p:grpSpPr>
          <a:xfrm>
            <a:off x="9238039" y="4030768"/>
            <a:ext cx="338667" cy="338667"/>
            <a:chOff x="762000" y="1270000"/>
            <a:chExt cx="254000" cy="254000"/>
          </a:xfrm>
        </p:grpSpPr>
        <p:sp>
          <p:nvSpPr>
            <p:cNvPr id="136" name="Oval 135">
              <a:extLst>
                <a:ext uri="{FF2B5EF4-FFF2-40B4-BE49-F238E27FC236}">
                  <a16:creationId xmlns:a16="http://schemas.microsoft.com/office/drawing/2014/main" id="{59580CFD-3614-4378-9AEC-AC8AC501945C}"/>
                </a:ext>
              </a:extLst>
            </p:cNvPr>
            <p:cNvSpPr/>
            <p:nvPr>
              <p:custDataLst>
                <p:tags r:id="rId44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err="1">
                <a:solidFill>
                  <a:schemeClr val="tx1"/>
                </a:solidFill>
              </a:endParaRPr>
            </a:p>
          </p:txBody>
        </p:sp>
        <p:sp>
          <p:nvSpPr>
            <p:cNvPr id="137" name="Arc 136">
              <a:extLst>
                <a:ext uri="{FF2B5EF4-FFF2-40B4-BE49-F238E27FC236}">
                  <a16:creationId xmlns:a16="http://schemas.microsoft.com/office/drawing/2014/main" id="{8BC4B6C0-CF36-4028-AAB2-9E775C94E173}"/>
                </a:ext>
              </a:extLst>
            </p:cNvPr>
            <p:cNvSpPr/>
            <p:nvPr>
              <p:custDataLst>
                <p:tags r:id="rId45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grpSp>
        <p:nvGrpSpPr>
          <p:cNvPr id="138" name="FullMoon" hidden="1">
            <a:extLst>
              <a:ext uri="{FF2B5EF4-FFF2-40B4-BE49-F238E27FC236}">
                <a16:creationId xmlns:a16="http://schemas.microsoft.com/office/drawing/2014/main" id="{E17CBF53-B130-4EA2-9843-5223F1B36B5F}"/>
              </a:ext>
            </a:extLst>
          </p:cNvPr>
          <p:cNvGrpSpPr>
            <a:grpSpLocks noChangeAspect="1"/>
          </p:cNvGrpSpPr>
          <p:nvPr userDrawn="1">
            <p:custDataLst>
              <p:tags r:id="rId26"/>
            </p:custDataLst>
          </p:nvPr>
        </p:nvGrpSpPr>
        <p:grpSpPr>
          <a:xfrm>
            <a:off x="9238039" y="4708101"/>
            <a:ext cx="338667" cy="338667"/>
            <a:chOff x="762000" y="1270000"/>
            <a:chExt cx="254000" cy="254000"/>
          </a:xfrm>
          <a:solidFill>
            <a:schemeClr val="accent1"/>
          </a:solidFill>
        </p:grpSpPr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7C67032C-A42B-481B-8C08-932498D0DE20}"/>
                </a:ext>
              </a:extLst>
            </p:cNvPr>
            <p:cNvSpPr/>
            <p:nvPr>
              <p:custDataLst>
                <p:tags r:id="rId42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grpFill/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err="1">
                <a:solidFill>
                  <a:schemeClr val="tx1"/>
                </a:solidFill>
              </a:endParaRPr>
            </a:p>
          </p:txBody>
        </p:sp>
        <p:sp>
          <p:nvSpPr>
            <p:cNvPr id="140" name="Arc 139">
              <a:extLst>
                <a:ext uri="{FF2B5EF4-FFF2-40B4-BE49-F238E27FC236}">
                  <a16:creationId xmlns:a16="http://schemas.microsoft.com/office/drawing/2014/main" id="{85B2C722-B017-418D-8DF3-3B11095FA026}"/>
                </a:ext>
              </a:extLst>
            </p:cNvPr>
            <p:cNvSpPr/>
            <p:nvPr>
              <p:custDataLst>
                <p:tags r:id="rId43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6200000"/>
              </a:avLst>
            </a:prstGeom>
            <a:grpFill/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grpSp>
        <p:nvGrpSpPr>
          <p:cNvPr id="141" name="LegendMoons" hidden="1">
            <a:extLst>
              <a:ext uri="{FF2B5EF4-FFF2-40B4-BE49-F238E27FC236}">
                <a16:creationId xmlns:a16="http://schemas.microsoft.com/office/drawing/2014/main" id="{2701DF0F-0441-43EF-A918-510ECABD5839}"/>
              </a:ext>
            </a:extLst>
          </p:cNvPr>
          <p:cNvGrpSpPr/>
          <p:nvPr userDrawn="1"/>
        </p:nvGrpSpPr>
        <p:grpSpPr bwMode="auto">
          <a:xfrm>
            <a:off x="10430073" y="1079972"/>
            <a:ext cx="1171360" cy="1742021"/>
            <a:chOff x="6655594" y="273840"/>
            <a:chExt cx="878520" cy="1306516"/>
          </a:xfrm>
        </p:grpSpPr>
        <p:grpSp>
          <p:nvGrpSpPr>
            <p:cNvPr id="142" name="MoonLegend1">
              <a:extLst>
                <a:ext uri="{FF2B5EF4-FFF2-40B4-BE49-F238E27FC236}">
                  <a16:creationId xmlns:a16="http://schemas.microsoft.com/office/drawing/2014/main" id="{E7817C02-608B-4D3E-9B97-58ACD5131065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60" name="Oval 38">
                <a:extLst>
                  <a:ext uri="{FF2B5EF4-FFF2-40B4-BE49-F238E27FC236}">
                    <a16:creationId xmlns:a16="http://schemas.microsoft.com/office/drawing/2014/main" id="{F2559550-D6B7-4F80-8C13-C2E9E31F16A8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  <p:sp>
            <p:nvSpPr>
              <p:cNvPr id="161" name="Arc 39">
                <a:extLst>
                  <a:ext uri="{FF2B5EF4-FFF2-40B4-BE49-F238E27FC236}">
                    <a16:creationId xmlns:a16="http://schemas.microsoft.com/office/drawing/2014/main" id="{1268662D-0014-4C56-A4D6-B25F52590ABC}"/>
                  </a:ext>
                </a:extLst>
              </p:cNvPr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</p:grpSp>
        <p:grpSp>
          <p:nvGrpSpPr>
            <p:cNvPr id="143" name="MoonLegend2">
              <a:extLst>
                <a:ext uri="{FF2B5EF4-FFF2-40B4-BE49-F238E27FC236}">
                  <a16:creationId xmlns:a16="http://schemas.microsoft.com/office/drawing/2014/main" id="{E8FD5AA1-E724-4D21-B4C8-FEB3492C4137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58" name="Oval 41">
                <a:extLst>
                  <a:ext uri="{FF2B5EF4-FFF2-40B4-BE49-F238E27FC236}">
                    <a16:creationId xmlns:a16="http://schemas.microsoft.com/office/drawing/2014/main" id="{F74C975A-DC07-40C6-A86B-81F1CC4CF81F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  <p:sp>
            <p:nvSpPr>
              <p:cNvPr id="159" name="Arc 42">
                <a:extLst>
                  <a:ext uri="{FF2B5EF4-FFF2-40B4-BE49-F238E27FC236}">
                    <a16:creationId xmlns:a16="http://schemas.microsoft.com/office/drawing/2014/main" id="{3A4BC6DC-60A8-47ED-A2A7-B87B71C79F70}"/>
                  </a:ext>
                </a:extLst>
              </p:cNvPr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</p:grpSp>
        <p:grpSp>
          <p:nvGrpSpPr>
            <p:cNvPr id="144" name="MoonLegend4">
              <a:extLst>
                <a:ext uri="{FF2B5EF4-FFF2-40B4-BE49-F238E27FC236}">
                  <a16:creationId xmlns:a16="http://schemas.microsoft.com/office/drawing/2014/main" id="{1E4F16E6-8DCA-4B3C-AA9B-D48E0B6D6246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56" name="Oval 47">
                <a:extLst>
                  <a:ext uri="{FF2B5EF4-FFF2-40B4-BE49-F238E27FC236}">
                    <a16:creationId xmlns:a16="http://schemas.microsoft.com/office/drawing/2014/main" id="{898C5F0A-478E-470C-982F-2E26D747A3E1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  <p:sp>
            <p:nvSpPr>
              <p:cNvPr id="157" name="Arc 48">
                <a:extLst>
                  <a:ext uri="{FF2B5EF4-FFF2-40B4-BE49-F238E27FC236}">
                    <a16:creationId xmlns:a16="http://schemas.microsoft.com/office/drawing/2014/main" id="{7C443F42-6F9B-482C-841F-62BA4655B851}"/>
                  </a:ext>
                </a:extLst>
              </p:cNvPr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</p:grpSp>
        <p:grpSp>
          <p:nvGrpSpPr>
            <p:cNvPr id="145" name="MoonLegend5">
              <a:extLst>
                <a:ext uri="{FF2B5EF4-FFF2-40B4-BE49-F238E27FC236}">
                  <a16:creationId xmlns:a16="http://schemas.microsoft.com/office/drawing/2014/main" id="{8558EC37-F79C-4776-89A8-1D03FC887C68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54" name="Oval 50">
                <a:extLst>
                  <a:ext uri="{FF2B5EF4-FFF2-40B4-BE49-F238E27FC236}">
                    <a16:creationId xmlns:a16="http://schemas.microsoft.com/office/drawing/2014/main" id="{A2F6E53D-5350-44E3-8AA3-52097A5A8D8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  <p:sp>
            <p:nvSpPr>
              <p:cNvPr id="155" name="Oval 51">
                <a:extLst>
                  <a:ext uri="{FF2B5EF4-FFF2-40B4-BE49-F238E27FC236}">
                    <a16:creationId xmlns:a16="http://schemas.microsoft.com/office/drawing/2014/main" id="{92BFE9E3-1B7F-4895-A7F8-1627B98BF2C6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</p:grpSp>
        <p:sp>
          <p:nvSpPr>
            <p:cNvPr id="146" name="Legend1">
              <a:extLst>
                <a:ext uri="{FF2B5EF4-FFF2-40B4-BE49-F238E27FC236}">
                  <a16:creationId xmlns:a16="http://schemas.microsoft.com/office/drawing/2014/main" id="{3D90066E-51CA-4E5E-BCA4-7D66A87AF0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286540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en-US" sz="1600">
                  <a:latin typeface="+mn-lt"/>
                </a:rPr>
                <a:t>Legend</a:t>
              </a:r>
            </a:p>
          </p:txBody>
        </p:sp>
        <p:sp>
          <p:nvSpPr>
            <p:cNvPr id="147" name="Legend2">
              <a:extLst>
                <a:ext uri="{FF2B5EF4-FFF2-40B4-BE49-F238E27FC236}">
                  <a16:creationId xmlns:a16="http://schemas.microsoft.com/office/drawing/2014/main" id="{A582AE82-DCBA-4F99-B2A9-C39B060FD1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561178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en-US" sz="1600">
                  <a:latin typeface="+mn-lt"/>
                </a:rPr>
                <a:t>Legend</a:t>
              </a:r>
            </a:p>
          </p:txBody>
        </p:sp>
        <p:sp>
          <p:nvSpPr>
            <p:cNvPr id="148" name="Legend3">
              <a:extLst>
                <a:ext uri="{FF2B5EF4-FFF2-40B4-BE49-F238E27FC236}">
                  <a16:creationId xmlns:a16="http://schemas.microsoft.com/office/drawing/2014/main" id="{89C26EF8-921C-4691-95F5-5B98009B18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835817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en-US" sz="1600">
                  <a:latin typeface="+mn-lt"/>
                </a:rPr>
                <a:t>Legend</a:t>
              </a:r>
            </a:p>
          </p:txBody>
        </p:sp>
        <p:sp>
          <p:nvSpPr>
            <p:cNvPr id="149" name="Legend4">
              <a:extLst>
                <a:ext uri="{FF2B5EF4-FFF2-40B4-BE49-F238E27FC236}">
                  <a16:creationId xmlns:a16="http://schemas.microsoft.com/office/drawing/2014/main" id="{8D9E11E7-B58F-4F18-9786-EAB4505848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1107280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en-US" sz="1600">
                  <a:latin typeface="+mn-lt"/>
                </a:rPr>
                <a:t>Legend</a:t>
              </a:r>
            </a:p>
          </p:txBody>
        </p:sp>
        <p:sp>
          <p:nvSpPr>
            <p:cNvPr id="150" name="Legend5">
              <a:extLst>
                <a:ext uri="{FF2B5EF4-FFF2-40B4-BE49-F238E27FC236}">
                  <a16:creationId xmlns:a16="http://schemas.microsoft.com/office/drawing/2014/main" id="{64BD0368-1020-4116-B812-82FC1D5267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1383505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en-US" sz="1600">
                  <a:latin typeface="+mn-lt"/>
                </a:rPr>
                <a:t>Legend</a:t>
              </a:r>
            </a:p>
          </p:txBody>
        </p:sp>
        <p:grpSp>
          <p:nvGrpSpPr>
            <p:cNvPr id="151" name="MoonLegend3">
              <a:extLst>
                <a:ext uri="{FF2B5EF4-FFF2-40B4-BE49-F238E27FC236}">
                  <a16:creationId xmlns:a16="http://schemas.microsoft.com/office/drawing/2014/main" id="{77ED8B01-5070-497E-B24B-3D57BB97ECB7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152" name="Oval 47">
                <a:extLst>
                  <a:ext uri="{FF2B5EF4-FFF2-40B4-BE49-F238E27FC236}">
                    <a16:creationId xmlns:a16="http://schemas.microsoft.com/office/drawing/2014/main" id="{3B19EDBE-EA57-4721-9D63-C4EA585254A0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  <p:sp>
            <p:nvSpPr>
              <p:cNvPr id="153" name="Arc 48">
                <a:extLst>
                  <a:ext uri="{FF2B5EF4-FFF2-40B4-BE49-F238E27FC236}">
                    <a16:creationId xmlns:a16="http://schemas.microsoft.com/office/drawing/2014/main" id="{2873AB9A-447F-4EAA-B438-00704BF5D66A}"/>
                  </a:ext>
                </a:extLst>
              </p:cNvPr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077640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</p:sldLayoutIdLst>
  <p:hf sldNum="0" hdr="0"/>
  <p:txStyles>
    <p:titleStyle>
      <a:lvl1pPr algn="l" defTabSz="1218026" rtl="0" eaLnBrk="1" fontAlgn="base" hangingPunct="1">
        <a:spcBef>
          <a:spcPct val="0"/>
        </a:spcBef>
        <a:spcAft>
          <a:spcPct val="0"/>
        </a:spcAft>
        <a:tabLst>
          <a:tab pos="367135" algn="l"/>
        </a:tabLst>
        <a:defRPr lang="x-none" sz="2667" b="1" baseline="0" noProof="0" dirty="0">
          <a:solidFill>
            <a:schemeClr val="accent1"/>
          </a:solidFill>
          <a:latin typeface="+mj-lt"/>
          <a:ea typeface="+mj-ea"/>
          <a:cs typeface="+mj-cs"/>
        </a:defRPr>
      </a:lvl1pPr>
      <a:lvl2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2pPr>
      <a:lvl3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3pPr>
      <a:lvl4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4pPr>
      <a:lvl5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5pPr>
      <a:lvl6pPr marL="62197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6pPr>
      <a:lvl7pPr marL="1243941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7pPr>
      <a:lvl8pPr marL="1865909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8pPr>
      <a:lvl9pPr marL="248788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2133" baseline="0">
          <a:solidFill>
            <a:schemeClr val="tx1"/>
          </a:solidFill>
          <a:latin typeface="+mn-lt"/>
          <a:ea typeface="+mn-ea"/>
          <a:cs typeface="+mn-cs"/>
        </a:defRPr>
      </a:lvl1pPr>
      <a:lvl2pPr marL="258227" indent="-256111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lang="x-none" sz="2133" baseline="0">
          <a:solidFill>
            <a:schemeClr val="tx1"/>
          </a:solidFill>
          <a:latin typeface="+mn-lt"/>
        </a:defRPr>
      </a:lvl2pPr>
      <a:lvl3pPr marL="609585" indent="-35355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lang="x-none" sz="2133" baseline="0">
          <a:solidFill>
            <a:schemeClr val="tx1"/>
          </a:solidFill>
          <a:latin typeface="+mn-lt"/>
        </a:defRPr>
      </a:lvl3pPr>
      <a:lvl4pPr marL="816844" indent="-20725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•"/>
        <a:defRPr lang="x-none" sz="2133" baseline="0">
          <a:solidFill>
            <a:schemeClr val="tx1"/>
          </a:solidFill>
          <a:latin typeface="+mn-lt"/>
        </a:defRPr>
      </a:lvl4pPr>
      <a:lvl5pPr marL="999719" indent="-170684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2133" baseline="0">
          <a:solidFill>
            <a:schemeClr val="tx1"/>
          </a:solidFill>
          <a:latin typeface="+mn-lt"/>
        </a:defRPr>
      </a:lvl5pPr>
      <a:lvl6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6pPr>
      <a:lvl7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7pPr>
      <a:lvl8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8pPr>
      <a:lvl9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1pPr>
      <a:lvl2pPr marL="62197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2pPr>
      <a:lvl3pPr marL="124394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3pPr>
      <a:lvl4pPr marL="1865909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4pPr>
      <a:lvl5pPr marL="248788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5pPr>
      <a:lvl6pPr marL="310985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6pPr>
      <a:lvl7pPr marL="373182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7pPr>
      <a:lvl8pPr marL="435379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8pPr>
      <a:lvl9pPr marL="497576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8A10F16-300D-46A0-986A-864751DAE8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1154120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2913" y="439573"/>
            <a:ext cx="11306175" cy="90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442913" y="1916113"/>
            <a:ext cx="11306175" cy="42608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Text Placeholder 2"/>
          <p:cNvSpPr txBox="1">
            <a:spLocks/>
          </p:cNvSpPr>
          <p:nvPr userDrawn="1"/>
        </p:nvSpPr>
        <p:spPr>
          <a:xfrm>
            <a:off x="81711" y="6000750"/>
            <a:ext cx="580026" cy="727098"/>
          </a:xfrm>
          <a:prstGeom prst="rect">
            <a:avLst/>
          </a:prstGeom>
        </p:spPr>
        <p:txBody>
          <a:bodyPr anchor="b" anchorCtr="0"/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 cap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1588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95882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19588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32948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72125" indent="-239178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fld id="{862C723E-44D7-48F2-857F-170703225D2C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277" y="6237934"/>
            <a:ext cx="1276350" cy="489414"/>
          </a:xfrm>
          <a:prstGeom prst="rect">
            <a:avLst/>
          </a:prstGeom>
        </p:spPr>
      </p:pic>
      <p:pic>
        <p:nvPicPr>
          <p:cNvPr id="10" name="Logo">
            <a:hlinkClick r:id="rId21" action="ppaction://hlinksldjump"/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1419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7" r:id="rId13"/>
    <p:sldLayoutId id="2147483708" r:id="rId14"/>
  </p:sldLayoutIdLst>
  <p:hf hdr="0" ftr="0" dt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40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kern="1200" cap="none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Wingdings" panose="05000000000000000000" pitchFamily="2" charset="2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0" indent="1588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ymbol" panose="05050102010706020507" pitchFamily="18" charset="2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958827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1195887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1432948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1672125" indent="-239178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6501">
          <p15:clr>
            <a:srgbClr val="F26B43"/>
          </p15:clr>
        </p15:guide>
        <p15:guide id="3" pos="279">
          <p15:clr>
            <a:srgbClr val="F26B43"/>
          </p15:clr>
        </p15:guide>
        <p15:guide id="4" orient="horz" pos="1207">
          <p15:clr>
            <a:srgbClr val="F26B43"/>
          </p15:clr>
        </p15:guide>
        <p15:guide id="5" pos="5896">
          <p15:clr>
            <a:srgbClr val="F26B43"/>
          </p15:clr>
        </p15:guide>
        <p15:guide id="6" pos="7401">
          <p15:clr>
            <a:srgbClr val="F26B43"/>
          </p15:clr>
        </p15:guide>
        <p15:guide id="7" orient="horz" pos="3732">
          <p15:clr>
            <a:srgbClr val="F26B43"/>
          </p15:clr>
        </p15:guide>
        <p15:guide id="8" orient="horz" pos="278">
          <p15:clr>
            <a:srgbClr val="F26B43"/>
          </p15:clr>
        </p15:guide>
        <p15:guide id="9" pos="3840">
          <p15:clr>
            <a:srgbClr val="F26B43"/>
          </p15:clr>
        </p15:guide>
        <p15:guide id="10" pos="3976">
          <p15:clr>
            <a:srgbClr val="F26B43"/>
          </p15:clr>
        </p15:guide>
        <p15:guide id="11" pos="3704">
          <p15:clr>
            <a:srgbClr val="F26B43"/>
          </p15:clr>
        </p15:guide>
        <p15:guide id="12" orient="horz" pos="216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DDD4F60-5B24-4D99-8A75-B000B24BE8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8938649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60" imgH="360" progId="">
                  <p:embed/>
                </p:oleObj>
              </mc:Choice>
              <mc:Fallback>
                <p:oleObj name="think-cell Slide" r:id="rId24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2913" y="439573"/>
            <a:ext cx="11306175" cy="90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442913" y="1916113"/>
            <a:ext cx="11306175" cy="42608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>
            <p:custDataLst>
              <p:tags r:id="rId23"/>
            </p:custDataLst>
          </p:nvPr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  <p:pic>
        <p:nvPicPr>
          <p:cNvPr id="54" name="Content Placeholder 7"/>
          <p:cNvPicPr>
            <a:picLocks noChangeAspect="1"/>
          </p:cNvPicPr>
          <p:nvPr userDrawn="1"/>
        </p:nvPicPr>
        <p:blipFill rotWithShape="1">
          <a:blip r:embed="rId2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4717" y="6309007"/>
            <a:ext cx="710464" cy="440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8545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3" r:id="rId6"/>
    <p:sldLayoutId id="2147483734" r:id="rId7"/>
    <p:sldLayoutId id="2147483736" r:id="rId8"/>
    <p:sldLayoutId id="2147483737" r:id="rId9"/>
    <p:sldLayoutId id="2147483738" r:id="rId10"/>
    <p:sldLayoutId id="2147483739" r:id="rId11"/>
    <p:sldLayoutId id="2147483740" r:id="rId12"/>
    <p:sldLayoutId id="2147483741" r:id="rId13"/>
    <p:sldLayoutId id="2147483742" r:id="rId14"/>
    <p:sldLayoutId id="2147483744" r:id="rId15"/>
    <p:sldLayoutId id="2147483745" r:id="rId16"/>
    <p:sldLayoutId id="2147483746" r:id="rId17"/>
    <p:sldLayoutId id="2147483747" r:id="rId18"/>
    <p:sldLayoutId id="2147483688" r:id="rId19"/>
    <p:sldLayoutId id="2147483690" r:id="rId20"/>
  </p:sldLayoutIdLst>
  <p:hf hdr="0" ftr="0" dt="0"/>
  <p:txStyles>
    <p:titleStyle>
      <a:lvl1pPr algn="l" defTabSz="1219170" rtl="0" eaLnBrk="1" latinLnBrk="0" hangingPunct="1">
        <a:lnSpc>
          <a:spcPts val="2667"/>
        </a:lnSpc>
        <a:spcBef>
          <a:spcPct val="0"/>
        </a:spcBef>
        <a:buNone/>
        <a:defRPr sz="1800" kern="1200" cap="all" baseline="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kern="1200" cap="none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Wingdings" panose="05000000000000000000" pitchFamily="2" charset="2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0" indent="1588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ymbol" panose="05050102010706020507" pitchFamily="18" charset="2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958827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1195887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1432948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1672125" indent="-239178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6501">
          <p15:clr>
            <a:srgbClr val="F26B43"/>
          </p15:clr>
        </p15:guide>
        <p15:guide id="3" pos="279">
          <p15:clr>
            <a:srgbClr val="F26B43"/>
          </p15:clr>
        </p15:guide>
        <p15:guide id="4" orient="horz" pos="1207">
          <p15:clr>
            <a:srgbClr val="F26B43"/>
          </p15:clr>
        </p15:guide>
        <p15:guide id="5" pos="5896">
          <p15:clr>
            <a:srgbClr val="F26B43"/>
          </p15:clr>
        </p15:guide>
        <p15:guide id="6" pos="7401">
          <p15:clr>
            <a:srgbClr val="F26B43"/>
          </p15:clr>
        </p15:guide>
        <p15:guide id="7" orient="horz" pos="3732">
          <p15:clr>
            <a:srgbClr val="F26B43"/>
          </p15:clr>
        </p15:guide>
        <p15:guide id="8" orient="horz" pos="278">
          <p15:clr>
            <a:srgbClr val="F26B43"/>
          </p15:clr>
        </p15:guide>
        <p15:guide id="9" pos="3840">
          <p15:clr>
            <a:srgbClr val="F26B43"/>
          </p15:clr>
        </p15:guide>
        <p15:guide id="10" pos="3976">
          <p15:clr>
            <a:srgbClr val="F26B43"/>
          </p15:clr>
        </p15:guide>
        <p15:guide id="11" pos="3704">
          <p15:clr>
            <a:srgbClr val="F26B43"/>
          </p15:clr>
        </p15:guide>
        <p15:guide id="12" orient="horz" pos="216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B8C958D-9BFD-424C-8E6C-F4984EB41B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5328426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2913" y="439573"/>
            <a:ext cx="11306175" cy="480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442913" y="1916113"/>
            <a:ext cx="11306175" cy="42608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  <p:pic>
        <p:nvPicPr>
          <p:cNvPr id="31" name="Content Placeholder 7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4717" y="6309007"/>
            <a:ext cx="710464" cy="440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38877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</p:sldLayoutIdLst>
  <p:hf hdr="0" ftr="0" dt="0"/>
  <p:txStyles>
    <p:titleStyle>
      <a:lvl1pPr algn="l" defTabSz="1219170" rtl="0" eaLnBrk="1" latinLnBrk="0" hangingPunct="1">
        <a:lnSpc>
          <a:spcPts val="2667"/>
        </a:lnSpc>
        <a:spcBef>
          <a:spcPct val="0"/>
        </a:spcBef>
        <a:buNone/>
        <a:defRPr sz="1800" kern="1200" cap="all" baseline="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kern="1200" cap="none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Wingdings" panose="05000000000000000000" pitchFamily="2" charset="2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0" indent="1588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ymbol" panose="05050102010706020507" pitchFamily="18" charset="2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958827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1195887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1432948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1672125" indent="-239178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501">
          <p15:clr>
            <a:srgbClr val="F26B43"/>
          </p15:clr>
        </p15:guide>
        <p15:guide id="2" pos="279">
          <p15:clr>
            <a:srgbClr val="F26B43"/>
          </p15:clr>
        </p15:guide>
        <p15:guide id="3" orient="horz" pos="1207">
          <p15:clr>
            <a:srgbClr val="F26B43"/>
          </p15:clr>
        </p15:guide>
        <p15:guide id="4" pos="5896">
          <p15:clr>
            <a:srgbClr val="F26B43"/>
          </p15:clr>
        </p15:guide>
        <p15:guide id="5" pos="7401">
          <p15:clr>
            <a:srgbClr val="F26B43"/>
          </p15:clr>
        </p15:guide>
        <p15:guide id="6" orient="horz" pos="3732">
          <p15:clr>
            <a:srgbClr val="F26B43"/>
          </p15:clr>
        </p15:guide>
        <p15:guide id="7" orient="horz" pos="278">
          <p15:clr>
            <a:srgbClr val="F26B43"/>
          </p15:clr>
        </p15:guide>
        <p15:guide id="8" pos="3840">
          <p15:clr>
            <a:srgbClr val="F26B43"/>
          </p15:clr>
        </p15:guide>
        <p15:guide id="9" pos="3976">
          <p15:clr>
            <a:srgbClr val="F26B43"/>
          </p15:clr>
        </p15:guide>
        <p15:guide id="10" pos="3704">
          <p15:clr>
            <a:srgbClr val="F26B43"/>
          </p15:clr>
        </p15:guide>
        <p15:guide id="11" orient="horz" pos="216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58E0C1E-1B0B-424A-B850-5976923C9B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2484805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2913" y="439573"/>
            <a:ext cx="11306175" cy="90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442913" y="1916113"/>
            <a:ext cx="11306175" cy="42608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Text Placeholder 2"/>
          <p:cNvSpPr txBox="1">
            <a:spLocks/>
          </p:cNvSpPr>
          <p:nvPr userDrawn="1"/>
        </p:nvSpPr>
        <p:spPr>
          <a:xfrm>
            <a:off x="81711" y="6000750"/>
            <a:ext cx="580026" cy="727098"/>
          </a:xfrm>
          <a:prstGeom prst="rect">
            <a:avLst/>
          </a:prstGeom>
        </p:spPr>
        <p:txBody>
          <a:bodyPr anchor="b" anchorCtr="0"/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 cap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1588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95882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19588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32948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72125" indent="-239178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fld id="{862C723E-44D7-48F2-857F-170703225D2C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277" y="6237934"/>
            <a:ext cx="1276350" cy="489414"/>
          </a:xfrm>
          <a:prstGeom prst="rect">
            <a:avLst/>
          </a:prstGeom>
        </p:spPr>
      </p:pic>
      <p:pic>
        <p:nvPicPr>
          <p:cNvPr id="10" name="Logo">
            <a:hlinkClick r:id="rId20" action="ppaction://hlinksldjump"/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78027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  <p:sldLayoutId id="2147483757" r:id="rId5"/>
    <p:sldLayoutId id="2147483758" r:id="rId6"/>
    <p:sldLayoutId id="2147483759" r:id="rId7"/>
    <p:sldLayoutId id="2147483760" r:id="rId8"/>
    <p:sldLayoutId id="2147483761" r:id="rId9"/>
    <p:sldLayoutId id="2147483762" r:id="rId10"/>
    <p:sldLayoutId id="2147483763" r:id="rId11"/>
    <p:sldLayoutId id="2147483764" r:id="rId12"/>
    <p:sldLayoutId id="2147483766" r:id="rId13"/>
  </p:sldLayoutIdLst>
  <p:hf hdr="0" ftr="0" dt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40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kern="1200" cap="none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Wingdings" panose="05000000000000000000" pitchFamily="2" charset="2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0" indent="1588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ymbol" panose="05050102010706020507" pitchFamily="18" charset="2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958827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1195887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1432948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1672125" indent="-239178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6501">
          <p15:clr>
            <a:srgbClr val="F26B43"/>
          </p15:clr>
        </p15:guide>
        <p15:guide id="3" pos="279">
          <p15:clr>
            <a:srgbClr val="F26B43"/>
          </p15:clr>
        </p15:guide>
        <p15:guide id="4" orient="horz" pos="1207">
          <p15:clr>
            <a:srgbClr val="F26B43"/>
          </p15:clr>
        </p15:guide>
        <p15:guide id="5" pos="5896">
          <p15:clr>
            <a:srgbClr val="F26B43"/>
          </p15:clr>
        </p15:guide>
        <p15:guide id="6" pos="7401">
          <p15:clr>
            <a:srgbClr val="F26B43"/>
          </p15:clr>
        </p15:guide>
        <p15:guide id="7" orient="horz" pos="3732">
          <p15:clr>
            <a:srgbClr val="F26B43"/>
          </p15:clr>
        </p15:guide>
        <p15:guide id="8" orient="horz" pos="278">
          <p15:clr>
            <a:srgbClr val="F26B43"/>
          </p15:clr>
        </p15:guide>
        <p15:guide id="9" pos="3840">
          <p15:clr>
            <a:srgbClr val="F26B43"/>
          </p15:clr>
        </p15:guide>
        <p15:guide id="10" pos="3976">
          <p15:clr>
            <a:srgbClr val="F26B43"/>
          </p15:clr>
        </p15:guide>
        <p15:guide id="11" pos="3704">
          <p15:clr>
            <a:srgbClr val="F26B43"/>
          </p15:clr>
        </p15:guide>
        <p15:guide id="12" orient="horz" pos="216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3860F85-47E9-4B23-BE15-2605382762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111732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3860F85-47E9-4B23-BE15-26053827621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2858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2800" b="1" i="0" kern="1200">
          <a:solidFill>
            <a:srgbClr val="D9003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636">
          <p15:clr>
            <a:srgbClr val="F26B43"/>
          </p15:clr>
        </p15:guide>
        <p15:guide id="2" pos="427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4EEC269-DDA3-41F2-B678-415AC20B54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756837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395" imgH="394" progId="TCLayout.ActiveDocument.1">
                  <p:embed/>
                </p:oleObj>
              </mc:Choice>
              <mc:Fallback>
                <p:oleObj name="think-cell Slide" r:id="rId22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4EEC269-DDA3-41F2-B678-415AC20B54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64000" y="696000"/>
            <a:ext cx="10297336" cy="480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rtl="0"/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4000" y="1892299"/>
            <a:ext cx="9456469" cy="40333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 rtl="0"/>
            <a:r>
              <a:rPr lang="ru"/>
              <a:t>Click to edit Master text styles</a:t>
            </a:r>
          </a:p>
          <a:p>
            <a:pPr lvl="1" rtl="0"/>
            <a:r>
              <a:rPr lang="ru"/>
              <a:t>Second level</a:t>
            </a:r>
          </a:p>
          <a:p>
            <a:pPr lvl="2" rtl="0"/>
            <a:r>
              <a:rPr lang="ru"/>
              <a:t>Third level</a:t>
            </a:r>
          </a:p>
          <a:p>
            <a:pPr lvl="3" rtl="0"/>
            <a:r>
              <a:rPr lang="ru"/>
              <a:t>Fourth level</a:t>
            </a:r>
          </a:p>
          <a:p>
            <a:pPr lvl="4" rtl="0"/>
            <a:r>
              <a:rPr lang="ru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0" y="6191309"/>
            <a:ext cx="12192000" cy="0"/>
          </a:xfrm>
          <a:prstGeom prst="line">
            <a:avLst/>
          </a:prstGeom>
          <a:ln w="12700">
            <a:solidFill>
              <a:srgbClr val="E5004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444CF674-C301-472B-A7DB-10880CBA01AA}"/>
              </a:ext>
            </a:extLst>
          </p:cNvPr>
          <p:cNvPicPr>
            <a:picLocks noChangeAspect="1"/>
          </p:cNvPicPr>
          <p:nvPr userDrawn="1"/>
        </p:nvPicPr>
        <p:blipFill>
          <a:blip r:embed="rId24"/>
          <a:stretch>
            <a:fillRect/>
          </a:stretch>
        </p:blipFill>
        <p:spPr>
          <a:xfrm>
            <a:off x="9640200" y="6238408"/>
            <a:ext cx="2091109" cy="621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3226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75" r:id="rId2"/>
    <p:sldLayoutId id="2147483776" r:id="rId3"/>
    <p:sldLayoutId id="2147483777" r:id="rId4"/>
    <p:sldLayoutId id="2147483778" r:id="rId5"/>
    <p:sldLayoutId id="2147483779" r:id="rId6"/>
    <p:sldLayoutId id="2147483780" r:id="rId7"/>
    <p:sldLayoutId id="2147483781" r:id="rId8"/>
    <p:sldLayoutId id="2147483782" r:id="rId9"/>
    <p:sldLayoutId id="2147483783" r:id="rId10"/>
    <p:sldLayoutId id="2147483784" r:id="rId11"/>
    <p:sldLayoutId id="2147483785" r:id="rId12"/>
    <p:sldLayoutId id="2147483786" r:id="rId13"/>
    <p:sldLayoutId id="2147483787" r:id="rId14"/>
    <p:sldLayoutId id="2147483788" r:id="rId15"/>
    <p:sldLayoutId id="2147483789" r:id="rId16"/>
    <p:sldLayoutId id="2147483790" r:id="rId17"/>
    <p:sldLayoutId id="2147483791" r:id="rId18"/>
    <p:sldLayoutId id="2147483792" r:id="rId19"/>
  </p:sldLayoutIdLst>
  <p:hf hdr="0" dt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320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67" kern="1200" cap="all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0"/>
        </a:spcBef>
        <a:spcAft>
          <a:spcPts val="1067"/>
        </a:spcAft>
        <a:buFont typeface="Wingdings" panose="05000000000000000000" pitchFamily="2" charset="2"/>
        <a:buNone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241294" indent="-241294" algn="l" defTabSz="1219170" rtl="0" eaLnBrk="1" latinLnBrk="0" hangingPunct="1">
        <a:lnSpc>
          <a:spcPct val="100000"/>
        </a:lnSpc>
        <a:spcBef>
          <a:spcPts val="0"/>
        </a:spcBef>
        <a:spcAft>
          <a:spcPts val="1067"/>
        </a:spcAft>
        <a:buFont typeface="Wingdings" panose="05000000000000000000" pitchFamily="2" charset="2"/>
        <a:buChar char="§"/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479988" indent="-241294" algn="l" defTabSz="1219170" rtl="0" eaLnBrk="1" latinLnBrk="0" hangingPunct="1">
        <a:lnSpc>
          <a:spcPct val="100000"/>
        </a:lnSpc>
        <a:spcBef>
          <a:spcPts val="0"/>
        </a:spcBef>
        <a:spcAft>
          <a:spcPts val="1067"/>
        </a:spcAft>
        <a:buFont typeface="Symbol" panose="05050102010706020507" pitchFamily="18" charset="2"/>
        <a:buChar char="-"/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719982" indent="-241294" algn="l" defTabSz="1219170" rtl="0" eaLnBrk="1" latinLnBrk="0" hangingPunct="1">
        <a:lnSpc>
          <a:spcPct val="100000"/>
        </a:lnSpc>
        <a:spcBef>
          <a:spcPts val="0"/>
        </a:spcBef>
        <a:spcAft>
          <a:spcPts val="1067"/>
        </a:spcAft>
        <a:buFont typeface="Arial" panose="020B0604020202020204" pitchFamily="34" charset="0"/>
        <a:buChar char="&gt;"/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958827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1195887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1432948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1672125" indent="-239178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4876">
          <p15:clr>
            <a:srgbClr val="F26B43"/>
          </p15:clr>
        </p15:guide>
        <p15:guide id="3" pos="407">
          <p15:clr>
            <a:srgbClr val="F26B43"/>
          </p15:clr>
        </p15:guide>
        <p15:guide id="4" orient="horz" pos="894">
          <p15:clr>
            <a:srgbClr val="F26B43"/>
          </p15:clr>
        </p15:guide>
        <p15:guide id="5" pos="4422">
          <p15:clr>
            <a:srgbClr val="F26B43"/>
          </p15:clr>
        </p15:guide>
        <p15:guide id="6" pos="5353">
          <p15:clr>
            <a:srgbClr val="F26B43"/>
          </p15:clr>
        </p15:guide>
        <p15:guide id="7" orient="horz" pos="2799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4EEC269-DDA3-41F2-B678-415AC20B54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251690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395" imgH="394" progId="TCLayout.ActiveDocument.1">
                  <p:embed/>
                </p:oleObj>
              </mc:Choice>
              <mc:Fallback>
                <p:oleObj name="think-cell Slide" r:id="rId2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4EEC269-DDA3-41F2-B678-415AC20B54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64000" y="696000"/>
            <a:ext cx="10297336" cy="480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rtl="0"/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4000" y="1892299"/>
            <a:ext cx="9456469" cy="40333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 rtl="0"/>
            <a:r>
              <a:rPr lang="ru"/>
              <a:t>Click to edit Master text styles</a:t>
            </a:r>
          </a:p>
          <a:p>
            <a:pPr lvl="1" rtl="0"/>
            <a:r>
              <a:rPr lang="ru"/>
              <a:t>Second level</a:t>
            </a:r>
          </a:p>
          <a:p>
            <a:pPr lvl="2" rtl="0"/>
            <a:r>
              <a:rPr lang="ru"/>
              <a:t>Third level</a:t>
            </a:r>
          </a:p>
          <a:p>
            <a:pPr lvl="3" rtl="0"/>
            <a:r>
              <a:rPr lang="ru"/>
              <a:t>Fourth level</a:t>
            </a:r>
          </a:p>
          <a:p>
            <a:pPr lvl="4" rtl="0"/>
            <a:r>
              <a:rPr lang="ru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0" y="6191309"/>
            <a:ext cx="12192000" cy="0"/>
          </a:xfrm>
          <a:prstGeom prst="line">
            <a:avLst/>
          </a:prstGeom>
          <a:ln w="12700">
            <a:solidFill>
              <a:srgbClr val="E5004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444CF674-C301-472B-A7DB-10880CBA01AA}"/>
              </a:ext>
            </a:extLst>
          </p:cNvPr>
          <p:cNvPicPr>
            <a:picLocks noChangeAspect="1"/>
          </p:cNvPicPr>
          <p:nvPr userDrawn="1"/>
        </p:nvPicPr>
        <p:blipFill>
          <a:blip r:embed="rId25"/>
          <a:stretch>
            <a:fillRect/>
          </a:stretch>
        </p:blipFill>
        <p:spPr>
          <a:xfrm>
            <a:off x="9640200" y="6238408"/>
            <a:ext cx="2091109" cy="621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42219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  <p:sldLayoutId id="2147483799" r:id="rId6"/>
    <p:sldLayoutId id="2147483800" r:id="rId7"/>
    <p:sldLayoutId id="2147483801" r:id="rId8"/>
    <p:sldLayoutId id="2147483802" r:id="rId9"/>
    <p:sldLayoutId id="2147483803" r:id="rId10"/>
    <p:sldLayoutId id="2147483804" r:id="rId11"/>
    <p:sldLayoutId id="2147483805" r:id="rId12"/>
    <p:sldLayoutId id="2147483806" r:id="rId13"/>
    <p:sldLayoutId id="2147483807" r:id="rId14"/>
    <p:sldLayoutId id="2147483808" r:id="rId15"/>
    <p:sldLayoutId id="2147483809" r:id="rId16"/>
    <p:sldLayoutId id="2147483810" r:id="rId17"/>
    <p:sldLayoutId id="2147483811" r:id="rId18"/>
    <p:sldLayoutId id="2147483812" r:id="rId19"/>
    <p:sldLayoutId id="2147483813" r:id="rId20"/>
  </p:sldLayoutIdLst>
  <p:hf hdr="0" dt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320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67" kern="1200" cap="all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0"/>
        </a:spcBef>
        <a:spcAft>
          <a:spcPts val="1067"/>
        </a:spcAft>
        <a:buFont typeface="Wingdings" panose="05000000000000000000" pitchFamily="2" charset="2"/>
        <a:buNone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241294" indent="-241294" algn="l" defTabSz="1219170" rtl="0" eaLnBrk="1" latinLnBrk="0" hangingPunct="1">
        <a:lnSpc>
          <a:spcPct val="100000"/>
        </a:lnSpc>
        <a:spcBef>
          <a:spcPts val="0"/>
        </a:spcBef>
        <a:spcAft>
          <a:spcPts val="1067"/>
        </a:spcAft>
        <a:buFont typeface="Wingdings" panose="05000000000000000000" pitchFamily="2" charset="2"/>
        <a:buChar char="§"/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479988" indent="-241294" algn="l" defTabSz="1219170" rtl="0" eaLnBrk="1" latinLnBrk="0" hangingPunct="1">
        <a:lnSpc>
          <a:spcPct val="100000"/>
        </a:lnSpc>
        <a:spcBef>
          <a:spcPts val="0"/>
        </a:spcBef>
        <a:spcAft>
          <a:spcPts val="1067"/>
        </a:spcAft>
        <a:buFont typeface="Symbol" panose="05050102010706020507" pitchFamily="18" charset="2"/>
        <a:buChar char="-"/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719982" indent="-241294" algn="l" defTabSz="1219170" rtl="0" eaLnBrk="1" latinLnBrk="0" hangingPunct="1">
        <a:lnSpc>
          <a:spcPct val="100000"/>
        </a:lnSpc>
        <a:spcBef>
          <a:spcPts val="0"/>
        </a:spcBef>
        <a:spcAft>
          <a:spcPts val="1067"/>
        </a:spcAft>
        <a:buFont typeface="Arial" panose="020B0604020202020204" pitchFamily="34" charset="0"/>
        <a:buChar char="&gt;"/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958827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1195887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1432948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1672125" indent="-239178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4876">
          <p15:clr>
            <a:srgbClr val="F26B43"/>
          </p15:clr>
        </p15:guide>
        <p15:guide id="3" pos="407">
          <p15:clr>
            <a:srgbClr val="F26B43"/>
          </p15:clr>
        </p15:guide>
        <p15:guide id="4" orient="horz" pos="894">
          <p15:clr>
            <a:srgbClr val="F26B43"/>
          </p15:clr>
        </p15:guide>
        <p15:guide id="5" pos="4422">
          <p15:clr>
            <a:srgbClr val="F26B43"/>
          </p15:clr>
        </p15:guide>
        <p15:guide id="6" pos="5353">
          <p15:clr>
            <a:srgbClr val="F26B43"/>
          </p15:clr>
        </p15:guide>
        <p15:guide id="7" orient="horz" pos="279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8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svg"/><Relationship Id="rId9" Type="http://schemas.openxmlformats.org/officeDocument/2006/relationships/image" Target="../media/image30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5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A83365A5-B850-4452-81AF-322F3D3541D9}"/>
              </a:ext>
            </a:extLst>
          </p:cNvPr>
          <p:cNvSpPr txBox="1"/>
          <p:nvPr/>
        </p:nvSpPr>
        <p:spPr>
          <a:xfrm>
            <a:off x="675746" y="1774589"/>
            <a:ext cx="10563753" cy="221552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 lvl="0">
              <a:spcBef>
                <a:spcPts val="2800"/>
              </a:spcBef>
              <a:buFont typeface="+mj-lt"/>
              <a:defRPr/>
            </a:pPr>
            <a:r>
              <a:rPr lang="ru-RU" sz="4000" b="1" i="1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Миф о стабильности пациента с легочн</a:t>
            </a:r>
            <a:r>
              <a:rPr lang="ru-RU" sz="4000" b="1" i="1" dirty="0">
                <a:latin typeface="Times New Roman" panose="02020603050405020304" pitchFamily="18" charset="0"/>
                <a:ea typeface="Calibri" panose="020F0502020204030204" pitchFamily="34" charset="0"/>
              </a:rPr>
              <a:t>ой</a:t>
            </a:r>
            <a:r>
              <a:rPr lang="ru-RU" sz="4000" b="1" i="1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 артериальной гипертензией (ЛАГ)</a:t>
            </a:r>
            <a:endParaRPr lang="ru-RU" sz="4000" b="1" i="1" dirty="0">
              <a:solidFill>
                <a:prstClr val="black"/>
              </a:solidFill>
              <a:latin typeface="Museo Sans Cyrl 100" panose="02000000000000000000" pitchFamily="2" charset="-52"/>
              <a:cs typeface="Times New Roman" panose="02020603050405020304" pitchFamily="18" charset="0"/>
            </a:endParaRPr>
          </a:p>
        </p:txBody>
      </p:sp>
      <p:cxnSp>
        <p:nvCxnSpPr>
          <p:cNvPr id="9" name="Straight Connector 14">
            <a:extLst>
              <a:ext uri="{FF2B5EF4-FFF2-40B4-BE49-F238E27FC236}">
                <a16:creationId xmlns:a16="http://schemas.microsoft.com/office/drawing/2014/main" id="{6C319C23-023C-4D6F-9844-F145B4B6B090}"/>
              </a:ext>
            </a:extLst>
          </p:cNvPr>
          <p:cNvCxnSpPr/>
          <p:nvPr/>
        </p:nvCxnSpPr>
        <p:spPr>
          <a:xfrm>
            <a:off x="1242060" y="3797309"/>
            <a:ext cx="4853940" cy="0"/>
          </a:xfrm>
          <a:prstGeom prst="line">
            <a:avLst/>
          </a:prstGeom>
          <a:ln w="79375" cap="sq">
            <a:solidFill>
              <a:srgbClr val="CC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6D2FDC8F-207C-4838-947D-EBE91E1FD830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1828959" cy="1371719"/>
          </a:xfrm>
          <a:prstGeom prst="rect">
            <a:avLst/>
          </a:prstGeom>
        </p:spPr>
      </p:pic>
      <p:sp>
        <p:nvSpPr>
          <p:cNvPr id="11" name="Rectangle 5">
            <a:extLst>
              <a:ext uri="{FF2B5EF4-FFF2-40B4-BE49-F238E27FC236}">
                <a16:creationId xmlns:a16="http://schemas.microsoft.com/office/drawing/2014/main" id="{458CA120-A310-47EE-A86D-4E79707B8D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63104" y="32450"/>
            <a:ext cx="759260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200"/>
              </a:spcBef>
              <a:buClr>
                <a:srgbClr val="9E3611"/>
              </a:buClr>
              <a:buSzPct val="8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Cambria" panose="02040503050406030204" pitchFamily="18" charset="0"/>
              </a:defRPr>
            </a:lvl1pPr>
            <a:lvl2pPr indent="-182563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9E3611"/>
              </a:buClr>
              <a:buSzPct val="8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Cambria" panose="02040503050406030204" pitchFamily="18" charset="0"/>
              </a:defRPr>
            </a:lvl2pPr>
            <a:lvl3pPr marL="730250" indent="-182563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9E3611"/>
              </a:buClr>
              <a:buSzPct val="8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Cambria" panose="02040503050406030204" pitchFamily="18" charset="0"/>
              </a:defRPr>
            </a:lvl3pPr>
            <a:lvl4pPr marL="1004888" indent="-182563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9E3611"/>
              </a:buClr>
              <a:buSzPct val="8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Cambria" panose="02040503050406030204" pitchFamily="18" charset="0"/>
              </a:defRPr>
            </a:lvl4pPr>
            <a:lvl5pPr marL="1279525" indent="-182563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9E3611"/>
              </a:buClr>
              <a:buSzPct val="8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Cambria" panose="02040503050406030204" pitchFamily="18" charset="0"/>
              </a:defRPr>
            </a:lvl5pPr>
            <a:lvl6pPr marL="1736725" indent="-182563" eaLnBrk="0" fontAlgn="base" hangingPunc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9E3611"/>
              </a:buClr>
              <a:buSzPct val="8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Cambria" panose="02040503050406030204" pitchFamily="18" charset="0"/>
              </a:defRPr>
            </a:lvl6pPr>
            <a:lvl7pPr marL="2193925" indent="-182563" eaLnBrk="0" fontAlgn="base" hangingPunc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9E3611"/>
              </a:buClr>
              <a:buSzPct val="8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Cambria" panose="02040503050406030204" pitchFamily="18" charset="0"/>
              </a:defRPr>
            </a:lvl7pPr>
            <a:lvl8pPr marL="2651125" indent="-182563" eaLnBrk="0" fontAlgn="base" hangingPunc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9E3611"/>
              </a:buClr>
              <a:buSzPct val="8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Cambria" panose="02040503050406030204" pitchFamily="18" charset="0"/>
              </a:defRPr>
            </a:lvl8pPr>
            <a:lvl9pPr marL="3108325" indent="-182563" eaLnBrk="0" fontAlgn="base" hangingPunc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9E3611"/>
              </a:buClr>
              <a:buSzPct val="8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Cambria" panose="02040503050406030204" pitchFamily="18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Филиал ООО «Джонсон </a:t>
            </a:r>
            <a:r>
              <a:rPr kumimoji="0" lang="en-US" alt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&amp;</a:t>
            </a:r>
            <a:r>
              <a:rPr kumimoji="0" lang="ru-RU" alt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 Джонсон» в Республике Казахстан</a:t>
            </a:r>
            <a:endParaRPr kumimoji="0" lang="ru-RU" altLang="ru-RU" sz="18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mbria" panose="02040503050406030204" pitchFamily="18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BA203D-1708-44C6-8E61-0D30B9C9C9EC}"/>
              </a:ext>
            </a:extLst>
          </p:cNvPr>
          <p:cNvSpPr/>
          <p:nvPr/>
        </p:nvSpPr>
        <p:spPr>
          <a:xfrm>
            <a:off x="158269" y="6012775"/>
            <a:ext cx="218361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solidFill>
                  <a:srgbClr val="555555"/>
                </a:solidFill>
                <a:latin typeface="Arial" panose="020B0604020202020204" pitchFamily="34" charset="0"/>
              </a:rPr>
              <a:t>Job code: </a:t>
            </a:r>
            <a:r>
              <a:rPr lang="en-US" sz="18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P-242217</a:t>
            </a:r>
            <a:endParaRPr lang="ru-RU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" name="Заголовок 13"/>
          <p:cNvSpPr txBox="1">
            <a:spLocks/>
          </p:cNvSpPr>
          <p:nvPr/>
        </p:nvSpPr>
        <p:spPr>
          <a:xfrm>
            <a:off x="152554" y="6259259"/>
            <a:ext cx="2812473" cy="598741"/>
          </a:xfrm>
          <a:prstGeom prst="rect">
            <a:avLst/>
          </a:prstGeom>
          <a:noFill/>
        </p:spPr>
        <p:txBody>
          <a:bodyPr vert="horz" lIns="0" rIns="0" bIns="0" anchor="b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chemeClr val="tx2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Date of preparation: August 2021</a:t>
            </a:r>
            <a:r>
              <a:rPr lang="ru-RU" sz="1600" dirty="0">
                <a:solidFill>
                  <a:schemeClr val="tx2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 </a:t>
            </a:r>
            <a:endParaRPr kumimoji="0" lang="ru-RU" sz="160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ADDE756-AD49-4FB8-BEF0-207E0EB4AB3C}"/>
              </a:ext>
            </a:extLst>
          </p:cNvPr>
          <p:cNvSpPr txBox="1"/>
          <p:nvPr/>
        </p:nvSpPr>
        <p:spPr>
          <a:xfrm>
            <a:off x="2970742" y="6104844"/>
            <a:ext cx="6206836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dirty="0"/>
              <a:t>Материал предназначен для медицинских и фармацевтических работников. Материал разработан медицинским отделом Филиала ООО «</a:t>
            </a:r>
            <a:r>
              <a:rPr lang="ru-RU" sz="1400" dirty="0" err="1"/>
              <a:t>Johnson&amp;Johnson</a:t>
            </a:r>
            <a:r>
              <a:rPr lang="ru-RU" sz="1400" dirty="0"/>
              <a:t>» в Республике Казахстан </a:t>
            </a:r>
          </a:p>
        </p:txBody>
      </p:sp>
    </p:spTree>
    <p:extLst>
      <p:ext uri="{BB962C8B-B14F-4D97-AF65-F5344CB8AC3E}">
        <p14:creationId xmlns:p14="http://schemas.microsoft.com/office/powerpoint/2010/main" val="14245404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72184CA1-DF7E-4872-890B-773BD1F7B4B5}"/>
              </a:ext>
            </a:extLst>
          </p:cNvPr>
          <p:cNvSpPr txBox="1">
            <a:spLocks/>
          </p:cNvSpPr>
          <p:nvPr/>
        </p:nvSpPr>
        <p:spPr>
          <a:xfrm>
            <a:off x="532189" y="1016477"/>
            <a:ext cx="10972800" cy="114300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«Стабильного» пациента с ЛАГ не существует…</a:t>
            </a:r>
          </a:p>
        </p:txBody>
      </p:sp>
      <p:graphicFrame>
        <p:nvGraphicFramePr>
          <p:cNvPr id="3" name="Content Placeholder 4">
            <a:extLst>
              <a:ext uri="{FF2B5EF4-FFF2-40B4-BE49-F238E27FC236}">
                <a16:creationId xmlns:a16="http://schemas.microsoft.com/office/drawing/2014/main" id="{10249813-7B68-4E9D-88A7-63188D262E23}"/>
              </a:ext>
            </a:extLst>
          </p:cNvPr>
          <p:cNvGraphicFramePr>
            <a:graphicFrameLocks/>
          </p:cNvGraphicFramePr>
          <p:nvPr/>
        </p:nvGraphicFramePr>
        <p:xfrm>
          <a:off x="532189" y="1587977"/>
          <a:ext cx="109728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562D5955-C417-4C02-9462-C7E2E0A1DDA7}"/>
              </a:ext>
            </a:extLst>
          </p:cNvPr>
          <p:cNvSpPr txBox="1">
            <a:spLocks/>
          </p:cNvSpPr>
          <p:nvPr/>
        </p:nvSpPr>
        <p:spPr>
          <a:xfrm>
            <a:off x="171570" y="6527540"/>
            <a:ext cx="8034248" cy="258532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 i="0" kern="1200">
                <a:solidFill>
                  <a:srgbClr val="D9003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.  </a:t>
            </a:r>
            <a:r>
              <a:rPr kumimoji="0" lang="ru-RU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aliè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N, </a:t>
            </a:r>
            <a:r>
              <a:rPr kumimoji="0" lang="ru-RU" sz="9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t</a:t>
            </a:r>
            <a:r>
              <a:rPr kumimoji="0" lang="ru-RU" sz="9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9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l</a:t>
            </a:r>
            <a:r>
              <a:rPr kumimoji="0" lang="ru-RU" sz="9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kumimoji="0" lang="ru-RU" sz="9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ur</a:t>
            </a:r>
            <a:r>
              <a:rPr kumimoji="0" lang="ru-RU" sz="9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9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eart</a:t>
            </a:r>
            <a:r>
              <a:rPr kumimoji="0" lang="ru-RU" sz="9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J 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016; 37:67-119. 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77DCF510-BACE-448F-89C5-1D64531ACADC}"/>
              </a:ext>
            </a:extLst>
          </p:cNvPr>
          <p:cNvSpPr txBox="1">
            <a:spLocks/>
          </p:cNvSpPr>
          <p:nvPr/>
        </p:nvSpPr>
        <p:spPr>
          <a:xfrm>
            <a:off x="532189" y="2888599"/>
            <a:ext cx="11127622" cy="316835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«Стабильное» состояние характеризует прошедшее время, тогда как оценка риска позволяет заглянуть в будущее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«Стабильные» клинические показатели могут наблюдаться даже у пациентов с ухудшением функции ПЖ</a:t>
            </a:r>
            <a:endParaRPr kumimoji="0" lang="ru-RU" sz="2000" b="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Своевременное терапевтическое вмешательство может повлиять на прогрессирование ЛАГ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и отсутствии оценки риска оптимальные терапевтические решения могут быть упущены</a:t>
            </a:r>
          </a:p>
        </p:txBody>
      </p:sp>
    </p:spTree>
    <p:extLst>
      <p:ext uri="{BB962C8B-B14F-4D97-AF65-F5344CB8AC3E}">
        <p14:creationId xmlns:p14="http://schemas.microsoft.com/office/powerpoint/2010/main" val="6373545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4">
            <a:extLst>
              <a:ext uri="{FF2B5EF4-FFF2-40B4-BE49-F238E27FC236}">
                <a16:creationId xmlns:a16="http://schemas.microsoft.com/office/drawing/2014/main" id="{1243096E-B9DC-4C91-8565-23B7920748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999" y="960391"/>
            <a:ext cx="10642719" cy="480000"/>
          </a:xfrm>
          <a:solidFill>
            <a:schemeClr val="bg1"/>
          </a:solidFill>
        </p:spPr>
        <p:txBody>
          <a:bodyPr rtlCol="0">
            <a:noAutofit/>
          </a:bodyPr>
          <a:lstStyle/>
          <a:p>
            <a:pPr rtl="0"/>
            <a:r>
              <a:rPr lang="ru" sz="2400" dirty="0"/>
              <a:t>Со временем ЛАГ приводит к ремоделированию сосудов, поражению сердца и, в конечном счете, правожелудочковой недостаточности </a:t>
            </a:r>
            <a:endParaRPr lang="en-GB" sz="24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9D15AC-C066-42FC-A4AB-3B439E67B19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92188" y="6264090"/>
            <a:ext cx="8368175" cy="484187"/>
          </a:xfrm>
        </p:spPr>
        <p:txBody>
          <a:bodyPr rtlCol="0"/>
          <a:lstStyle/>
          <a:p>
            <a:pPr defTabSz="914377" rtl="0"/>
            <a:r>
              <a:rPr lang="ru" sz="800" dirty="0">
                <a:solidFill>
                  <a:prstClr val="black"/>
                </a:solidFill>
                <a:ea typeface="Verdana" panose="020B0604030504040204" pitchFamily="34" charset="0"/>
                <a:cs typeface="Arial" charset="0"/>
              </a:rPr>
              <a:t>1. Приводится с изменениями по Galiè N, </a:t>
            </a:r>
            <a:r>
              <a:rPr lang="ru" sz="800" i="1" dirty="0">
                <a:solidFill>
                  <a:prstClr val="black"/>
                </a:solidFill>
                <a:ea typeface="Verdana" panose="020B0604030504040204" pitchFamily="34" charset="0"/>
                <a:cs typeface="Arial" charset="0"/>
              </a:rPr>
              <a:t>et al</a:t>
            </a:r>
            <a:r>
              <a:rPr lang="en-GB" sz="800" i="1" dirty="0">
                <a:solidFill>
                  <a:prstClr val="black"/>
                </a:solidFill>
                <a:ea typeface="Verdana" panose="020B0604030504040204" pitchFamily="34" charset="0"/>
                <a:cs typeface="Arial" charset="0"/>
              </a:rPr>
              <a:t>. Eur Heart J </a:t>
            </a:r>
            <a:r>
              <a:rPr lang="en-GB" sz="800" dirty="0">
                <a:solidFill>
                  <a:prstClr val="black"/>
                </a:solidFill>
                <a:ea typeface="Verdana" panose="020B0604030504040204" pitchFamily="34" charset="0"/>
                <a:cs typeface="Arial" charset="0"/>
              </a:rPr>
              <a:t>2010; 31:2080-6; </a:t>
            </a:r>
            <a:r>
              <a:rPr lang="ru-RU" sz="800" dirty="0">
                <a:solidFill>
                  <a:prstClr val="black"/>
                </a:solidFill>
                <a:ea typeface="Verdana" panose="020B0604030504040204" pitchFamily="34" charset="0"/>
                <a:cs typeface="Arial" charset="0"/>
              </a:rPr>
              <a:t>2</a:t>
            </a:r>
            <a:r>
              <a:rPr lang="ru" sz="800" i="1" dirty="0">
                <a:solidFill>
                  <a:prstClr val="black"/>
                </a:solidFill>
                <a:ea typeface="Verdana" panose="020B0604030504040204" pitchFamily="34" charset="0"/>
                <a:cs typeface="Arial" charset="0"/>
              </a:rPr>
              <a:t>.</a:t>
            </a:r>
            <a:r>
              <a:rPr lang="ru" sz="800" dirty="0">
                <a:solidFill>
                  <a:prstClr val="black"/>
                </a:solidFill>
                <a:ea typeface="Verdana" panose="020B0604030504040204" pitchFamily="34" charset="0"/>
                <a:cs typeface="Arial" charset="0"/>
              </a:rPr>
              <a:t> Приводится с изменениями по</a:t>
            </a:r>
            <a:r>
              <a:rPr lang="en-GB" sz="800" dirty="0">
                <a:solidFill>
                  <a:prstClr val="black"/>
                </a:solidFill>
                <a:ea typeface="Verdana" panose="020B0604030504040204" pitchFamily="34" charset="0"/>
                <a:cs typeface="Arial" charset="0"/>
              </a:rPr>
              <a:t> Vonk Noordegraaf A, </a:t>
            </a:r>
            <a:r>
              <a:rPr lang="en-GB" sz="800" i="1" dirty="0">
                <a:solidFill>
                  <a:prstClr val="black"/>
                </a:solidFill>
                <a:ea typeface="Verdana" panose="020B0604030504040204" pitchFamily="34" charset="0"/>
                <a:cs typeface="Arial" charset="0"/>
              </a:rPr>
              <a:t>et al. J Am Coll Cardiol </a:t>
            </a:r>
            <a:r>
              <a:rPr lang="en-GB" sz="800" dirty="0">
                <a:solidFill>
                  <a:prstClr val="black"/>
                </a:solidFill>
                <a:ea typeface="Verdana" panose="020B0604030504040204" pitchFamily="34" charset="0"/>
                <a:cs typeface="Arial" charset="0"/>
              </a:rPr>
              <a:t>2017; 69:236-43; </a:t>
            </a:r>
            <a:br>
              <a:rPr lang="en-GB" sz="800" dirty="0">
                <a:solidFill>
                  <a:prstClr val="black"/>
                </a:solidFill>
                <a:ea typeface="Verdana" panose="020B0604030504040204" pitchFamily="34" charset="0"/>
                <a:cs typeface="Arial" charset="0"/>
              </a:rPr>
            </a:br>
            <a:r>
              <a:rPr lang="ru" sz="800" dirty="0">
                <a:solidFill>
                  <a:prstClr val="black"/>
                </a:solidFill>
                <a:ea typeface="Verdana" panose="020B0604030504040204" pitchFamily="34" charset="0"/>
                <a:cs typeface="Arial" charset="0"/>
              </a:rPr>
              <a:t>3. </a:t>
            </a:r>
            <a:r>
              <a:rPr lang="en-GB" sz="800" dirty="0">
                <a:solidFill>
                  <a:prstClr val="black"/>
                </a:solidFill>
                <a:ea typeface="Verdana" panose="020B0604030504040204" pitchFamily="34" charset="0"/>
                <a:cs typeface="Arial" charset="0"/>
              </a:rPr>
              <a:t>Demerouti EA, </a:t>
            </a:r>
            <a:r>
              <a:rPr lang="en-GB" sz="800" i="1" dirty="0">
                <a:solidFill>
                  <a:prstClr val="black"/>
                </a:solidFill>
                <a:ea typeface="Verdana" panose="020B0604030504040204" pitchFamily="34" charset="0"/>
                <a:cs typeface="Arial" charset="0"/>
              </a:rPr>
              <a:t>et al</a:t>
            </a:r>
            <a:r>
              <a:rPr lang="en-GB" sz="800" dirty="0">
                <a:solidFill>
                  <a:prstClr val="black"/>
                </a:solidFill>
                <a:ea typeface="Verdana" panose="020B0604030504040204" pitchFamily="34" charset="0"/>
                <a:cs typeface="Arial" charset="0"/>
              </a:rPr>
              <a:t>. </a:t>
            </a:r>
            <a:r>
              <a:rPr lang="en-GB" sz="800" i="1" dirty="0">
                <a:solidFill>
                  <a:prstClr val="black"/>
                </a:solidFill>
                <a:ea typeface="Verdana" panose="020B0604030504040204" pitchFamily="34" charset="0"/>
                <a:cs typeface="Arial" charset="0"/>
              </a:rPr>
              <a:t>Respir Care </a:t>
            </a:r>
            <a:r>
              <a:rPr lang="en-GB" sz="800" dirty="0">
                <a:solidFill>
                  <a:prstClr val="black"/>
                </a:solidFill>
                <a:ea typeface="Verdana" panose="020B0604030504040204" pitchFamily="34" charset="0"/>
                <a:cs typeface="Arial" charset="0"/>
              </a:rPr>
              <a:t>2013; 58:1246-54.</a:t>
            </a:r>
            <a:endParaRPr lang="ru" sz="800" dirty="0">
              <a:solidFill>
                <a:prstClr val="black"/>
              </a:solidFill>
              <a:ea typeface="Verdana" panose="020B0604030504040204" pitchFamily="34" charset="0"/>
              <a:cs typeface="Arial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80F9F0E-D18F-4869-8FF8-4B11482D5613}"/>
              </a:ext>
            </a:extLst>
          </p:cNvPr>
          <p:cNvSpPr txBox="1"/>
          <p:nvPr/>
        </p:nvSpPr>
        <p:spPr>
          <a:xfrm>
            <a:off x="392723" y="5238533"/>
            <a:ext cx="11406554" cy="675090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800" b="1" i="0" u="none" strike="noStrike" kern="1200" cap="none" spc="0" normalizeH="0" baseline="0" noProof="0" dirty="0">
                <a:ln>
                  <a:noFill/>
                </a:ln>
                <a:solidFill>
                  <a:srgbClr val="40539C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rPr>
              <a:t>Правожелудочковая сердечная недостаточность является основной причиной смерти при ЛАГ</a:t>
            </a:r>
            <a:r>
              <a:rPr kumimoji="0" lang="ru" sz="1800" b="1" i="0" u="none" strike="noStrike" kern="1200" cap="none" spc="0" normalizeH="0" baseline="30000" noProof="0" dirty="0">
                <a:ln>
                  <a:noFill/>
                </a:ln>
                <a:solidFill>
                  <a:srgbClr val="40539C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rPr>
              <a:t>3</a:t>
            </a:r>
            <a:endParaRPr kumimoji="0" lang="en-GB" sz="1800" b="1" i="0" u="none" strike="noStrike" kern="1200" cap="none" spc="0" normalizeH="0" baseline="30000" noProof="0" dirty="0">
              <a:ln>
                <a:noFill/>
              </a:ln>
              <a:solidFill>
                <a:srgbClr val="40539C"/>
              </a:solidFill>
              <a:effectLst/>
              <a:uLnTx/>
              <a:uFillTx/>
              <a:latin typeface="Arial"/>
              <a:ea typeface="Verdana" panose="020B0604030504040204" pitchFamily="34" charset="0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B6E7A7C-2F22-42B9-87F6-06E0E041B588}"/>
              </a:ext>
            </a:extLst>
          </p:cNvPr>
          <p:cNvSpPr txBox="1"/>
          <p:nvPr/>
        </p:nvSpPr>
        <p:spPr>
          <a:xfrm>
            <a:off x="5553993" y="1767101"/>
            <a:ext cx="284161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rPr>
              <a:t>Прогрессирование ЛАГ</a:t>
            </a:r>
            <a:r>
              <a:rPr kumimoji="0" lang="ru" sz="1600" b="1" i="0" u="none" strike="noStrike" kern="1200" cap="none" spc="0" normalizeH="0" baseline="3000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rPr>
              <a:t>1,2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3FD0A15-27BF-4631-8540-1435A093B129}"/>
              </a:ext>
            </a:extLst>
          </p:cNvPr>
          <p:cNvGrpSpPr/>
          <p:nvPr/>
        </p:nvGrpSpPr>
        <p:grpSpPr>
          <a:xfrm>
            <a:off x="9760686" y="2889914"/>
            <a:ext cx="1173221" cy="1756347"/>
            <a:chOff x="10435484" y="2199069"/>
            <a:chExt cx="1603375" cy="2400300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619D2FE1-472F-4B24-AE0B-F0440CB47FC8}"/>
                </a:ext>
              </a:extLst>
            </p:cNvPr>
            <p:cNvGrpSpPr/>
            <p:nvPr/>
          </p:nvGrpSpPr>
          <p:grpSpPr>
            <a:xfrm>
              <a:off x="10435484" y="2199069"/>
              <a:ext cx="1603375" cy="2400300"/>
              <a:chOff x="5186423" y="3055408"/>
              <a:chExt cx="1603375" cy="2400300"/>
            </a:xfrm>
          </p:grpSpPr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7A6C8E8C-DBC3-4855-93F8-EDD55E4EC7AC}"/>
                  </a:ext>
                </a:extLst>
              </p:cNvPr>
              <p:cNvSpPr/>
              <p:nvPr/>
            </p:nvSpPr>
            <p:spPr>
              <a:xfrm>
                <a:off x="5551168" y="3085776"/>
                <a:ext cx="971192" cy="1598373"/>
              </a:xfrm>
              <a:custGeom>
                <a:avLst/>
                <a:gdLst>
                  <a:gd name="connsiteX0" fmla="*/ 54823 w 971192"/>
                  <a:gd name="connsiteY0" fmla="*/ 985284 h 1598373"/>
                  <a:gd name="connsiteX1" fmla="*/ 7198 w 971192"/>
                  <a:gd name="connsiteY1" fmla="*/ 709059 h 1598373"/>
                  <a:gd name="connsiteX2" fmla="*/ 80223 w 971192"/>
                  <a:gd name="connsiteY2" fmla="*/ 382034 h 1598373"/>
                  <a:gd name="connsiteX3" fmla="*/ 118323 w 971192"/>
                  <a:gd name="connsiteY3" fmla="*/ 245509 h 1598373"/>
                  <a:gd name="connsiteX4" fmla="*/ 102448 w 971192"/>
                  <a:gd name="connsiteY4" fmla="*/ 143909 h 1598373"/>
                  <a:gd name="connsiteX5" fmla="*/ 51648 w 971192"/>
                  <a:gd name="connsiteY5" fmla="*/ 74059 h 1598373"/>
                  <a:gd name="connsiteX6" fmla="*/ 134198 w 971192"/>
                  <a:gd name="connsiteY6" fmla="*/ 1034 h 1598373"/>
                  <a:gd name="connsiteX7" fmla="*/ 254848 w 971192"/>
                  <a:gd name="connsiteY7" fmla="*/ 131209 h 1598373"/>
                  <a:gd name="connsiteX8" fmla="*/ 356448 w 971192"/>
                  <a:gd name="connsiteY8" fmla="*/ 121684 h 1598373"/>
                  <a:gd name="connsiteX9" fmla="*/ 531073 w 971192"/>
                  <a:gd name="connsiteY9" fmla="*/ 112159 h 1598373"/>
                  <a:gd name="connsiteX10" fmla="*/ 727923 w 971192"/>
                  <a:gd name="connsiteY10" fmla="*/ 445534 h 1598373"/>
                  <a:gd name="connsiteX11" fmla="*/ 705698 w 971192"/>
                  <a:gd name="connsiteY11" fmla="*/ 486809 h 1598373"/>
                  <a:gd name="connsiteX12" fmla="*/ 492973 w 971192"/>
                  <a:gd name="connsiteY12" fmla="*/ 566184 h 1598373"/>
                  <a:gd name="connsiteX13" fmla="*/ 302473 w 971192"/>
                  <a:gd name="connsiteY13" fmla="*/ 778909 h 1598373"/>
                  <a:gd name="connsiteX14" fmla="*/ 464398 w 971192"/>
                  <a:gd name="connsiteY14" fmla="*/ 1039259 h 1598373"/>
                  <a:gd name="connsiteX15" fmla="*/ 699348 w 971192"/>
                  <a:gd name="connsiteY15" fmla="*/ 817009 h 1598373"/>
                  <a:gd name="connsiteX16" fmla="*/ 873973 w 971192"/>
                  <a:gd name="connsiteY16" fmla="*/ 753509 h 1598373"/>
                  <a:gd name="connsiteX17" fmla="*/ 899373 w 971192"/>
                  <a:gd name="connsiteY17" fmla="*/ 823359 h 1598373"/>
                  <a:gd name="connsiteX18" fmla="*/ 797773 w 971192"/>
                  <a:gd name="connsiteY18" fmla="*/ 864634 h 1598373"/>
                  <a:gd name="connsiteX19" fmla="*/ 727923 w 971192"/>
                  <a:gd name="connsiteY19" fmla="*/ 918609 h 1598373"/>
                  <a:gd name="connsiteX20" fmla="*/ 724748 w 971192"/>
                  <a:gd name="connsiteY20" fmla="*/ 975759 h 1598373"/>
                  <a:gd name="connsiteX21" fmla="*/ 848573 w 971192"/>
                  <a:gd name="connsiteY21" fmla="*/ 902734 h 1598373"/>
                  <a:gd name="connsiteX22" fmla="*/ 921598 w 971192"/>
                  <a:gd name="connsiteY22" fmla="*/ 874159 h 1598373"/>
                  <a:gd name="connsiteX23" fmla="*/ 969223 w 971192"/>
                  <a:gd name="connsiteY23" fmla="*/ 959884 h 1598373"/>
                  <a:gd name="connsiteX24" fmla="*/ 854923 w 971192"/>
                  <a:gd name="connsiteY24" fmla="*/ 1004334 h 1598373"/>
                  <a:gd name="connsiteX25" fmla="*/ 683473 w 971192"/>
                  <a:gd name="connsiteY25" fmla="*/ 1134509 h 1598373"/>
                  <a:gd name="connsiteX26" fmla="*/ 667598 w 971192"/>
                  <a:gd name="connsiteY26" fmla="*/ 1302784 h 1598373"/>
                  <a:gd name="connsiteX27" fmla="*/ 667598 w 971192"/>
                  <a:gd name="connsiteY27" fmla="*/ 1429784 h 1598373"/>
                  <a:gd name="connsiteX28" fmla="*/ 467573 w 971192"/>
                  <a:gd name="connsiteY28" fmla="*/ 1579009 h 1598373"/>
                  <a:gd name="connsiteX29" fmla="*/ 54823 w 971192"/>
                  <a:gd name="connsiteY29" fmla="*/ 985284 h 1598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971192" h="1598373">
                    <a:moveTo>
                      <a:pt x="54823" y="985284"/>
                    </a:moveTo>
                    <a:cubicBezTo>
                      <a:pt x="-21906" y="840292"/>
                      <a:pt x="2965" y="809601"/>
                      <a:pt x="7198" y="709059"/>
                    </a:cubicBezTo>
                    <a:cubicBezTo>
                      <a:pt x="11431" y="608517"/>
                      <a:pt x="61702" y="459292"/>
                      <a:pt x="80223" y="382034"/>
                    </a:cubicBezTo>
                    <a:cubicBezTo>
                      <a:pt x="98744" y="304776"/>
                      <a:pt x="114619" y="285196"/>
                      <a:pt x="118323" y="245509"/>
                    </a:cubicBezTo>
                    <a:cubicBezTo>
                      <a:pt x="122027" y="205822"/>
                      <a:pt x="113560" y="172484"/>
                      <a:pt x="102448" y="143909"/>
                    </a:cubicBezTo>
                    <a:cubicBezTo>
                      <a:pt x="91336" y="115334"/>
                      <a:pt x="46356" y="97872"/>
                      <a:pt x="51648" y="74059"/>
                    </a:cubicBezTo>
                    <a:cubicBezTo>
                      <a:pt x="56940" y="50246"/>
                      <a:pt x="100331" y="-8491"/>
                      <a:pt x="134198" y="1034"/>
                    </a:cubicBezTo>
                    <a:cubicBezTo>
                      <a:pt x="168065" y="10559"/>
                      <a:pt x="217806" y="111101"/>
                      <a:pt x="254848" y="131209"/>
                    </a:cubicBezTo>
                    <a:cubicBezTo>
                      <a:pt x="291890" y="151317"/>
                      <a:pt x="310411" y="124859"/>
                      <a:pt x="356448" y="121684"/>
                    </a:cubicBezTo>
                    <a:cubicBezTo>
                      <a:pt x="402485" y="118509"/>
                      <a:pt x="469161" y="58184"/>
                      <a:pt x="531073" y="112159"/>
                    </a:cubicBezTo>
                    <a:cubicBezTo>
                      <a:pt x="592985" y="166134"/>
                      <a:pt x="698819" y="383092"/>
                      <a:pt x="727923" y="445534"/>
                    </a:cubicBezTo>
                    <a:cubicBezTo>
                      <a:pt x="757027" y="507976"/>
                      <a:pt x="744856" y="466701"/>
                      <a:pt x="705698" y="486809"/>
                    </a:cubicBezTo>
                    <a:cubicBezTo>
                      <a:pt x="666540" y="506917"/>
                      <a:pt x="560177" y="517501"/>
                      <a:pt x="492973" y="566184"/>
                    </a:cubicBezTo>
                    <a:cubicBezTo>
                      <a:pt x="425769" y="614867"/>
                      <a:pt x="307235" y="700063"/>
                      <a:pt x="302473" y="778909"/>
                    </a:cubicBezTo>
                    <a:cubicBezTo>
                      <a:pt x="297711" y="857755"/>
                      <a:pt x="398252" y="1032909"/>
                      <a:pt x="464398" y="1039259"/>
                    </a:cubicBezTo>
                    <a:cubicBezTo>
                      <a:pt x="530544" y="1045609"/>
                      <a:pt x="631086" y="864634"/>
                      <a:pt x="699348" y="817009"/>
                    </a:cubicBezTo>
                    <a:cubicBezTo>
                      <a:pt x="767610" y="769384"/>
                      <a:pt x="840636" y="752451"/>
                      <a:pt x="873973" y="753509"/>
                    </a:cubicBezTo>
                    <a:cubicBezTo>
                      <a:pt x="907310" y="754567"/>
                      <a:pt x="912073" y="804838"/>
                      <a:pt x="899373" y="823359"/>
                    </a:cubicBezTo>
                    <a:cubicBezTo>
                      <a:pt x="886673" y="841880"/>
                      <a:pt x="826348" y="848759"/>
                      <a:pt x="797773" y="864634"/>
                    </a:cubicBezTo>
                    <a:cubicBezTo>
                      <a:pt x="769198" y="880509"/>
                      <a:pt x="740094" y="900088"/>
                      <a:pt x="727923" y="918609"/>
                    </a:cubicBezTo>
                    <a:cubicBezTo>
                      <a:pt x="715752" y="937130"/>
                      <a:pt x="704640" y="978405"/>
                      <a:pt x="724748" y="975759"/>
                    </a:cubicBezTo>
                    <a:cubicBezTo>
                      <a:pt x="744856" y="973113"/>
                      <a:pt x="815765" y="919667"/>
                      <a:pt x="848573" y="902734"/>
                    </a:cubicBezTo>
                    <a:cubicBezTo>
                      <a:pt x="881381" y="885801"/>
                      <a:pt x="901490" y="864634"/>
                      <a:pt x="921598" y="874159"/>
                    </a:cubicBezTo>
                    <a:cubicBezTo>
                      <a:pt x="941706" y="883684"/>
                      <a:pt x="980335" y="938188"/>
                      <a:pt x="969223" y="959884"/>
                    </a:cubicBezTo>
                    <a:cubicBezTo>
                      <a:pt x="958111" y="981580"/>
                      <a:pt x="902548" y="975230"/>
                      <a:pt x="854923" y="1004334"/>
                    </a:cubicBezTo>
                    <a:cubicBezTo>
                      <a:pt x="807298" y="1033438"/>
                      <a:pt x="714694" y="1084767"/>
                      <a:pt x="683473" y="1134509"/>
                    </a:cubicBezTo>
                    <a:cubicBezTo>
                      <a:pt x="652252" y="1184251"/>
                      <a:pt x="670244" y="1253572"/>
                      <a:pt x="667598" y="1302784"/>
                    </a:cubicBezTo>
                    <a:cubicBezTo>
                      <a:pt x="664952" y="1351997"/>
                      <a:pt x="700936" y="1383747"/>
                      <a:pt x="667598" y="1429784"/>
                    </a:cubicBezTo>
                    <a:cubicBezTo>
                      <a:pt x="634261" y="1475822"/>
                      <a:pt x="573935" y="1657326"/>
                      <a:pt x="467573" y="1579009"/>
                    </a:cubicBezTo>
                    <a:cubicBezTo>
                      <a:pt x="361211" y="1500692"/>
                      <a:pt x="131552" y="1130276"/>
                      <a:pt x="54823" y="985284"/>
                    </a:cubicBezTo>
                    <a:close/>
                  </a:path>
                </a:pathLst>
              </a:custGeom>
              <a:solidFill>
                <a:srgbClr val="F28163"/>
              </a:solidFill>
              <a:ln>
                <a:solidFill>
                  <a:srgbClr val="F2816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x-none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25" name="Group 24">
                <a:extLst>
                  <a:ext uri="{FF2B5EF4-FFF2-40B4-BE49-F238E27FC236}">
                    <a16:creationId xmlns:a16="http://schemas.microsoft.com/office/drawing/2014/main" id="{A8C8C9EF-0CA2-4075-A93B-C9875947EBD6}"/>
                  </a:ext>
                </a:extLst>
              </p:cNvPr>
              <p:cNvGrpSpPr/>
              <p:nvPr/>
            </p:nvGrpSpPr>
            <p:grpSpPr>
              <a:xfrm>
                <a:off x="5186423" y="3055408"/>
                <a:ext cx="1603375" cy="2400300"/>
                <a:chOff x="5186423" y="3055408"/>
                <a:chExt cx="1603375" cy="2400300"/>
              </a:xfrm>
            </p:grpSpPr>
            <p:sp>
              <p:nvSpPr>
                <p:cNvPr id="28" name="Freeform: Shape 27">
                  <a:extLst>
                    <a:ext uri="{FF2B5EF4-FFF2-40B4-BE49-F238E27FC236}">
                      <a16:creationId xmlns:a16="http://schemas.microsoft.com/office/drawing/2014/main" id="{A4B1448A-4989-4DF7-B670-CD0B6D62F1AE}"/>
                    </a:ext>
                  </a:extLst>
                </p:cNvPr>
                <p:cNvSpPr/>
                <p:nvPr/>
              </p:nvSpPr>
              <p:spPr>
                <a:xfrm>
                  <a:off x="5214437" y="3562982"/>
                  <a:ext cx="1521942" cy="1799374"/>
                </a:xfrm>
                <a:custGeom>
                  <a:avLst/>
                  <a:gdLst>
                    <a:gd name="connsiteX0" fmla="*/ 740188 w 1521942"/>
                    <a:gd name="connsiteY0" fmla="*/ 553671 h 1799374"/>
                    <a:gd name="connsiteX1" fmla="*/ 737870 w 1521942"/>
                    <a:gd name="connsiteY1" fmla="*/ 567294 h 1799374"/>
                    <a:gd name="connsiteX2" fmla="*/ 721333 w 1521942"/>
                    <a:gd name="connsiteY2" fmla="*/ 714799 h 1799374"/>
                    <a:gd name="connsiteX3" fmla="*/ 715083 w 1521942"/>
                    <a:gd name="connsiteY3" fmla="*/ 928418 h 1799374"/>
                    <a:gd name="connsiteX4" fmla="*/ 709747 w 1521942"/>
                    <a:gd name="connsiteY4" fmla="*/ 952818 h 1799374"/>
                    <a:gd name="connsiteX5" fmla="*/ 719216 w 1521942"/>
                    <a:gd name="connsiteY5" fmla="*/ 953983 h 1799374"/>
                    <a:gd name="connsiteX6" fmla="*/ 778483 w 1521942"/>
                    <a:gd name="connsiteY6" fmla="*/ 1013249 h 1799374"/>
                    <a:gd name="connsiteX7" fmla="*/ 839866 w 1521942"/>
                    <a:gd name="connsiteY7" fmla="*/ 1004783 h 1799374"/>
                    <a:gd name="connsiteX8" fmla="*/ 867383 w 1521942"/>
                    <a:gd name="connsiteY8" fmla="*/ 953983 h 1799374"/>
                    <a:gd name="connsiteX9" fmla="*/ 844100 w 1521942"/>
                    <a:gd name="connsiteY9" fmla="*/ 892599 h 1799374"/>
                    <a:gd name="connsiteX10" fmla="*/ 926650 w 1521942"/>
                    <a:gd name="connsiteY10" fmla="*/ 920116 h 1799374"/>
                    <a:gd name="connsiteX11" fmla="*/ 964750 w 1521942"/>
                    <a:gd name="connsiteY11" fmla="*/ 829099 h 1799374"/>
                    <a:gd name="connsiteX12" fmla="*/ 753091 w 1521942"/>
                    <a:gd name="connsiteY12" fmla="*/ 580341 h 1799374"/>
                    <a:gd name="connsiteX13" fmla="*/ 1093866 w 1521942"/>
                    <a:gd name="connsiteY13" fmla="*/ 425 h 1799374"/>
                    <a:gd name="connsiteX14" fmla="*/ 1184883 w 1521942"/>
                    <a:gd name="connsiteY14" fmla="*/ 20533 h 1799374"/>
                    <a:gd name="connsiteX15" fmla="*/ 1218750 w 1521942"/>
                    <a:gd name="connsiteY15" fmla="*/ 225849 h 1799374"/>
                    <a:gd name="connsiteX16" fmla="*/ 1089633 w 1521942"/>
                    <a:gd name="connsiteY16" fmla="*/ 230083 h 1799374"/>
                    <a:gd name="connsiteX17" fmla="*/ 892783 w 1521942"/>
                    <a:gd name="connsiteY17" fmla="*/ 297816 h 1799374"/>
                    <a:gd name="connsiteX18" fmla="*/ 791927 w 1521942"/>
                    <a:gd name="connsiteY18" fmla="*/ 389395 h 1799374"/>
                    <a:gd name="connsiteX19" fmla="*/ 768247 w 1521942"/>
                    <a:gd name="connsiteY19" fmla="*/ 434735 h 1799374"/>
                    <a:gd name="connsiteX20" fmla="*/ 790654 w 1521942"/>
                    <a:gd name="connsiteY20" fmla="*/ 410297 h 1799374"/>
                    <a:gd name="connsiteX21" fmla="*/ 831400 w 1521942"/>
                    <a:gd name="connsiteY21" fmla="*/ 386716 h 1799374"/>
                    <a:gd name="connsiteX22" fmla="*/ 1066350 w 1521942"/>
                    <a:gd name="connsiteY22" fmla="*/ 429049 h 1799374"/>
                    <a:gd name="connsiteX23" fmla="*/ 1151016 w 1521942"/>
                    <a:gd name="connsiteY23" fmla="*/ 568749 h 1799374"/>
                    <a:gd name="connsiteX24" fmla="*/ 1271666 w 1521942"/>
                    <a:gd name="connsiteY24" fmla="*/ 786766 h 1799374"/>
                    <a:gd name="connsiteX25" fmla="*/ 1457933 w 1521942"/>
                    <a:gd name="connsiteY25" fmla="*/ 1108499 h 1799374"/>
                    <a:gd name="connsiteX26" fmla="*/ 1517200 w 1521942"/>
                    <a:gd name="connsiteY26" fmla="*/ 1447166 h 1799374"/>
                    <a:gd name="connsiteX27" fmla="*/ 1470633 w 1521942"/>
                    <a:gd name="connsiteY27" fmla="*/ 1735033 h 1799374"/>
                    <a:gd name="connsiteX28" fmla="*/ 1095983 w 1521942"/>
                    <a:gd name="connsiteY28" fmla="*/ 1792183 h 1799374"/>
                    <a:gd name="connsiteX29" fmla="*/ 564700 w 1521942"/>
                    <a:gd name="connsiteY29" fmla="*/ 1779483 h 1799374"/>
                    <a:gd name="connsiteX30" fmla="*/ 266250 w 1521942"/>
                    <a:gd name="connsiteY30" fmla="*/ 1620733 h 1799374"/>
                    <a:gd name="connsiteX31" fmla="*/ 171000 w 1521942"/>
                    <a:gd name="connsiteY31" fmla="*/ 1360383 h 1799374"/>
                    <a:gd name="connsiteX32" fmla="*/ 168883 w 1521942"/>
                    <a:gd name="connsiteY32" fmla="*/ 1227033 h 1799374"/>
                    <a:gd name="connsiteX33" fmla="*/ 126550 w 1521942"/>
                    <a:gd name="connsiteY33" fmla="*/ 1182583 h 1799374"/>
                    <a:gd name="connsiteX34" fmla="*/ 22833 w 1521942"/>
                    <a:gd name="connsiteY34" fmla="*/ 1002666 h 1799374"/>
                    <a:gd name="connsiteX35" fmla="*/ 10133 w 1521942"/>
                    <a:gd name="connsiteY35" fmla="*/ 725383 h 1799374"/>
                    <a:gd name="connsiteX36" fmla="*/ 145600 w 1521942"/>
                    <a:gd name="connsiteY36" fmla="*/ 558166 h 1799374"/>
                    <a:gd name="connsiteX37" fmla="*/ 319166 w 1521942"/>
                    <a:gd name="connsiteY37" fmla="*/ 496783 h 1799374"/>
                    <a:gd name="connsiteX38" fmla="*/ 488500 w 1521942"/>
                    <a:gd name="connsiteY38" fmla="*/ 581449 h 1799374"/>
                    <a:gd name="connsiteX39" fmla="*/ 511916 w 1521942"/>
                    <a:gd name="connsiteY39" fmla="*/ 659286 h 1799374"/>
                    <a:gd name="connsiteX40" fmla="*/ 514347 w 1521942"/>
                    <a:gd name="connsiteY40" fmla="*/ 675959 h 1799374"/>
                    <a:gd name="connsiteX41" fmla="*/ 515091 w 1521942"/>
                    <a:gd name="connsiteY41" fmla="*/ 653615 h 1799374"/>
                    <a:gd name="connsiteX42" fmla="*/ 539300 w 1521942"/>
                    <a:gd name="connsiteY42" fmla="*/ 551816 h 1799374"/>
                    <a:gd name="connsiteX43" fmla="*/ 683233 w 1521942"/>
                    <a:gd name="connsiteY43" fmla="*/ 194099 h 1799374"/>
                    <a:gd name="connsiteX44" fmla="*/ 971100 w 1521942"/>
                    <a:gd name="connsiteY44" fmla="*/ 26883 h 1799374"/>
                    <a:gd name="connsiteX45" fmla="*/ 1093866 w 1521942"/>
                    <a:gd name="connsiteY45" fmla="*/ 425 h 17993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</a:cxnLst>
                  <a:rect l="l" t="t" r="r" b="b"/>
                  <a:pathLst>
                    <a:path w="1521942" h="1799374">
                      <a:moveTo>
                        <a:pt x="740188" y="553671"/>
                      </a:moveTo>
                      <a:lnTo>
                        <a:pt x="737870" y="567294"/>
                      </a:lnTo>
                      <a:cubicBezTo>
                        <a:pt x="731123" y="617168"/>
                        <a:pt x="726625" y="669644"/>
                        <a:pt x="721333" y="714799"/>
                      </a:cubicBezTo>
                      <a:cubicBezTo>
                        <a:pt x="713396" y="782533"/>
                        <a:pt x="720540" y="868919"/>
                        <a:pt x="715083" y="928418"/>
                      </a:cubicBezTo>
                      <a:lnTo>
                        <a:pt x="709747" y="952818"/>
                      </a:lnTo>
                      <a:lnTo>
                        <a:pt x="719216" y="953983"/>
                      </a:lnTo>
                      <a:cubicBezTo>
                        <a:pt x="742852" y="962802"/>
                        <a:pt x="758375" y="1004782"/>
                        <a:pt x="778483" y="1013249"/>
                      </a:cubicBezTo>
                      <a:cubicBezTo>
                        <a:pt x="798591" y="1021716"/>
                        <a:pt x="825049" y="1014661"/>
                        <a:pt x="839866" y="1004783"/>
                      </a:cubicBezTo>
                      <a:cubicBezTo>
                        <a:pt x="854683" y="994905"/>
                        <a:pt x="866677" y="972680"/>
                        <a:pt x="867383" y="953983"/>
                      </a:cubicBezTo>
                      <a:cubicBezTo>
                        <a:pt x="868089" y="935286"/>
                        <a:pt x="834222" y="898244"/>
                        <a:pt x="844100" y="892599"/>
                      </a:cubicBezTo>
                      <a:cubicBezTo>
                        <a:pt x="853978" y="886955"/>
                        <a:pt x="906542" y="930699"/>
                        <a:pt x="926650" y="920116"/>
                      </a:cubicBezTo>
                      <a:cubicBezTo>
                        <a:pt x="946758" y="909533"/>
                        <a:pt x="996147" y="890835"/>
                        <a:pt x="964750" y="829099"/>
                      </a:cubicBezTo>
                      <a:cubicBezTo>
                        <a:pt x="937278" y="775080"/>
                        <a:pt x="801496" y="658129"/>
                        <a:pt x="753091" y="580341"/>
                      </a:cubicBezTo>
                      <a:close/>
                      <a:moveTo>
                        <a:pt x="1093866" y="425"/>
                      </a:moveTo>
                      <a:cubicBezTo>
                        <a:pt x="1131702" y="-1692"/>
                        <a:pt x="1164246" y="3953"/>
                        <a:pt x="1184883" y="20533"/>
                      </a:cubicBezTo>
                      <a:cubicBezTo>
                        <a:pt x="1226158" y="53694"/>
                        <a:pt x="1236742" y="194099"/>
                        <a:pt x="1218750" y="225849"/>
                      </a:cubicBezTo>
                      <a:cubicBezTo>
                        <a:pt x="1200758" y="257599"/>
                        <a:pt x="1143961" y="218089"/>
                        <a:pt x="1089633" y="230083"/>
                      </a:cubicBezTo>
                      <a:cubicBezTo>
                        <a:pt x="1035305" y="242077"/>
                        <a:pt x="946405" y="263597"/>
                        <a:pt x="892783" y="297816"/>
                      </a:cubicBezTo>
                      <a:cubicBezTo>
                        <a:pt x="852566" y="323480"/>
                        <a:pt x="818501" y="348947"/>
                        <a:pt x="791927" y="389395"/>
                      </a:cubicBezTo>
                      <a:lnTo>
                        <a:pt x="768247" y="434735"/>
                      </a:lnTo>
                      <a:lnTo>
                        <a:pt x="790654" y="410297"/>
                      </a:lnTo>
                      <a:cubicBezTo>
                        <a:pt x="803685" y="399835"/>
                        <a:pt x="817730" y="391743"/>
                        <a:pt x="831400" y="386716"/>
                      </a:cubicBezTo>
                      <a:cubicBezTo>
                        <a:pt x="886081" y="366608"/>
                        <a:pt x="1013081" y="398710"/>
                        <a:pt x="1066350" y="429049"/>
                      </a:cubicBezTo>
                      <a:cubicBezTo>
                        <a:pt x="1119619" y="459388"/>
                        <a:pt x="1116797" y="509129"/>
                        <a:pt x="1151016" y="568749"/>
                      </a:cubicBezTo>
                      <a:cubicBezTo>
                        <a:pt x="1185235" y="628369"/>
                        <a:pt x="1220513" y="696808"/>
                        <a:pt x="1271666" y="786766"/>
                      </a:cubicBezTo>
                      <a:cubicBezTo>
                        <a:pt x="1322819" y="876724"/>
                        <a:pt x="1417011" y="998432"/>
                        <a:pt x="1457933" y="1108499"/>
                      </a:cubicBezTo>
                      <a:cubicBezTo>
                        <a:pt x="1498855" y="1218566"/>
                        <a:pt x="1515083" y="1342744"/>
                        <a:pt x="1517200" y="1447166"/>
                      </a:cubicBezTo>
                      <a:cubicBezTo>
                        <a:pt x="1519317" y="1551588"/>
                        <a:pt x="1540836" y="1677530"/>
                        <a:pt x="1470633" y="1735033"/>
                      </a:cubicBezTo>
                      <a:cubicBezTo>
                        <a:pt x="1400430" y="1792536"/>
                        <a:pt x="1246972" y="1784775"/>
                        <a:pt x="1095983" y="1792183"/>
                      </a:cubicBezTo>
                      <a:cubicBezTo>
                        <a:pt x="944994" y="1799591"/>
                        <a:pt x="702989" y="1808058"/>
                        <a:pt x="564700" y="1779483"/>
                      </a:cubicBezTo>
                      <a:cubicBezTo>
                        <a:pt x="426411" y="1750908"/>
                        <a:pt x="331867" y="1690583"/>
                        <a:pt x="266250" y="1620733"/>
                      </a:cubicBezTo>
                      <a:cubicBezTo>
                        <a:pt x="200633" y="1550883"/>
                        <a:pt x="187228" y="1426000"/>
                        <a:pt x="171000" y="1360383"/>
                      </a:cubicBezTo>
                      <a:cubicBezTo>
                        <a:pt x="154772" y="1294766"/>
                        <a:pt x="176291" y="1256666"/>
                        <a:pt x="168883" y="1227033"/>
                      </a:cubicBezTo>
                      <a:cubicBezTo>
                        <a:pt x="161475" y="1197400"/>
                        <a:pt x="150892" y="1219977"/>
                        <a:pt x="126550" y="1182583"/>
                      </a:cubicBezTo>
                      <a:cubicBezTo>
                        <a:pt x="102208" y="1145189"/>
                        <a:pt x="42236" y="1078866"/>
                        <a:pt x="22833" y="1002666"/>
                      </a:cubicBezTo>
                      <a:cubicBezTo>
                        <a:pt x="3430" y="926466"/>
                        <a:pt x="-10328" y="799466"/>
                        <a:pt x="10133" y="725383"/>
                      </a:cubicBezTo>
                      <a:cubicBezTo>
                        <a:pt x="30594" y="651300"/>
                        <a:pt x="94095" y="596266"/>
                        <a:pt x="145600" y="558166"/>
                      </a:cubicBezTo>
                      <a:cubicBezTo>
                        <a:pt x="197105" y="520066"/>
                        <a:pt x="262016" y="492902"/>
                        <a:pt x="319166" y="496783"/>
                      </a:cubicBezTo>
                      <a:cubicBezTo>
                        <a:pt x="376316" y="500663"/>
                        <a:pt x="449694" y="508071"/>
                        <a:pt x="488500" y="581449"/>
                      </a:cubicBezTo>
                      <a:cubicBezTo>
                        <a:pt x="498202" y="599794"/>
                        <a:pt x="505742" y="627332"/>
                        <a:pt x="511916" y="659286"/>
                      </a:cubicBezTo>
                      <a:lnTo>
                        <a:pt x="514347" y="675959"/>
                      </a:lnTo>
                      <a:lnTo>
                        <a:pt x="515091" y="653615"/>
                      </a:lnTo>
                      <a:cubicBezTo>
                        <a:pt x="516017" y="625635"/>
                        <a:pt x="518134" y="613729"/>
                        <a:pt x="539300" y="551816"/>
                      </a:cubicBezTo>
                      <a:cubicBezTo>
                        <a:pt x="567522" y="469266"/>
                        <a:pt x="611266" y="281588"/>
                        <a:pt x="683233" y="194099"/>
                      </a:cubicBezTo>
                      <a:cubicBezTo>
                        <a:pt x="755200" y="106610"/>
                        <a:pt x="887492" y="55811"/>
                        <a:pt x="971100" y="26883"/>
                      </a:cubicBezTo>
                      <a:cubicBezTo>
                        <a:pt x="1012904" y="12419"/>
                        <a:pt x="1056031" y="2541"/>
                        <a:pt x="1093866" y="425"/>
                      </a:cubicBezTo>
                      <a:close/>
                    </a:path>
                  </a:pathLst>
                </a:custGeom>
                <a:solidFill>
                  <a:srgbClr val="F99983"/>
                </a:solidFill>
                <a:ln>
                  <a:solidFill>
                    <a:srgbClr val="F99983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x-none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9" name="Freeform: Shape 28">
                  <a:extLst>
                    <a:ext uri="{FF2B5EF4-FFF2-40B4-BE49-F238E27FC236}">
                      <a16:creationId xmlns:a16="http://schemas.microsoft.com/office/drawing/2014/main" id="{A5B17F6E-4D25-489A-B61A-75CFAFD70D22}"/>
                    </a:ext>
                  </a:extLst>
                </p:cNvPr>
                <p:cNvSpPr/>
                <p:nvPr/>
              </p:nvSpPr>
              <p:spPr>
                <a:xfrm>
                  <a:off x="5186423" y="3055408"/>
                  <a:ext cx="1603375" cy="2400300"/>
                </a:xfrm>
                <a:custGeom>
                  <a:avLst/>
                  <a:gdLst>
                    <a:gd name="connsiteX0" fmla="*/ 1043608 w 1598601"/>
                    <a:gd name="connsiteY0" fmla="*/ 1286759 h 2407727"/>
                    <a:gd name="connsiteX1" fmla="*/ 1101811 w 1598601"/>
                    <a:gd name="connsiteY1" fmla="*/ 1309408 h 2407727"/>
                    <a:gd name="connsiteX2" fmla="*/ 1142465 w 1598601"/>
                    <a:gd name="connsiteY2" fmla="*/ 1361159 h 2407727"/>
                    <a:gd name="connsiteX3" fmla="*/ 1072349 w 1598601"/>
                    <a:gd name="connsiteY3" fmla="*/ 1313921 h 2407727"/>
                    <a:gd name="connsiteX4" fmla="*/ 1012601 w 1598601"/>
                    <a:gd name="connsiteY4" fmla="*/ 1315752 h 2407727"/>
                    <a:gd name="connsiteX5" fmla="*/ 985196 w 1598601"/>
                    <a:gd name="connsiteY5" fmla="*/ 1333403 h 2407727"/>
                    <a:gd name="connsiteX6" fmla="*/ 978371 w 1598601"/>
                    <a:gd name="connsiteY6" fmla="*/ 1299330 h 2407727"/>
                    <a:gd name="connsiteX7" fmla="*/ 1043608 w 1598601"/>
                    <a:gd name="connsiteY7" fmla="*/ 1286759 h 2407727"/>
                    <a:gd name="connsiteX8" fmla="*/ 355024 w 1598601"/>
                    <a:gd name="connsiteY8" fmla="*/ 1004643 h 2407727"/>
                    <a:gd name="connsiteX9" fmla="*/ 284512 w 1598601"/>
                    <a:gd name="connsiteY9" fmla="*/ 1008744 h 2407727"/>
                    <a:gd name="connsiteX10" fmla="*/ 153279 w 1598601"/>
                    <a:gd name="connsiteY10" fmla="*/ 1074360 h 2407727"/>
                    <a:gd name="connsiteX11" fmla="*/ 45329 w 1598601"/>
                    <a:gd name="connsiteY11" fmla="*/ 1251632 h 2407727"/>
                    <a:gd name="connsiteX12" fmla="*/ 81313 w 1598601"/>
                    <a:gd name="connsiteY12" fmla="*/ 1510394 h 2407727"/>
                    <a:gd name="connsiteX13" fmla="*/ 163333 w 1598601"/>
                    <a:gd name="connsiteY13" fmla="*/ 1626810 h 2407727"/>
                    <a:gd name="connsiteX14" fmla="*/ 189754 w 1598601"/>
                    <a:gd name="connsiteY14" fmla="*/ 1656641 h 2407727"/>
                    <a:gd name="connsiteX15" fmla="*/ 192119 w 1598601"/>
                    <a:gd name="connsiteY15" fmla="*/ 1661321 h 2407727"/>
                    <a:gd name="connsiteX16" fmla="*/ 273929 w 1598601"/>
                    <a:gd name="connsiteY16" fmla="*/ 1631574 h 2407727"/>
                    <a:gd name="connsiteX17" fmla="*/ 373942 w 1598601"/>
                    <a:gd name="connsiteY17" fmla="*/ 1636338 h 2407727"/>
                    <a:gd name="connsiteX18" fmla="*/ 461254 w 1598601"/>
                    <a:gd name="connsiteY18" fmla="*/ 1680786 h 2407727"/>
                    <a:gd name="connsiteX19" fmla="*/ 331079 w 1598601"/>
                    <a:gd name="connsiteY19" fmla="*/ 1652211 h 2407727"/>
                    <a:gd name="connsiteX20" fmla="*/ 240591 w 1598601"/>
                    <a:gd name="connsiteY20" fmla="*/ 1676024 h 2407727"/>
                    <a:gd name="connsiteX21" fmla="*/ 208345 w 1598601"/>
                    <a:gd name="connsiteY21" fmla="*/ 1749054 h 2407727"/>
                    <a:gd name="connsiteX22" fmla="*/ 235299 w 1598601"/>
                    <a:gd name="connsiteY22" fmla="*/ 1903035 h 2407727"/>
                    <a:gd name="connsiteX23" fmla="*/ 378173 w 1598601"/>
                    <a:gd name="connsiteY23" fmla="*/ 2101473 h 2407727"/>
                    <a:gd name="connsiteX24" fmla="*/ 699377 w 1598601"/>
                    <a:gd name="connsiteY24" fmla="*/ 2250697 h 2407727"/>
                    <a:gd name="connsiteX25" fmla="*/ 1262411 w 1598601"/>
                    <a:gd name="connsiteY25" fmla="*/ 2225298 h 2407727"/>
                    <a:gd name="connsiteX26" fmla="*/ 1292048 w 1598601"/>
                    <a:gd name="connsiteY26" fmla="*/ 2223295 h 2407727"/>
                    <a:gd name="connsiteX27" fmla="*/ 1272104 w 1598601"/>
                    <a:gd name="connsiteY27" fmla="*/ 2212035 h 2407727"/>
                    <a:gd name="connsiteX28" fmla="*/ 1198385 w 1598601"/>
                    <a:gd name="connsiteY28" fmla="*/ 2135339 h 2407727"/>
                    <a:gd name="connsiteX29" fmla="*/ 1093610 w 1598601"/>
                    <a:gd name="connsiteY29" fmla="*/ 1860701 h 2407727"/>
                    <a:gd name="connsiteX30" fmla="*/ 998360 w 1598601"/>
                    <a:gd name="connsiteY30" fmla="*/ 1684489 h 2407727"/>
                    <a:gd name="connsiteX31" fmla="*/ 734864 w 1598601"/>
                    <a:gd name="connsiteY31" fmla="*/ 1461065 h 2407727"/>
                    <a:gd name="connsiteX32" fmla="*/ 712081 w 1598601"/>
                    <a:gd name="connsiteY32" fmla="*/ 1472825 h 2407727"/>
                    <a:gd name="connsiteX33" fmla="*/ 680859 w 1598601"/>
                    <a:gd name="connsiteY33" fmla="*/ 1465279 h 2407727"/>
                    <a:gd name="connsiteX34" fmla="*/ 640644 w 1598601"/>
                    <a:gd name="connsiteY34" fmla="*/ 1466474 h 2407727"/>
                    <a:gd name="connsiteX35" fmla="*/ 591429 w 1598601"/>
                    <a:gd name="connsiteY35" fmla="*/ 1471632 h 2407727"/>
                    <a:gd name="connsiteX36" fmla="*/ 552334 w 1598601"/>
                    <a:gd name="connsiteY36" fmla="*/ 1487363 h 2407727"/>
                    <a:gd name="connsiteX37" fmla="*/ 497850 w 1598601"/>
                    <a:gd name="connsiteY37" fmla="*/ 1548937 h 2407727"/>
                    <a:gd name="connsiteX38" fmla="*/ 478720 w 1598601"/>
                    <a:gd name="connsiteY38" fmla="*/ 1664016 h 2407727"/>
                    <a:gd name="connsiteX39" fmla="*/ 467710 w 1598601"/>
                    <a:gd name="connsiteY39" fmla="*/ 1576167 h 2407727"/>
                    <a:gd name="connsiteX40" fmla="*/ 498617 w 1598601"/>
                    <a:gd name="connsiteY40" fmla="*/ 1495003 h 2407727"/>
                    <a:gd name="connsiteX41" fmla="*/ 564523 w 1598601"/>
                    <a:gd name="connsiteY41" fmla="*/ 1436940 h 2407727"/>
                    <a:gd name="connsiteX42" fmla="*/ 535337 w 1598601"/>
                    <a:gd name="connsiteY42" fmla="*/ 1339339 h 2407727"/>
                    <a:gd name="connsiteX43" fmla="*/ 527400 w 1598601"/>
                    <a:gd name="connsiteY43" fmla="*/ 1177249 h 2407727"/>
                    <a:gd name="connsiteX44" fmla="*/ 530804 w 1598601"/>
                    <a:gd name="connsiteY44" fmla="*/ 1124461 h 2407727"/>
                    <a:gd name="connsiteX45" fmla="*/ 527863 w 1598601"/>
                    <a:gd name="connsiteY45" fmla="*/ 1122647 h 2407727"/>
                    <a:gd name="connsiteX46" fmla="*/ 423684 w 1598601"/>
                    <a:gd name="connsiteY46" fmla="*/ 1021444 h 2407727"/>
                    <a:gd name="connsiteX47" fmla="*/ 355024 w 1598601"/>
                    <a:gd name="connsiteY47" fmla="*/ 1004643 h 2407727"/>
                    <a:gd name="connsiteX48" fmla="*/ 845073 w 1598601"/>
                    <a:gd name="connsiteY48" fmla="*/ 894417 h 2407727"/>
                    <a:gd name="connsiteX49" fmla="*/ 817384 w 1598601"/>
                    <a:gd name="connsiteY49" fmla="*/ 931881 h 2407727"/>
                    <a:gd name="connsiteX50" fmla="*/ 768170 w 1598601"/>
                    <a:gd name="connsiteY50" fmla="*/ 1167360 h 2407727"/>
                    <a:gd name="connsiteX51" fmla="*/ 753354 w 1598601"/>
                    <a:gd name="connsiteY51" fmla="*/ 1423477 h 2407727"/>
                    <a:gd name="connsiteX52" fmla="*/ 743842 w 1598601"/>
                    <a:gd name="connsiteY52" fmla="*/ 1451649 h 2407727"/>
                    <a:gd name="connsiteX53" fmla="*/ 1058685 w 1598601"/>
                    <a:gd name="connsiteY53" fmla="*/ 1689251 h 2407727"/>
                    <a:gd name="connsiteX54" fmla="*/ 1209497 w 1598601"/>
                    <a:gd name="connsiteY54" fmla="*/ 2009927 h 2407727"/>
                    <a:gd name="connsiteX55" fmla="*/ 1437465 w 1598601"/>
                    <a:gd name="connsiteY55" fmla="*/ 2138403 h 2407727"/>
                    <a:gd name="connsiteX56" fmla="*/ 1457648 w 1598601"/>
                    <a:gd name="connsiteY56" fmla="*/ 2149650 h 2407727"/>
                    <a:gd name="connsiteX57" fmla="*/ 1455193 w 1598601"/>
                    <a:gd name="connsiteY57" fmla="*/ 2112222 h 2407727"/>
                    <a:gd name="connsiteX58" fmla="*/ 1428569 w 1598601"/>
                    <a:gd name="connsiteY58" fmla="*/ 1667027 h 2407727"/>
                    <a:gd name="connsiteX59" fmla="*/ 1216373 w 1598601"/>
                    <a:gd name="connsiteY59" fmla="*/ 1247927 h 2407727"/>
                    <a:gd name="connsiteX60" fmla="*/ 1204720 w 1598601"/>
                    <a:gd name="connsiteY60" fmla="*/ 1219703 h 2407727"/>
                    <a:gd name="connsiteX61" fmla="*/ 1200946 w 1598601"/>
                    <a:gd name="connsiteY61" fmla="*/ 1220857 h 2407727"/>
                    <a:gd name="connsiteX62" fmla="*/ 1158007 w 1598601"/>
                    <a:gd name="connsiteY62" fmla="*/ 1267925 h 2407727"/>
                    <a:gd name="connsiteX63" fmla="*/ 1144365 w 1598601"/>
                    <a:gd name="connsiteY63" fmla="*/ 1357161 h 2407727"/>
                    <a:gd name="connsiteX64" fmla="*/ 1134149 w 1598601"/>
                    <a:gd name="connsiteY64" fmla="*/ 1288646 h 2407727"/>
                    <a:gd name="connsiteX65" fmla="*/ 1157796 w 1598601"/>
                    <a:gd name="connsiteY65" fmla="*/ 1225976 h 2407727"/>
                    <a:gd name="connsiteX66" fmla="*/ 1185362 w 1598601"/>
                    <a:gd name="connsiteY66" fmla="*/ 1198193 h 2407727"/>
                    <a:gd name="connsiteX67" fmla="*/ 1193758 w 1598601"/>
                    <a:gd name="connsiteY67" fmla="*/ 1193150 h 2407727"/>
                    <a:gd name="connsiteX68" fmla="*/ 1190489 w 1598601"/>
                    <a:gd name="connsiteY68" fmla="*/ 1185234 h 2407727"/>
                    <a:gd name="connsiteX69" fmla="*/ 1148111 w 1598601"/>
                    <a:gd name="connsiteY69" fmla="*/ 1059015 h 2407727"/>
                    <a:gd name="connsiteX70" fmla="*/ 1043336 w 1598601"/>
                    <a:gd name="connsiteY70" fmla="*/ 934660 h 2407727"/>
                    <a:gd name="connsiteX71" fmla="*/ 873636 w 1598601"/>
                    <a:gd name="connsiteY71" fmla="*/ 898417 h 2407727"/>
                    <a:gd name="connsiteX72" fmla="*/ 897846 w 1598601"/>
                    <a:gd name="connsiteY72" fmla="*/ 1404 h 2407727"/>
                    <a:gd name="connsiteX73" fmla="*/ 962375 w 1598601"/>
                    <a:gd name="connsiteY73" fmla="*/ 77939 h 2407727"/>
                    <a:gd name="connsiteX74" fmla="*/ 874004 w 1598601"/>
                    <a:gd name="connsiteY74" fmla="*/ 182185 h 2407727"/>
                    <a:gd name="connsiteX75" fmla="*/ 500413 w 1598601"/>
                    <a:gd name="connsiteY75" fmla="*/ 426660 h 2407727"/>
                    <a:gd name="connsiteX76" fmla="*/ 426329 w 1598601"/>
                    <a:gd name="connsiteY76" fmla="*/ 604460 h 2407727"/>
                    <a:gd name="connsiteX77" fmla="*/ 424213 w 1598601"/>
                    <a:gd name="connsiteY77" fmla="*/ 839410 h 2407727"/>
                    <a:gd name="connsiteX78" fmla="*/ 529459 w 1598601"/>
                    <a:gd name="connsiteY78" fmla="*/ 1078081 h 2407727"/>
                    <a:gd name="connsiteX79" fmla="*/ 582963 w 1598601"/>
                    <a:gd name="connsiteY79" fmla="*/ 933468 h 2407727"/>
                    <a:gd name="connsiteX80" fmla="*/ 664984 w 1598601"/>
                    <a:gd name="connsiteY80" fmla="*/ 771543 h 2407727"/>
                    <a:gd name="connsiteX81" fmla="*/ 812092 w 1598601"/>
                    <a:gd name="connsiteY81" fmla="*/ 604461 h 2407727"/>
                    <a:gd name="connsiteX82" fmla="*/ 1016350 w 1598601"/>
                    <a:gd name="connsiteY82" fmla="*/ 512781 h 2407727"/>
                    <a:gd name="connsiteX83" fmla="*/ 1207380 w 1598601"/>
                    <a:gd name="connsiteY83" fmla="*/ 505372 h 2407727"/>
                    <a:gd name="connsiteX84" fmla="*/ 1214788 w 1598601"/>
                    <a:gd name="connsiteY84" fmla="*/ 543472 h 2407727"/>
                    <a:gd name="connsiteX85" fmla="*/ 1060800 w 1598601"/>
                    <a:gd name="connsiteY85" fmla="*/ 545060 h 2407727"/>
                    <a:gd name="connsiteX86" fmla="*/ 837493 w 1598601"/>
                    <a:gd name="connsiteY86" fmla="*/ 634490 h 2407727"/>
                    <a:gd name="connsiteX87" fmla="*/ 671863 w 1598601"/>
                    <a:gd name="connsiteY87" fmla="*/ 829751 h 2407727"/>
                    <a:gd name="connsiteX88" fmla="*/ 573437 w 1598601"/>
                    <a:gd name="connsiteY88" fmla="*/ 1077932 h 2407727"/>
                    <a:gd name="connsiteX89" fmla="*/ 569734 w 1598601"/>
                    <a:gd name="connsiteY89" fmla="*/ 1334577 h 2407727"/>
                    <a:gd name="connsiteX90" fmla="*/ 603600 w 1598601"/>
                    <a:gd name="connsiteY90" fmla="*/ 1439881 h 2407727"/>
                    <a:gd name="connsiteX91" fmla="*/ 711022 w 1598601"/>
                    <a:gd name="connsiteY91" fmla="*/ 1433531 h 2407727"/>
                    <a:gd name="connsiteX92" fmla="*/ 724250 w 1598601"/>
                    <a:gd name="connsiteY92" fmla="*/ 1340397 h 2407727"/>
                    <a:gd name="connsiteX93" fmla="*/ 735892 w 1598601"/>
                    <a:gd name="connsiteY93" fmla="*/ 1150426 h 2407727"/>
                    <a:gd name="connsiteX94" fmla="*/ 783517 w 1598601"/>
                    <a:gd name="connsiteY94" fmla="*/ 917064 h 2407727"/>
                    <a:gd name="connsiteX95" fmla="*/ 923217 w 1598601"/>
                    <a:gd name="connsiteY95" fmla="*/ 775247 h 2407727"/>
                    <a:gd name="connsiteX96" fmla="*/ 1099959 w 1598601"/>
                    <a:gd name="connsiteY96" fmla="*/ 722859 h 2407727"/>
                    <a:gd name="connsiteX97" fmla="*/ 1264000 w 1598601"/>
                    <a:gd name="connsiteY97" fmla="*/ 711747 h 2407727"/>
                    <a:gd name="connsiteX98" fmla="*/ 1255534 w 1598601"/>
                    <a:gd name="connsiteY98" fmla="*/ 749847 h 2407727"/>
                    <a:gd name="connsiteX99" fmla="*/ 1092022 w 1598601"/>
                    <a:gd name="connsiteY99" fmla="*/ 762019 h 2407727"/>
                    <a:gd name="connsiteX100" fmla="*/ 946500 w 1598601"/>
                    <a:gd name="connsiteY100" fmla="*/ 804881 h 2407727"/>
                    <a:gd name="connsiteX101" fmla="*/ 869672 w 1598601"/>
                    <a:gd name="connsiteY101" fmla="*/ 863189 h 2407727"/>
                    <a:gd name="connsiteX102" fmla="*/ 905959 w 1598601"/>
                    <a:gd name="connsiteY102" fmla="*/ 872677 h 2407727"/>
                    <a:gd name="connsiteX103" fmla="*/ 992007 w 1598601"/>
                    <a:gd name="connsiteY103" fmla="*/ 883331 h 2407727"/>
                    <a:gd name="connsiteX104" fmla="*/ 1110011 w 1598601"/>
                    <a:gd name="connsiteY104" fmla="*/ 928840 h 2407727"/>
                    <a:gd name="connsiteX105" fmla="*/ 1239127 w 1598601"/>
                    <a:gd name="connsiteY105" fmla="*/ 1097114 h 2407727"/>
                    <a:gd name="connsiteX106" fmla="*/ 1299982 w 1598601"/>
                    <a:gd name="connsiteY106" fmla="*/ 1226232 h 2407727"/>
                    <a:gd name="connsiteX107" fmla="*/ 1503711 w 1598601"/>
                    <a:gd name="connsiteY107" fmla="*/ 1583419 h 2407727"/>
                    <a:gd name="connsiteX108" fmla="*/ 1597902 w 1598601"/>
                    <a:gd name="connsiteY108" fmla="*/ 2111527 h 2407727"/>
                    <a:gd name="connsiteX109" fmla="*/ 1540224 w 1598601"/>
                    <a:gd name="connsiteY109" fmla="*/ 2282977 h 2407727"/>
                    <a:gd name="connsiteX110" fmla="*/ 1484628 w 1598601"/>
                    <a:gd name="connsiteY110" fmla="*/ 2314116 h 2407727"/>
                    <a:gd name="connsiteX111" fmla="*/ 1277756 w 1598601"/>
                    <a:gd name="connsiteY111" fmla="*/ 2367644 h 2407727"/>
                    <a:gd name="connsiteX112" fmla="*/ 747532 w 1598601"/>
                    <a:gd name="connsiteY112" fmla="*/ 2402039 h 2407727"/>
                    <a:gd name="connsiteX113" fmla="*/ 395107 w 1598601"/>
                    <a:gd name="connsiteY113" fmla="*/ 2244876 h 2407727"/>
                    <a:gd name="connsiteX114" fmla="*/ 226303 w 1598601"/>
                    <a:gd name="connsiteY114" fmla="*/ 2069194 h 2407727"/>
                    <a:gd name="connsiteX115" fmla="*/ 160520 w 1598601"/>
                    <a:gd name="connsiteY115" fmla="*/ 1894171 h 2407727"/>
                    <a:gd name="connsiteX116" fmla="*/ 152959 w 1598601"/>
                    <a:gd name="connsiteY116" fmla="*/ 1798547 h 2407727"/>
                    <a:gd name="connsiteX117" fmla="*/ 146943 w 1598601"/>
                    <a:gd name="connsiteY117" fmla="*/ 1722472 h 2407727"/>
                    <a:gd name="connsiteX118" fmla="*/ 138463 w 1598601"/>
                    <a:gd name="connsiteY118" fmla="*/ 1715710 h 2407727"/>
                    <a:gd name="connsiteX119" fmla="*/ 28396 w 1598601"/>
                    <a:gd name="connsiteY119" fmla="*/ 1512510 h 2407727"/>
                    <a:gd name="connsiteX120" fmla="*/ 7229 w 1598601"/>
                    <a:gd name="connsiteY120" fmla="*/ 1233110 h 2407727"/>
                    <a:gd name="connsiteX121" fmla="*/ 132641 w 1598601"/>
                    <a:gd name="connsiteY121" fmla="*/ 1023560 h 2407727"/>
                    <a:gd name="connsiteX122" fmla="*/ 191379 w 1598601"/>
                    <a:gd name="connsiteY122" fmla="*/ 783847 h 2407727"/>
                    <a:gd name="connsiteX123" fmla="*/ 195613 w 1598601"/>
                    <a:gd name="connsiteY123" fmla="*/ 441477 h 2407727"/>
                    <a:gd name="connsiteX124" fmla="*/ 185029 w 1598601"/>
                    <a:gd name="connsiteY124" fmla="*/ 267910 h 2407727"/>
                    <a:gd name="connsiteX125" fmla="*/ 142696 w 1598601"/>
                    <a:gd name="connsiteY125" fmla="*/ 128210 h 2407727"/>
                    <a:gd name="connsiteX126" fmla="*/ 297213 w 1598601"/>
                    <a:gd name="connsiteY126" fmla="*/ 73177 h 2407727"/>
                    <a:gd name="connsiteX127" fmla="*/ 352246 w 1598601"/>
                    <a:gd name="connsiteY127" fmla="*/ 221344 h 2407727"/>
                    <a:gd name="connsiteX128" fmla="*/ 441146 w 1598601"/>
                    <a:gd name="connsiteY128" fmla="*/ 263677 h 2407727"/>
                    <a:gd name="connsiteX129" fmla="*/ 843313 w 1598601"/>
                    <a:gd name="connsiteY129" fmla="*/ 7560 h 2407727"/>
                    <a:gd name="connsiteX130" fmla="*/ 897846 w 1598601"/>
                    <a:gd name="connsiteY130" fmla="*/ 1404 h 2407727"/>
                    <a:gd name="connsiteX0" fmla="*/ 1043608 w 1598601"/>
                    <a:gd name="connsiteY0" fmla="*/ 1286759 h 2407727"/>
                    <a:gd name="connsiteX1" fmla="*/ 1101811 w 1598601"/>
                    <a:gd name="connsiteY1" fmla="*/ 1309408 h 2407727"/>
                    <a:gd name="connsiteX2" fmla="*/ 1142465 w 1598601"/>
                    <a:gd name="connsiteY2" fmla="*/ 1361159 h 2407727"/>
                    <a:gd name="connsiteX3" fmla="*/ 1072349 w 1598601"/>
                    <a:gd name="connsiteY3" fmla="*/ 1313921 h 2407727"/>
                    <a:gd name="connsiteX4" fmla="*/ 1012601 w 1598601"/>
                    <a:gd name="connsiteY4" fmla="*/ 1315752 h 2407727"/>
                    <a:gd name="connsiteX5" fmla="*/ 985196 w 1598601"/>
                    <a:gd name="connsiteY5" fmla="*/ 1333403 h 2407727"/>
                    <a:gd name="connsiteX6" fmla="*/ 978371 w 1598601"/>
                    <a:gd name="connsiteY6" fmla="*/ 1299330 h 2407727"/>
                    <a:gd name="connsiteX7" fmla="*/ 1043608 w 1598601"/>
                    <a:gd name="connsiteY7" fmla="*/ 1286759 h 2407727"/>
                    <a:gd name="connsiteX8" fmla="*/ 355024 w 1598601"/>
                    <a:gd name="connsiteY8" fmla="*/ 1004643 h 2407727"/>
                    <a:gd name="connsiteX9" fmla="*/ 284512 w 1598601"/>
                    <a:gd name="connsiteY9" fmla="*/ 1008744 h 2407727"/>
                    <a:gd name="connsiteX10" fmla="*/ 153279 w 1598601"/>
                    <a:gd name="connsiteY10" fmla="*/ 1074360 h 2407727"/>
                    <a:gd name="connsiteX11" fmla="*/ 45329 w 1598601"/>
                    <a:gd name="connsiteY11" fmla="*/ 1251632 h 2407727"/>
                    <a:gd name="connsiteX12" fmla="*/ 81313 w 1598601"/>
                    <a:gd name="connsiteY12" fmla="*/ 1510394 h 2407727"/>
                    <a:gd name="connsiteX13" fmla="*/ 163333 w 1598601"/>
                    <a:gd name="connsiteY13" fmla="*/ 1626810 h 2407727"/>
                    <a:gd name="connsiteX14" fmla="*/ 189754 w 1598601"/>
                    <a:gd name="connsiteY14" fmla="*/ 1656641 h 2407727"/>
                    <a:gd name="connsiteX15" fmla="*/ 192119 w 1598601"/>
                    <a:gd name="connsiteY15" fmla="*/ 1661321 h 2407727"/>
                    <a:gd name="connsiteX16" fmla="*/ 273929 w 1598601"/>
                    <a:gd name="connsiteY16" fmla="*/ 1631574 h 2407727"/>
                    <a:gd name="connsiteX17" fmla="*/ 373942 w 1598601"/>
                    <a:gd name="connsiteY17" fmla="*/ 1636338 h 2407727"/>
                    <a:gd name="connsiteX18" fmla="*/ 461254 w 1598601"/>
                    <a:gd name="connsiteY18" fmla="*/ 1680786 h 2407727"/>
                    <a:gd name="connsiteX19" fmla="*/ 331079 w 1598601"/>
                    <a:gd name="connsiteY19" fmla="*/ 1652211 h 2407727"/>
                    <a:gd name="connsiteX20" fmla="*/ 240591 w 1598601"/>
                    <a:gd name="connsiteY20" fmla="*/ 1676024 h 2407727"/>
                    <a:gd name="connsiteX21" fmla="*/ 208345 w 1598601"/>
                    <a:gd name="connsiteY21" fmla="*/ 1749054 h 2407727"/>
                    <a:gd name="connsiteX22" fmla="*/ 235299 w 1598601"/>
                    <a:gd name="connsiteY22" fmla="*/ 1903035 h 2407727"/>
                    <a:gd name="connsiteX23" fmla="*/ 378173 w 1598601"/>
                    <a:gd name="connsiteY23" fmla="*/ 2101473 h 2407727"/>
                    <a:gd name="connsiteX24" fmla="*/ 699377 w 1598601"/>
                    <a:gd name="connsiteY24" fmla="*/ 2250697 h 2407727"/>
                    <a:gd name="connsiteX25" fmla="*/ 1262411 w 1598601"/>
                    <a:gd name="connsiteY25" fmla="*/ 2225298 h 2407727"/>
                    <a:gd name="connsiteX26" fmla="*/ 1292048 w 1598601"/>
                    <a:gd name="connsiteY26" fmla="*/ 2223295 h 2407727"/>
                    <a:gd name="connsiteX27" fmla="*/ 1272104 w 1598601"/>
                    <a:gd name="connsiteY27" fmla="*/ 2212035 h 2407727"/>
                    <a:gd name="connsiteX28" fmla="*/ 1198385 w 1598601"/>
                    <a:gd name="connsiteY28" fmla="*/ 2135339 h 2407727"/>
                    <a:gd name="connsiteX29" fmla="*/ 1093610 w 1598601"/>
                    <a:gd name="connsiteY29" fmla="*/ 1860701 h 2407727"/>
                    <a:gd name="connsiteX30" fmla="*/ 998360 w 1598601"/>
                    <a:gd name="connsiteY30" fmla="*/ 1684489 h 2407727"/>
                    <a:gd name="connsiteX31" fmla="*/ 734864 w 1598601"/>
                    <a:gd name="connsiteY31" fmla="*/ 1461065 h 2407727"/>
                    <a:gd name="connsiteX32" fmla="*/ 712081 w 1598601"/>
                    <a:gd name="connsiteY32" fmla="*/ 1472825 h 2407727"/>
                    <a:gd name="connsiteX33" fmla="*/ 680859 w 1598601"/>
                    <a:gd name="connsiteY33" fmla="*/ 1465279 h 2407727"/>
                    <a:gd name="connsiteX34" fmla="*/ 640644 w 1598601"/>
                    <a:gd name="connsiteY34" fmla="*/ 1466474 h 2407727"/>
                    <a:gd name="connsiteX35" fmla="*/ 591429 w 1598601"/>
                    <a:gd name="connsiteY35" fmla="*/ 1471632 h 2407727"/>
                    <a:gd name="connsiteX36" fmla="*/ 552334 w 1598601"/>
                    <a:gd name="connsiteY36" fmla="*/ 1487363 h 2407727"/>
                    <a:gd name="connsiteX37" fmla="*/ 497850 w 1598601"/>
                    <a:gd name="connsiteY37" fmla="*/ 1548937 h 2407727"/>
                    <a:gd name="connsiteX38" fmla="*/ 478720 w 1598601"/>
                    <a:gd name="connsiteY38" fmla="*/ 1664016 h 2407727"/>
                    <a:gd name="connsiteX39" fmla="*/ 467710 w 1598601"/>
                    <a:gd name="connsiteY39" fmla="*/ 1576167 h 2407727"/>
                    <a:gd name="connsiteX40" fmla="*/ 498617 w 1598601"/>
                    <a:gd name="connsiteY40" fmla="*/ 1495003 h 2407727"/>
                    <a:gd name="connsiteX41" fmla="*/ 564523 w 1598601"/>
                    <a:gd name="connsiteY41" fmla="*/ 1436940 h 2407727"/>
                    <a:gd name="connsiteX42" fmla="*/ 535337 w 1598601"/>
                    <a:gd name="connsiteY42" fmla="*/ 1339339 h 2407727"/>
                    <a:gd name="connsiteX43" fmla="*/ 527400 w 1598601"/>
                    <a:gd name="connsiteY43" fmla="*/ 1177249 h 2407727"/>
                    <a:gd name="connsiteX44" fmla="*/ 530804 w 1598601"/>
                    <a:gd name="connsiteY44" fmla="*/ 1124461 h 2407727"/>
                    <a:gd name="connsiteX45" fmla="*/ 527863 w 1598601"/>
                    <a:gd name="connsiteY45" fmla="*/ 1122647 h 2407727"/>
                    <a:gd name="connsiteX46" fmla="*/ 423684 w 1598601"/>
                    <a:gd name="connsiteY46" fmla="*/ 1021444 h 2407727"/>
                    <a:gd name="connsiteX47" fmla="*/ 355024 w 1598601"/>
                    <a:gd name="connsiteY47" fmla="*/ 1004643 h 2407727"/>
                    <a:gd name="connsiteX48" fmla="*/ 845073 w 1598601"/>
                    <a:gd name="connsiteY48" fmla="*/ 894417 h 2407727"/>
                    <a:gd name="connsiteX49" fmla="*/ 817384 w 1598601"/>
                    <a:gd name="connsiteY49" fmla="*/ 931881 h 2407727"/>
                    <a:gd name="connsiteX50" fmla="*/ 768170 w 1598601"/>
                    <a:gd name="connsiteY50" fmla="*/ 1167360 h 2407727"/>
                    <a:gd name="connsiteX51" fmla="*/ 753354 w 1598601"/>
                    <a:gd name="connsiteY51" fmla="*/ 1423477 h 2407727"/>
                    <a:gd name="connsiteX52" fmla="*/ 743842 w 1598601"/>
                    <a:gd name="connsiteY52" fmla="*/ 1451649 h 2407727"/>
                    <a:gd name="connsiteX53" fmla="*/ 1058685 w 1598601"/>
                    <a:gd name="connsiteY53" fmla="*/ 1689251 h 2407727"/>
                    <a:gd name="connsiteX54" fmla="*/ 1209497 w 1598601"/>
                    <a:gd name="connsiteY54" fmla="*/ 2009927 h 2407727"/>
                    <a:gd name="connsiteX55" fmla="*/ 1367823 w 1598601"/>
                    <a:gd name="connsiteY55" fmla="*/ 2134157 h 2407727"/>
                    <a:gd name="connsiteX56" fmla="*/ 1457648 w 1598601"/>
                    <a:gd name="connsiteY56" fmla="*/ 2149650 h 2407727"/>
                    <a:gd name="connsiteX57" fmla="*/ 1455193 w 1598601"/>
                    <a:gd name="connsiteY57" fmla="*/ 2112222 h 2407727"/>
                    <a:gd name="connsiteX58" fmla="*/ 1428569 w 1598601"/>
                    <a:gd name="connsiteY58" fmla="*/ 1667027 h 2407727"/>
                    <a:gd name="connsiteX59" fmla="*/ 1216373 w 1598601"/>
                    <a:gd name="connsiteY59" fmla="*/ 1247927 h 2407727"/>
                    <a:gd name="connsiteX60" fmla="*/ 1204720 w 1598601"/>
                    <a:gd name="connsiteY60" fmla="*/ 1219703 h 2407727"/>
                    <a:gd name="connsiteX61" fmla="*/ 1200946 w 1598601"/>
                    <a:gd name="connsiteY61" fmla="*/ 1220857 h 2407727"/>
                    <a:gd name="connsiteX62" fmla="*/ 1158007 w 1598601"/>
                    <a:gd name="connsiteY62" fmla="*/ 1267925 h 2407727"/>
                    <a:gd name="connsiteX63" fmla="*/ 1144365 w 1598601"/>
                    <a:gd name="connsiteY63" fmla="*/ 1357161 h 2407727"/>
                    <a:gd name="connsiteX64" fmla="*/ 1134149 w 1598601"/>
                    <a:gd name="connsiteY64" fmla="*/ 1288646 h 2407727"/>
                    <a:gd name="connsiteX65" fmla="*/ 1157796 w 1598601"/>
                    <a:gd name="connsiteY65" fmla="*/ 1225976 h 2407727"/>
                    <a:gd name="connsiteX66" fmla="*/ 1185362 w 1598601"/>
                    <a:gd name="connsiteY66" fmla="*/ 1198193 h 2407727"/>
                    <a:gd name="connsiteX67" fmla="*/ 1193758 w 1598601"/>
                    <a:gd name="connsiteY67" fmla="*/ 1193150 h 2407727"/>
                    <a:gd name="connsiteX68" fmla="*/ 1190489 w 1598601"/>
                    <a:gd name="connsiteY68" fmla="*/ 1185234 h 2407727"/>
                    <a:gd name="connsiteX69" fmla="*/ 1148111 w 1598601"/>
                    <a:gd name="connsiteY69" fmla="*/ 1059015 h 2407727"/>
                    <a:gd name="connsiteX70" fmla="*/ 1043336 w 1598601"/>
                    <a:gd name="connsiteY70" fmla="*/ 934660 h 2407727"/>
                    <a:gd name="connsiteX71" fmla="*/ 873636 w 1598601"/>
                    <a:gd name="connsiteY71" fmla="*/ 898417 h 2407727"/>
                    <a:gd name="connsiteX72" fmla="*/ 845073 w 1598601"/>
                    <a:gd name="connsiteY72" fmla="*/ 894417 h 2407727"/>
                    <a:gd name="connsiteX73" fmla="*/ 897846 w 1598601"/>
                    <a:gd name="connsiteY73" fmla="*/ 1404 h 2407727"/>
                    <a:gd name="connsiteX74" fmla="*/ 962375 w 1598601"/>
                    <a:gd name="connsiteY74" fmla="*/ 77939 h 2407727"/>
                    <a:gd name="connsiteX75" fmla="*/ 874004 w 1598601"/>
                    <a:gd name="connsiteY75" fmla="*/ 182185 h 2407727"/>
                    <a:gd name="connsiteX76" fmla="*/ 500413 w 1598601"/>
                    <a:gd name="connsiteY76" fmla="*/ 426660 h 2407727"/>
                    <a:gd name="connsiteX77" fmla="*/ 426329 w 1598601"/>
                    <a:gd name="connsiteY77" fmla="*/ 604460 h 2407727"/>
                    <a:gd name="connsiteX78" fmla="*/ 424213 w 1598601"/>
                    <a:gd name="connsiteY78" fmla="*/ 839410 h 2407727"/>
                    <a:gd name="connsiteX79" fmla="*/ 529459 w 1598601"/>
                    <a:gd name="connsiteY79" fmla="*/ 1078081 h 2407727"/>
                    <a:gd name="connsiteX80" fmla="*/ 582963 w 1598601"/>
                    <a:gd name="connsiteY80" fmla="*/ 933468 h 2407727"/>
                    <a:gd name="connsiteX81" fmla="*/ 664984 w 1598601"/>
                    <a:gd name="connsiteY81" fmla="*/ 771543 h 2407727"/>
                    <a:gd name="connsiteX82" fmla="*/ 812092 w 1598601"/>
                    <a:gd name="connsiteY82" fmla="*/ 604461 h 2407727"/>
                    <a:gd name="connsiteX83" fmla="*/ 1016350 w 1598601"/>
                    <a:gd name="connsiteY83" fmla="*/ 512781 h 2407727"/>
                    <a:gd name="connsiteX84" fmla="*/ 1207380 w 1598601"/>
                    <a:gd name="connsiteY84" fmla="*/ 505372 h 2407727"/>
                    <a:gd name="connsiteX85" fmla="*/ 1214788 w 1598601"/>
                    <a:gd name="connsiteY85" fmla="*/ 543472 h 2407727"/>
                    <a:gd name="connsiteX86" fmla="*/ 1060800 w 1598601"/>
                    <a:gd name="connsiteY86" fmla="*/ 545060 h 2407727"/>
                    <a:gd name="connsiteX87" fmla="*/ 837493 w 1598601"/>
                    <a:gd name="connsiteY87" fmla="*/ 634490 h 2407727"/>
                    <a:gd name="connsiteX88" fmla="*/ 671863 w 1598601"/>
                    <a:gd name="connsiteY88" fmla="*/ 829751 h 2407727"/>
                    <a:gd name="connsiteX89" fmla="*/ 573437 w 1598601"/>
                    <a:gd name="connsiteY89" fmla="*/ 1077932 h 2407727"/>
                    <a:gd name="connsiteX90" fmla="*/ 569734 w 1598601"/>
                    <a:gd name="connsiteY90" fmla="*/ 1334577 h 2407727"/>
                    <a:gd name="connsiteX91" fmla="*/ 603600 w 1598601"/>
                    <a:gd name="connsiteY91" fmla="*/ 1439881 h 2407727"/>
                    <a:gd name="connsiteX92" fmla="*/ 711022 w 1598601"/>
                    <a:gd name="connsiteY92" fmla="*/ 1433531 h 2407727"/>
                    <a:gd name="connsiteX93" fmla="*/ 724250 w 1598601"/>
                    <a:gd name="connsiteY93" fmla="*/ 1340397 h 2407727"/>
                    <a:gd name="connsiteX94" fmla="*/ 735892 w 1598601"/>
                    <a:gd name="connsiteY94" fmla="*/ 1150426 h 2407727"/>
                    <a:gd name="connsiteX95" fmla="*/ 783517 w 1598601"/>
                    <a:gd name="connsiteY95" fmla="*/ 917064 h 2407727"/>
                    <a:gd name="connsiteX96" fmla="*/ 923217 w 1598601"/>
                    <a:gd name="connsiteY96" fmla="*/ 775247 h 2407727"/>
                    <a:gd name="connsiteX97" fmla="*/ 1099959 w 1598601"/>
                    <a:gd name="connsiteY97" fmla="*/ 722859 h 2407727"/>
                    <a:gd name="connsiteX98" fmla="*/ 1264000 w 1598601"/>
                    <a:gd name="connsiteY98" fmla="*/ 711747 h 2407727"/>
                    <a:gd name="connsiteX99" fmla="*/ 1255534 w 1598601"/>
                    <a:gd name="connsiteY99" fmla="*/ 749847 h 2407727"/>
                    <a:gd name="connsiteX100" fmla="*/ 1092022 w 1598601"/>
                    <a:gd name="connsiteY100" fmla="*/ 762019 h 2407727"/>
                    <a:gd name="connsiteX101" fmla="*/ 946500 w 1598601"/>
                    <a:gd name="connsiteY101" fmla="*/ 804881 h 2407727"/>
                    <a:gd name="connsiteX102" fmla="*/ 869672 w 1598601"/>
                    <a:gd name="connsiteY102" fmla="*/ 863189 h 2407727"/>
                    <a:gd name="connsiteX103" fmla="*/ 905959 w 1598601"/>
                    <a:gd name="connsiteY103" fmla="*/ 872677 h 2407727"/>
                    <a:gd name="connsiteX104" fmla="*/ 992007 w 1598601"/>
                    <a:gd name="connsiteY104" fmla="*/ 883331 h 2407727"/>
                    <a:gd name="connsiteX105" fmla="*/ 1110011 w 1598601"/>
                    <a:gd name="connsiteY105" fmla="*/ 928840 h 2407727"/>
                    <a:gd name="connsiteX106" fmla="*/ 1239127 w 1598601"/>
                    <a:gd name="connsiteY106" fmla="*/ 1097114 h 2407727"/>
                    <a:gd name="connsiteX107" fmla="*/ 1299982 w 1598601"/>
                    <a:gd name="connsiteY107" fmla="*/ 1226232 h 2407727"/>
                    <a:gd name="connsiteX108" fmla="*/ 1503711 w 1598601"/>
                    <a:gd name="connsiteY108" fmla="*/ 1583419 h 2407727"/>
                    <a:gd name="connsiteX109" fmla="*/ 1597902 w 1598601"/>
                    <a:gd name="connsiteY109" fmla="*/ 2111527 h 2407727"/>
                    <a:gd name="connsiteX110" fmla="*/ 1540224 w 1598601"/>
                    <a:gd name="connsiteY110" fmla="*/ 2282977 h 2407727"/>
                    <a:gd name="connsiteX111" fmla="*/ 1484628 w 1598601"/>
                    <a:gd name="connsiteY111" fmla="*/ 2314116 h 2407727"/>
                    <a:gd name="connsiteX112" fmla="*/ 1277756 w 1598601"/>
                    <a:gd name="connsiteY112" fmla="*/ 2367644 h 2407727"/>
                    <a:gd name="connsiteX113" fmla="*/ 747532 w 1598601"/>
                    <a:gd name="connsiteY113" fmla="*/ 2402039 h 2407727"/>
                    <a:gd name="connsiteX114" fmla="*/ 395107 w 1598601"/>
                    <a:gd name="connsiteY114" fmla="*/ 2244876 h 2407727"/>
                    <a:gd name="connsiteX115" fmla="*/ 226303 w 1598601"/>
                    <a:gd name="connsiteY115" fmla="*/ 2069194 h 2407727"/>
                    <a:gd name="connsiteX116" fmla="*/ 160520 w 1598601"/>
                    <a:gd name="connsiteY116" fmla="*/ 1894171 h 2407727"/>
                    <a:gd name="connsiteX117" fmla="*/ 152959 w 1598601"/>
                    <a:gd name="connsiteY117" fmla="*/ 1798547 h 2407727"/>
                    <a:gd name="connsiteX118" fmla="*/ 146943 w 1598601"/>
                    <a:gd name="connsiteY118" fmla="*/ 1722472 h 2407727"/>
                    <a:gd name="connsiteX119" fmla="*/ 138463 w 1598601"/>
                    <a:gd name="connsiteY119" fmla="*/ 1715710 h 2407727"/>
                    <a:gd name="connsiteX120" fmla="*/ 28396 w 1598601"/>
                    <a:gd name="connsiteY120" fmla="*/ 1512510 h 2407727"/>
                    <a:gd name="connsiteX121" fmla="*/ 7229 w 1598601"/>
                    <a:gd name="connsiteY121" fmla="*/ 1233110 h 2407727"/>
                    <a:gd name="connsiteX122" fmla="*/ 132641 w 1598601"/>
                    <a:gd name="connsiteY122" fmla="*/ 1023560 h 2407727"/>
                    <a:gd name="connsiteX123" fmla="*/ 191379 w 1598601"/>
                    <a:gd name="connsiteY123" fmla="*/ 783847 h 2407727"/>
                    <a:gd name="connsiteX124" fmla="*/ 195613 w 1598601"/>
                    <a:gd name="connsiteY124" fmla="*/ 441477 h 2407727"/>
                    <a:gd name="connsiteX125" fmla="*/ 185029 w 1598601"/>
                    <a:gd name="connsiteY125" fmla="*/ 267910 h 2407727"/>
                    <a:gd name="connsiteX126" fmla="*/ 142696 w 1598601"/>
                    <a:gd name="connsiteY126" fmla="*/ 128210 h 2407727"/>
                    <a:gd name="connsiteX127" fmla="*/ 297213 w 1598601"/>
                    <a:gd name="connsiteY127" fmla="*/ 73177 h 2407727"/>
                    <a:gd name="connsiteX128" fmla="*/ 352246 w 1598601"/>
                    <a:gd name="connsiteY128" fmla="*/ 221344 h 2407727"/>
                    <a:gd name="connsiteX129" fmla="*/ 441146 w 1598601"/>
                    <a:gd name="connsiteY129" fmla="*/ 263677 h 2407727"/>
                    <a:gd name="connsiteX130" fmla="*/ 843313 w 1598601"/>
                    <a:gd name="connsiteY130" fmla="*/ 7560 h 2407727"/>
                    <a:gd name="connsiteX131" fmla="*/ 897846 w 1598601"/>
                    <a:gd name="connsiteY131" fmla="*/ 1404 h 2407727"/>
                    <a:gd name="connsiteX0" fmla="*/ 1043608 w 1598601"/>
                    <a:gd name="connsiteY0" fmla="*/ 1286759 h 2407727"/>
                    <a:gd name="connsiteX1" fmla="*/ 1101811 w 1598601"/>
                    <a:gd name="connsiteY1" fmla="*/ 1309408 h 2407727"/>
                    <a:gd name="connsiteX2" fmla="*/ 1142465 w 1598601"/>
                    <a:gd name="connsiteY2" fmla="*/ 1361159 h 2407727"/>
                    <a:gd name="connsiteX3" fmla="*/ 1072349 w 1598601"/>
                    <a:gd name="connsiteY3" fmla="*/ 1313921 h 2407727"/>
                    <a:gd name="connsiteX4" fmla="*/ 1012601 w 1598601"/>
                    <a:gd name="connsiteY4" fmla="*/ 1315752 h 2407727"/>
                    <a:gd name="connsiteX5" fmla="*/ 985196 w 1598601"/>
                    <a:gd name="connsiteY5" fmla="*/ 1333403 h 2407727"/>
                    <a:gd name="connsiteX6" fmla="*/ 978371 w 1598601"/>
                    <a:gd name="connsiteY6" fmla="*/ 1299330 h 2407727"/>
                    <a:gd name="connsiteX7" fmla="*/ 1043608 w 1598601"/>
                    <a:gd name="connsiteY7" fmla="*/ 1286759 h 2407727"/>
                    <a:gd name="connsiteX8" fmla="*/ 355024 w 1598601"/>
                    <a:gd name="connsiteY8" fmla="*/ 1004643 h 2407727"/>
                    <a:gd name="connsiteX9" fmla="*/ 284512 w 1598601"/>
                    <a:gd name="connsiteY9" fmla="*/ 1008744 h 2407727"/>
                    <a:gd name="connsiteX10" fmla="*/ 153279 w 1598601"/>
                    <a:gd name="connsiteY10" fmla="*/ 1074360 h 2407727"/>
                    <a:gd name="connsiteX11" fmla="*/ 45329 w 1598601"/>
                    <a:gd name="connsiteY11" fmla="*/ 1251632 h 2407727"/>
                    <a:gd name="connsiteX12" fmla="*/ 81313 w 1598601"/>
                    <a:gd name="connsiteY12" fmla="*/ 1510394 h 2407727"/>
                    <a:gd name="connsiteX13" fmla="*/ 163333 w 1598601"/>
                    <a:gd name="connsiteY13" fmla="*/ 1626810 h 2407727"/>
                    <a:gd name="connsiteX14" fmla="*/ 189754 w 1598601"/>
                    <a:gd name="connsiteY14" fmla="*/ 1656641 h 2407727"/>
                    <a:gd name="connsiteX15" fmla="*/ 192119 w 1598601"/>
                    <a:gd name="connsiteY15" fmla="*/ 1661321 h 2407727"/>
                    <a:gd name="connsiteX16" fmla="*/ 273929 w 1598601"/>
                    <a:gd name="connsiteY16" fmla="*/ 1631574 h 2407727"/>
                    <a:gd name="connsiteX17" fmla="*/ 373942 w 1598601"/>
                    <a:gd name="connsiteY17" fmla="*/ 1636338 h 2407727"/>
                    <a:gd name="connsiteX18" fmla="*/ 461254 w 1598601"/>
                    <a:gd name="connsiteY18" fmla="*/ 1680786 h 2407727"/>
                    <a:gd name="connsiteX19" fmla="*/ 331079 w 1598601"/>
                    <a:gd name="connsiteY19" fmla="*/ 1652211 h 2407727"/>
                    <a:gd name="connsiteX20" fmla="*/ 240591 w 1598601"/>
                    <a:gd name="connsiteY20" fmla="*/ 1676024 h 2407727"/>
                    <a:gd name="connsiteX21" fmla="*/ 208345 w 1598601"/>
                    <a:gd name="connsiteY21" fmla="*/ 1749054 h 2407727"/>
                    <a:gd name="connsiteX22" fmla="*/ 235299 w 1598601"/>
                    <a:gd name="connsiteY22" fmla="*/ 1903035 h 2407727"/>
                    <a:gd name="connsiteX23" fmla="*/ 378173 w 1598601"/>
                    <a:gd name="connsiteY23" fmla="*/ 2101473 h 2407727"/>
                    <a:gd name="connsiteX24" fmla="*/ 699377 w 1598601"/>
                    <a:gd name="connsiteY24" fmla="*/ 2250697 h 2407727"/>
                    <a:gd name="connsiteX25" fmla="*/ 1262411 w 1598601"/>
                    <a:gd name="connsiteY25" fmla="*/ 2225298 h 2407727"/>
                    <a:gd name="connsiteX26" fmla="*/ 1292048 w 1598601"/>
                    <a:gd name="connsiteY26" fmla="*/ 2223295 h 2407727"/>
                    <a:gd name="connsiteX27" fmla="*/ 1272104 w 1598601"/>
                    <a:gd name="connsiteY27" fmla="*/ 2212035 h 2407727"/>
                    <a:gd name="connsiteX28" fmla="*/ 1198385 w 1598601"/>
                    <a:gd name="connsiteY28" fmla="*/ 2135339 h 2407727"/>
                    <a:gd name="connsiteX29" fmla="*/ 1093610 w 1598601"/>
                    <a:gd name="connsiteY29" fmla="*/ 1860701 h 2407727"/>
                    <a:gd name="connsiteX30" fmla="*/ 998360 w 1598601"/>
                    <a:gd name="connsiteY30" fmla="*/ 1684489 h 2407727"/>
                    <a:gd name="connsiteX31" fmla="*/ 734864 w 1598601"/>
                    <a:gd name="connsiteY31" fmla="*/ 1461065 h 2407727"/>
                    <a:gd name="connsiteX32" fmla="*/ 712081 w 1598601"/>
                    <a:gd name="connsiteY32" fmla="*/ 1472825 h 2407727"/>
                    <a:gd name="connsiteX33" fmla="*/ 680859 w 1598601"/>
                    <a:gd name="connsiteY33" fmla="*/ 1465279 h 2407727"/>
                    <a:gd name="connsiteX34" fmla="*/ 640644 w 1598601"/>
                    <a:gd name="connsiteY34" fmla="*/ 1466474 h 2407727"/>
                    <a:gd name="connsiteX35" fmla="*/ 591429 w 1598601"/>
                    <a:gd name="connsiteY35" fmla="*/ 1471632 h 2407727"/>
                    <a:gd name="connsiteX36" fmla="*/ 552334 w 1598601"/>
                    <a:gd name="connsiteY36" fmla="*/ 1487363 h 2407727"/>
                    <a:gd name="connsiteX37" fmla="*/ 497850 w 1598601"/>
                    <a:gd name="connsiteY37" fmla="*/ 1548937 h 2407727"/>
                    <a:gd name="connsiteX38" fmla="*/ 478720 w 1598601"/>
                    <a:gd name="connsiteY38" fmla="*/ 1664016 h 2407727"/>
                    <a:gd name="connsiteX39" fmla="*/ 467710 w 1598601"/>
                    <a:gd name="connsiteY39" fmla="*/ 1576167 h 2407727"/>
                    <a:gd name="connsiteX40" fmla="*/ 498617 w 1598601"/>
                    <a:gd name="connsiteY40" fmla="*/ 1495003 h 2407727"/>
                    <a:gd name="connsiteX41" fmla="*/ 564523 w 1598601"/>
                    <a:gd name="connsiteY41" fmla="*/ 1436940 h 2407727"/>
                    <a:gd name="connsiteX42" fmla="*/ 535337 w 1598601"/>
                    <a:gd name="connsiteY42" fmla="*/ 1339339 h 2407727"/>
                    <a:gd name="connsiteX43" fmla="*/ 527400 w 1598601"/>
                    <a:gd name="connsiteY43" fmla="*/ 1177249 h 2407727"/>
                    <a:gd name="connsiteX44" fmla="*/ 530804 w 1598601"/>
                    <a:gd name="connsiteY44" fmla="*/ 1124461 h 2407727"/>
                    <a:gd name="connsiteX45" fmla="*/ 527863 w 1598601"/>
                    <a:gd name="connsiteY45" fmla="*/ 1122647 h 2407727"/>
                    <a:gd name="connsiteX46" fmla="*/ 423684 w 1598601"/>
                    <a:gd name="connsiteY46" fmla="*/ 1021444 h 2407727"/>
                    <a:gd name="connsiteX47" fmla="*/ 355024 w 1598601"/>
                    <a:gd name="connsiteY47" fmla="*/ 1004643 h 2407727"/>
                    <a:gd name="connsiteX48" fmla="*/ 845073 w 1598601"/>
                    <a:gd name="connsiteY48" fmla="*/ 894417 h 2407727"/>
                    <a:gd name="connsiteX49" fmla="*/ 817384 w 1598601"/>
                    <a:gd name="connsiteY49" fmla="*/ 931881 h 2407727"/>
                    <a:gd name="connsiteX50" fmla="*/ 768170 w 1598601"/>
                    <a:gd name="connsiteY50" fmla="*/ 1167360 h 2407727"/>
                    <a:gd name="connsiteX51" fmla="*/ 753354 w 1598601"/>
                    <a:gd name="connsiteY51" fmla="*/ 1423477 h 2407727"/>
                    <a:gd name="connsiteX52" fmla="*/ 743842 w 1598601"/>
                    <a:gd name="connsiteY52" fmla="*/ 1451649 h 2407727"/>
                    <a:gd name="connsiteX53" fmla="*/ 1058685 w 1598601"/>
                    <a:gd name="connsiteY53" fmla="*/ 1689251 h 2407727"/>
                    <a:gd name="connsiteX54" fmla="*/ 1209497 w 1598601"/>
                    <a:gd name="connsiteY54" fmla="*/ 2009927 h 2407727"/>
                    <a:gd name="connsiteX55" fmla="*/ 1340389 w 1598601"/>
                    <a:gd name="connsiteY55" fmla="*/ 2119294 h 2407727"/>
                    <a:gd name="connsiteX56" fmla="*/ 1457648 w 1598601"/>
                    <a:gd name="connsiteY56" fmla="*/ 2149650 h 2407727"/>
                    <a:gd name="connsiteX57" fmla="*/ 1455193 w 1598601"/>
                    <a:gd name="connsiteY57" fmla="*/ 2112222 h 2407727"/>
                    <a:gd name="connsiteX58" fmla="*/ 1428569 w 1598601"/>
                    <a:gd name="connsiteY58" fmla="*/ 1667027 h 2407727"/>
                    <a:gd name="connsiteX59" fmla="*/ 1216373 w 1598601"/>
                    <a:gd name="connsiteY59" fmla="*/ 1247927 h 2407727"/>
                    <a:gd name="connsiteX60" fmla="*/ 1204720 w 1598601"/>
                    <a:gd name="connsiteY60" fmla="*/ 1219703 h 2407727"/>
                    <a:gd name="connsiteX61" fmla="*/ 1200946 w 1598601"/>
                    <a:gd name="connsiteY61" fmla="*/ 1220857 h 2407727"/>
                    <a:gd name="connsiteX62" fmla="*/ 1158007 w 1598601"/>
                    <a:gd name="connsiteY62" fmla="*/ 1267925 h 2407727"/>
                    <a:gd name="connsiteX63" fmla="*/ 1144365 w 1598601"/>
                    <a:gd name="connsiteY63" fmla="*/ 1357161 h 2407727"/>
                    <a:gd name="connsiteX64" fmla="*/ 1134149 w 1598601"/>
                    <a:gd name="connsiteY64" fmla="*/ 1288646 h 2407727"/>
                    <a:gd name="connsiteX65" fmla="*/ 1157796 w 1598601"/>
                    <a:gd name="connsiteY65" fmla="*/ 1225976 h 2407727"/>
                    <a:gd name="connsiteX66" fmla="*/ 1185362 w 1598601"/>
                    <a:gd name="connsiteY66" fmla="*/ 1198193 h 2407727"/>
                    <a:gd name="connsiteX67" fmla="*/ 1193758 w 1598601"/>
                    <a:gd name="connsiteY67" fmla="*/ 1193150 h 2407727"/>
                    <a:gd name="connsiteX68" fmla="*/ 1190489 w 1598601"/>
                    <a:gd name="connsiteY68" fmla="*/ 1185234 h 2407727"/>
                    <a:gd name="connsiteX69" fmla="*/ 1148111 w 1598601"/>
                    <a:gd name="connsiteY69" fmla="*/ 1059015 h 2407727"/>
                    <a:gd name="connsiteX70" fmla="*/ 1043336 w 1598601"/>
                    <a:gd name="connsiteY70" fmla="*/ 934660 h 2407727"/>
                    <a:gd name="connsiteX71" fmla="*/ 873636 w 1598601"/>
                    <a:gd name="connsiteY71" fmla="*/ 898417 h 2407727"/>
                    <a:gd name="connsiteX72" fmla="*/ 845073 w 1598601"/>
                    <a:gd name="connsiteY72" fmla="*/ 894417 h 2407727"/>
                    <a:gd name="connsiteX73" fmla="*/ 897846 w 1598601"/>
                    <a:gd name="connsiteY73" fmla="*/ 1404 h 2407727"/>
                    <a:gd name="connsiteX74" fmla="*/ 962375 w 1598601"/>
                    <a:gd name="connsiteY74" fmla="*/ 77939 h 2407727"/>
                    <a:gd name="connsiteX75" fmla="*/ 874004 w 1598601"/>
                    <a:gd name="connsiteY75" fmla="*/ 182185 h 2407727"/>
                    <a:gd name="connsiteX76" fmla="*/ 500413 w 1598601"/>
                    <a:gd name="connsiteY76" fmla="*/ 426660 h 2407727"/>
                    <a:gd name="connsiteX77" fmla="*/ 426329 w 1598601"/>
                    <a:gd name="connsiteY77" fmla="*/ 604460 h 2407727"/>
                    <a:gd name="connsiteX78" fmla="*/ 424213 w 1598601"/>
                    <a:gd name="connsiteY78" fmla="*/ 839410 h 2407727"/>
                    <a:gd name="connsiteX79" fmla="*/ 529459 w 1598601"/>
                    <a:gd name="connsiteY79" fmla="*/ 1078081 h 2407727"/>
                    <a:gd name="connsiteX80" fmla="*/ 582963 w 1598601"/>
                    <a:gd name="connsiteY80" fmla="*/ 933468 h 2407727"/>
                    <a:gd name="connsiteX81" fmla="*/ 664984 w 1598601"/>
                    <a:gd name="connsiteY81" fmla="*/ 771543 h 2407727"/>
                    <a:gd name="connsiteX82" fmla="*/ 812092 w 1598601"/>
                    <a:gd name="connsiteY82" fmla="*/ 604461 h 2407727"/>
                    <a:gd name="connsiteX83" fmla="*/ 1016350 w 1598601"/>
                    <a:gd name="connsiteY83" fmla="*/ 512781 h 2407727"/>
                    <a:gd name="connsiteX84" fmla="*/ 1207380 w 1598601"/>
                    <a:gd name="connsiteY84" fmla="*/ 505372 h 2407727"/>
                    <a:gd name="connsiteX85" fmla="*/ 1214788 w 1598601"/>
                    <a:gd name="connsiteY85" fmla="*/ 543472 h 2407727"/>
                    <a:gd name="connsiteX86" fmla="*/ 1060800 w 1598601"/>
                    <a:gd name="connsiteY86" fmla="*/ 545060 h 2407727"/>
                    <a:gd name="connsiteX87" fmla="*/ 837493 w 1598601"/>
                    <a:gd name="connsiteY87" fmla="*/ 634490 h 2407727"/>
                    <a:gd name="connsiteX88" fmla="*/ 671863 w 1598601"/>
                    <a:gd name="connsiteY88" fmla="*/ 829751 h 2407727"/>
                    <a:gd name="connsiteX89" fmla="*/ 573437 w 1598601"/>
                    <a:gd name="connsiteY89" fmla="*/ 1077932 h 2407727"/>
                    <a:gd name="connsiteX90" fmla="*/ 569734 w 1598601"/>
                    <a:gd name="connsiteY90" fmla="*/ 1334577 h 2407727"/>
                    <a:gd name="connsiteX91" fmla="*/ 603600 w 1598601"/>
                    <a:gd name="connsiteY91" fmla="*/ 1439881 h 2407727"/>
                    <a:gd name="connsiteX92" fmla="*/ 711022 w 1598601"/>
                    <a:gd name="connsiteY92" fmla="*/ 1433531 h 2407727"/>
                    <a:gd name="connsiteX93" fmla="*/ 724250 w 1598601"/>
                    <a:gd name="connsiteY93" fmla="*/ 1340397 h 2407727"/>
                    <a:gd name="connsiteX94" fmla="*/ 735892 w 1598601"/>
                    <a:gd name="connsiteY94" fmla="*/ 1150426 h 2407727"/>
                    <a:gd name="connsiteX95" fmla="*/ 783517 w 1598601"/>
                    <a:gd name="connsiteY95" fmla="*/ 917064 h 2407727"/>
                    <a:gd name="connsiteX96" fmla="*/ 923217 w 1598601"/>
                    <a:gd name="connsiteY96" fmla="*/ 775247 h 2407727"/>
                    <a:gd name="connsiteX97" fmla="*/ 1099959 w 1598601"/>
                    <a:gd name="connsiteY97" fmla="*/ 722859 h 2407727"/>
                    <a:gd name="connsiteX98" fmla="*/ 1264000 w 1598601"/>
                    <a:gd name="connsiteY98" fmla="*/ 711747 h 2407727"/>
                    <a:gd name="connsiteX99" fmla="*/ 1255534 w 1598601"/>
                    <a:gd name="connsiteY99" fmla="*/ 749847 h 2407727"/>
                    <a:gd name="connsiteX100" fmla="*/ 1092022 w 1598601"/>
                    <a:gd name="connsiteY100" fmla="*/ 762019 h 2407727"/>
                    <a:gd name="connsiteX101" fmla="*/ 946500 w 1598601"/>
                    <a:gd name="connsiteY101" fmla="*/ 804881 h 2407727"/>
                    <a:gd name="connsiteX102" fmla="*/ 869672 w 1598601"/>
                    <a:gd name="connsiteY102" fmla="*/ 863189 h 2407727"/>
                    <a:gd name="connsiteX103" fmla="*/ 905959 w 1598601"/>
                    <a:gd name="connsiteY103" fmla="*/ 872677 h 2407727"/>
                    <a:gd name="connsiteX104" fmla="*/ 992007 w 1598601"/>
                    <a:gd name="connsiteY104" fmla="*/ 883331 h 2407727"/>
                    <a:gd name="connsiteX105" fmla="*/ 1110011 w 1598601"/>
                    <a:gd name="connsiteY105" fmla="*/ 928840 h 2407727"/>
                    <a:gd name="connsiteX106" fmla="*/ 1239127 w 1598601"/>
                    <a:gd name="connsiteY106" fmla="*/ 1097114 h 2407727"/>
                    <a:gd name="connsiteX107" fmla="*/ 1299982 w 1598601"/>
                    <a:gd name="connsiteY107" fmla="*/ 1226232 h 2407727"/>
                    <a:gd name="connsiteX108" fmla="*/ 1503711 w 1598601"/>
                    <a:gd name="connsiteY108" fmla="*/ 1583419 h 2407727"/>
                    <a:gd name="connsiteX109" fmla="*/ 1597902 w 1598601"/>
                    <a:gd name="connsiteY109" fmla="*/ 2111527 h 2407727"/>
                    <a:gd name="connsiteX110" fmla="*/ 1540224 w 1598601"/>
                    <a:gd name="connsiteY110" fmla="*/ 2282977 h 2407727"/>
                    <a:gd name="connsiteX111" fmla="*/ 1484628 w 1598601"/>
                    <a:gd name="connsiteY111" fmla="*/ 2314116 h 2407727"/>
                    <a:gd name="connsiteX112" fmla="*/ 1277756 w 1598601"/>
                    <a:gd name="connsiteY112" fmla="*/ 2367644 h 2407727"/>
                    <a:gd name="connsiteX113" fmla="*/ 747532 w 1598601"/>
                    <a:gd name="connsiteY113" fmla="*/ 2402039 h 2407727"/>
                    <a:gd name="connsiteX114" fmla="*/ 395107 w 1598601"/>
                    <a:gd name="connsiteY114" fmla="*/ 2244876 h 2407727"/>
                    <a:gd name="connsiteX115" fmla="*/ 226303 w 1598601"/>
                    <a:gd name="connsiteY115" fmla="*/ 2069194 h 2407727"/>
                    <a:gd name="connsiteX116" fmla="*/ 160520 w 1598601"/>
                    <a:gd name="connsiteY116" fmla="*/ 1894171 h 2407727"/>
                    <a:gd name="connsiteX117" fmla="*/ 152959 w 1598601"/>
                    <a:gd name="connsiteY117" fmla="*/ 1798547 h 2407727"/>
                    <a:gd name="connsiteX118" fmla="*/ 146943 w 1598601"/>
                    <a:gd name="connsiteY118" fmla="*/ 1722472 h 2407727"/>
                    <a:gd name="connsiteX119" fmla="*/ 138463 w 1598601"/>
                    <a:gd name="connsiteY119" fmla="*/ 1715710 h 2407727"/>
                    <a:gd name="connsiteX120" fmla="*/ 28396 w 1598601"/>
                    <a:gd name="connsiteY120" fmla="*/ 1512510 h 2407727"/>
                    <a:gd name="connsiteX121" fmla="*/ 7229 w 1598601"/>
                    <a:gd name="connsiteY121" fmla="*/ 1233110 h 2407727"/>
                    <a:gd name="connsiteX122" fmla="*/ 132641 w 1598601"/>
                    <a:gd name="connsiteY122" fmla="*/ 1023560 h 2407727"/>
                    <a:gd name="connsiteX123" fmla="*/ 191379 w 1598601"/>
                    <a:gd name="connsiteY123" fmla="*/ 783847 h 2407727"/>
                    <a:gd name="connsiteX124" fmla="*/ 195613 w 1598601"/>
                    <a:gd name="connsiteY124" fmla="*/ 441477 h 2407727"/>
                    <a:gd name="connsiteX125" fmla="*/ 185029 w 1598601"/>
                    <a:gd name="connsiteY125" fmla="*/ 267910 h 2407727"/>
                    <a:gd name="connsiteX126" fmla="*/ 142696 w 1598601"/>
                    <a:gd name="connsiteY126" fmla="*/ 128210 h 2407727"/>
                    <a:gd name="connsiteX127" fmla="*/ 297213 w 1598601"/>
                    <a:gd name="connsiteY127" fmla="*/ 73177 h 2407727"/>
                    <a:gd name="connsiteX128" fmla="*/ 352246 w 1598601"/>
                    <a:gd name="connsiteY128" fmla="*/ 221344 h 2407727"/>
                    <a:gd name="connsiteX129" fmla="*/ 441146 w 1598601"/>
                    <a:gd name="connsiteY129" fmla="*/ 263677 h 2407727"/>
                    <a:gd name="connsiteX130" fmla="*/ 843313 w 1598601"/>
                    <a:gd name="connsiteY130" fmla="*/ 7560 h 2407727"/>
                    <a:gd name="connsiteX131" fmla="*/ 897846 w 1598601"/>
                    <a:gd name="connsiteY131" fmla="*/ 1404 h 2407727"/>
                    <a:gd name="connsiteX0" fmla="*/ 1043608 w 1598601"/>
                    <a:gd name="connsiteY0" fmla="*/ 1286759 h 2407727"/>
                    <a:gd name="connsiteX1" fmla="*/ 1101811 w 1598601"/>
                    <a:gd name="connsiteY1" fmla="*/ 1309408 h 2407727"/>
                    <a:gd name="connsiteX2" fmla="*/ 1142465 w 1598601"/>
                    <a:gd name="connsiteY2" fmla="*/ 1361159 h 2407727"/>
                    <a:gd name="connsiteX3" fmla="*/ 1072349 w 1598601"/>
                    <a:gd name="connsiteY3" fmla="*/ 1313921 h 2407727"/>
                    <a:gd name="connsiteX4" fmla="*/ 1012601 w 1598601"/>
                    <a:gd name="connsiteY4" fmla="*/ 1315752 h 2407727"/>
                    <a:gd name="connsiteX5" fmla="*/ 985196 w 1598601"/>
                    <a:gd name="connsiteY5" fmla="*/ 1333403 h 2407727"/>
                    <a:gd name="connsiteX6" fmla="*/ 978371 w 1598601"/>
                    <a:gd name="connsiteY6" fmla="*/ 1299330 h 2407727"/>
                    <a:gd name="connsiteX7" fmla="*/ 1043608 w 1598601"/>
                    <a:gd name="connsiteY7" fmla="*/ 1286759 h 2407727"/>
                    <a:gd name="connsiteX8" fmla="*/ 355024 w 1598601"/>
                    <a:gd name="connsiteY8" fmla="*/ 1004643 h 2407727"/>
                    <a:gd name="connsiteX9" fmla="*/ 284512 w 1598601"/>
                    <a:gd name="connsiteY9" fmla="*/ 1008744 h 2407727"/>
                    <a:gd name="connsiteX10" fmla="*/ 153279 w 1598601"/>
                    <a:gd name="connsiteY10" fmla="*/ 1074360 h 2407727"/>
                    <a:gd name="connsiteX11" fmla="*/ 45329 w 1598601"/>
                    <a:gd name="connsiteY11" fmla="*/ 1251632 h 2407727"/>
                    <a:gd name="connsiteX12" fmla="*/ 81313 w 1598601"/>
                    <a:gd name="connsiteY12" fmla="*/ 1510394 h 2407727"/>
                    <a:gd name="connsiteX13" fmla="*/ 163333 w 1598601"/>
                    <a:gd name="connsiteY13" fmla="*/ 1626810 h 2407727"/>
                    <a:gd name="connsiteX14" fmla="*/ 189754 w 1598601"/>
                    <a:gd name="connsiteY14" fmla="*/ 1656641 h 2407727"/>
                    <a:gd name="connsiteX15" fmla="*/ 192119 w 1598601"/>
                    <a:gd name="connsiteY15" fmla="*/ 1661321 h 2407727"/>
                    <a:gd name="connsiteX16" fmla="*/ 273929 w 1598601"/>
                    <a:gd name="connsiteY16" fmla="*/ 1631574 h 2407727"/>
                    <a:gd name="connsiteX17" fmla="*/ 373942 w 1598601"/>
                    <a:gd name="connsiteY17" fmla="*/ 1636338 h 2407727"/>
                    <a:gd name="connsiteX18" fmla="*/ 461254 w 1598601"/>
                    <a:gd name="connsiteY18" fmla="*/ 1680786 h 2407727"/>
                    <a:gd name="connsiteX19" fmla="*/ 331079 w 1598601"/>
                    <a:gd name="connsiteY19" fmla="*/ 1652211 h 2407727"/>
                    <a:gd name="connsiteX20" fmla="*/ 240591 w 1598601"/>
                    <a:gd name="connsiteY20" fmla="*/ 1676024 h 2407727"/>
                    <a:gd name="connsiteX21" fmla="*/ 208345 w 1598601"/>
                    <a:gd name="connsiteY21" fmla="*/ 1749054 h 2407727"/>
                    <a:gd name="connsiteX22" fmla="*/ 235299 w 1598601"/>
                    <a:gd name="connsiteY22" fmla="*/ 1903035 h 2407727"/>
                    <a:gd name="connsiteX23" fmla="*/ 378173 w 1598601"/>
                    <a:gd name="connsiteY23" fmla="*/ 2101473 h 2407727"/>
                    <a:gd name="connsiteX24" fmla="*/ 699377 w 1598601"/>
                    <a:gd name="connsiteY24" fmla="*/ 2250697 h 2407727"/>
                    <a:gd name="connsiteX25" fmla="*/ 1262411 w 1598601"/>
                    <a:gd name="connsiteY25" fmla="*/ 2225298 h 2407727"/>
                    <a:gd name="connsiteX26" fmla="*/ 1292048 w 1598601"/>
                    <a:gd name="connsiteY26" fmla="*/ 2223295 h 2407727"/>
                    <a:gd name="connsiteX27" fmla="*/ 1272104 w 1598601"/>
                    <a:gd name="connsiteY27" fmla="*/ 2212035 h 2407727"/>
                    <a:gd name="connsiteX28" fmla="*/ 1198385 w 1598601"/>
                    <a:gd name="connsiteY28" fmla="*/ 2135339 h 2407727"/>
                    <a:gd name="connsiteX29" fmla="*/ 1093610 w 1598601"/>
                    <a:gd name="connsiteY29" fmla="*/ 1860701 h 2407727"/>
                    <a:gd name="connsiteX30" fmla="*/ 998360 w 1598601"/>
                    <a:gd name="connsiteY30" fmla="*/ 1684489 h 2407727"/>
                    <a:gd name="connsiteX31" fmla="*/ 734864 w 1598601"/>
                    <a:gd name="connsiteY31" fmla="*/ 1461065 h 2407727"/>
                    <a:gd name="connsiteX32" fmla="*/ 712081 w 1598601"/>
                    <a:gd name="connsiteY32" fmla="*/ 1472825 h 2407727"/>
                    <a:gd name="connsiteX33" fmla="*/ 680859 w 1598601"/>
                    <a:gd name="connsiteY33" fmla="*/ 1465279 h 2407727"/>
                    <a:gd name="connsiteX34" fmla="*/ 640644 w 1598601"/>
                    <a:gd name="connsiteY34" fmla="*/ 1466474 h 2407727"/>
                    <a:gd name="connsiteX35" fmla="*/ 591429 w 1598601"/>
                    <a:gd name="connsiteY35" fmla="*/ 1471632 h 2407727"/>
                    <a:gd name="connsiteX36" fmla="*/ 552334 w 1598601"/>
                    <a:gd name="connsiteY36" fmla="*/ 1487363 h 2407727"/>
                    <a:gd name="connsiteX37" fmla="*/ 497850 w 1598601"/>
                    <a:gd name="connsiteY37" fmla="*/ 1548937 h 2407727"/>
                    <a:gd name="connsiteX38" fmla="*/ 478720 w 1598601"/>
                    <a:gd name="connsiteY38" fmla="*/ 1664016 h 2407727"/>
                    <a:gd name="connsiteX39" fmla="*/ 467710 w 1598601"/>
                    <a:gd name="connsiteY39" fmla="*/ 1576167 h 2407727"/>
                    <a:gd name="connsiteX40" fmla="*/ 498617 w 1598601"/>
                    <a:gd name="connsiteY40" fmla="*/ 1495003 h 2407727"/>
                    <a:gd name="connsiteX41" fmla="*/ 564523 w 1598601"/>
                    <a:gd name="connsiteY41" fmla="*/ 1436940 h 2407727"/>
                    <a:gd name="connsiteX42" fmla="*/ 535337 w 1598601"/>
                    <a:gd name="connsiteY42" fmla="*/ 1339339 h 2407727"/>
                    <a:gd name="connsiteX43" fmla="*/ 527400 w 1598601"/>
                    <a:gd name="connsiteY43" fmla="*/ 1177249 h 2407727"/>
                    <a:gd name="connsiteX44" fmla="*/ 530804 w 1598601"/>
                    <a:gd name="connsiteY44" fmla="*/ 1124461 h 2407727"/>
                    <a:gd name="connsiteX45" fmla="*/ 527863 w 1598601"/>
                    <a:gd name="connsiteY45" fmla="*/ 1122647 h 2407727"/>
                    <a:gd name="connsiteX46" fmla="*/ 423684 w 1598601"/>
                    <a:gd name="connsiteY46" fmla="*/ 1021444 h 2407727"/>
                    <a:gd name="connsiteX47" fmla="*/ 355024 w 1598601"/>
                    <a:gd name="connsiteY47" fmla="*/ 1004643 h 2407727"/>
                    <a:gd name="connsiteX48" fmla="*/ 845073 w 1598601"/>
                    <a:gd name="connsiteY48" fmla="*/ 894417 h 2407727"/>
                    <a:gd name="connsiteX49" fmla="*/ 817384 w 1598601"/>
                    <a:gd name="connsiteY49" fmla="*/ 931881 h 2407727"/>
                    <a:gd name="connsiteX50" fmla="*/ 768170 w 1598601"/>
                    <a:gd name="connsiteY50" fmla="*/ 1167360 h 2407727"/>
                    <a:gd name="connsiteX51" fmla="*/ 753354 w 1598601"/>
                    <a:gd name="connsiteY51" fmla="*/ 1423477 h 2407727"/>
                    <a:gd name="connsiteX52" fmla="*/ 743842 w 1598601"/>
                    <a:gd name="connsiteY52" fmla="*/ 1451649 h 2407727"/>
                    <a:gd name="connsiteX53" fmla="*/ 1058685 w 1598601"/>
                    <a:gd name="connsiteY53" fmla="*/ 1689251 h 2407727"/>
                    <a:gd name="connsiteX54" fmla="*/ 1209497 w 1598601"/>
                    <a:gd name="connsiteY54" fmla="*/ 2009927 h 2407727"/>
                    <a:gd name="connsiteX55" fmla="*/ 1327727 w 1598601"/>
                    <a:gd name="connsiteY55" fmla="*/ 2119294 h 2407727"/>
                    <a:gd name="connsiteX56" fmla="*/ 1457648 w 1598601"/>
                    <a:gd name="connsiteY56" fmla="*/ 2149650 h 2407727"/>
                    <a:gd name="connsiteX57" fmla="*/ 1455193 w 1598601"/>
                    <a:gd name="connsiteY57" fmla="*/ 2112222 h 2407727"/>
                    <a:gd name="connsiteX58" fmla="*/ 1428569 w 1598601"/>
                    <a:gd name="connsiteY58" fmla="*/ 1667027 h 2407727"/>
                    <a:gd name="connsiteX59" fmla="*/ 1216373 w 1598601"/>
                    <a:gd name="connsiteY59" fmla="*/ 1247927 h 2407727"/>
                    <a:gd name="connsiteX60" fmla="*/ 1204720 w 1598601"/>
                    <a:gd name="connsiteY60" fmla="*/ 1219703 h 2407727"/>
                    <a:gd name="connsiteX61" fmla="*/ 1200946 w 1598601"/>
                    <a:gd name="connsiteY61" fmla="*/ 1220857 h 2407727"/>
                    <a:gd name="connsiteX62" fmla="*/ 1158007 w 1598601"/>
                    <a:gd name="connsiteY62" fmla="*/ 1267925 h 2407727"/>
                    <a:gd name="connsiteX63" fmla="*/ 1144365 w 1598601"/>
                    <a:gd name="connsiteY63" fmla="*/ 1357161 h 2407727"/>
                    <a:gd name="connsiteX64" fmla="*/ 1134149 w 1598601"/>
                    <a:gd name="connsiteY64" fmla="*/ 1288646 h 2407727"/>
                    <a:gd name="connsiteX65" fmla="*/ 1157796 w 1598601"/>
                    <a:gd name="connsiteY65" fmla="*/ 1225976 h 2407727"/>
                    <a:gd name="connsiteX66" fmla="*/ 1185362 w 1598601"/>
                    <a:gd name="connsiteY66" fmla="*/ 1198193 h 2407727"/>
                    <a:gd name="connsiteX67" fmla="*/ 1193758 w 1598601"/>
                    <a:gd name="connsiteY67" fmla="*/ 1193150 h 2407727"/>
                    <a:gd name="connsiteX68" fmla="*/ 1190489 w 1598601"/>
                    <a:gd name="connsiteY68" fmla="*/ 1185234 h 2407727"/>
                    <a:gd name="connsiteX69" fmla="*/ 1148111 w 1598601"/>
                    <a:gd name="connsiteY69" fmla="*/ 1059015 h 2407727"/>
                    <a:gd name="connsiteX70" fmla="*/ 1043336 w 1598601"/>
                    <a:gd name="connsiteY70" fmla="*/ 934660 h 2407727"/>
                    <a:gd name="connsiteX71" fmla="*/ 873636 w 1598601"/>
                    <a:gd name="connsiteY71" fmla="*/ 898417 h 2407727"/>
                    <a:gd name="connsiteX72" fmla="*/ 845073 w 1598601"/>
                    <a:gd name="connsiteY72" fmla="*/ 894417 h 2407727"/>
                    <a:gd name="connsiteX73" fmla="*/ 897846 w 1598601"/>
                    <a:gd name="connsiteY73" fmla="*/ 1404 h 2407727"/>
                    <a:gd name="connsiteX74" fmla="*/ 962375 w 1598601"/>
                    <a:gd name="connsiteY74" fmla="*/ 77939 h 2407727"/>
                    <a:gd name="connsiteX75" fmla="*/ 874004 w 1598601"/>
                    <a:gd name="connsiteY75" fmla="*/ 182185 h 2407727"/>
                    <a:gd name="connsiteX76" fmla="*/ 500413 w 1598601"/>
                    <a:gd name="connsiteY76" fmla="*/ 426660 h 2407727"/>
                    <a:gd name="connsiteX77" fmla="*/ 426329 w 1598601"/>
                    <a:gd name="connsiteY77" fmla="*/ 604460 h 2407727"/>
                    <a:gd name="connsiteX78" fmla="*/ 424213 w 1598601"/>
                    <a:gd name="connsiteY78" fmla="*/ 839410 h 2407727"/>
                    <a:gd name="connsiteX79" fmla="*/ 529459 w 1598601"/>
                    <a:gd name="connsiteY79" fmla="*/ 1078081 h 2407727"/>
                    <a:gd name="connsiteX80" fmla="*/ 582963 w 1598601"/>
                    <a:gd name="connsiteY80" fmla="*/ 933468 h 2407727"/>
                    <a:gd name="connsiteX81" fmla="*/ 664984 w 1598601"/>
                    <a:gd name="connsiteY81" fmla="*/ 771543 h 2407727"/>
                    <a:gd name="connsiteX82" fmla="*/ 812092 w 1598601"/>
                    <a:gd name="connsiteY82" fmla="*/ 604461 h 2407727"/>
                    <a:gd name="connsiteX83" fmla="*/ 1016350 w 1598601"/>
                    <a:gd name="connsiteY83" fmla="*/ 512781 h 2407727"/>
                    <a:gd name="connsiteX84" fmla="*/ 1207380 w 1598601"/>
                    <a:gd name="connsiteY84" fmla="*/ 505372 h 2407727"/>
                    <a:gd name="connsiteX85" fmla="*/ 1214788 w 1598601"/>
                    <a:gd name="connsiteY85" fmla="*/ 543472 h 2407727"/>
                    <a:gd name="connsiteX86" fmla="*/ 1060800 w 1598601"/>
                    <a:gd name="connsiteY86" fmla="*/ 545060 h 2407727"/>
                    <a:gd name="connsiteX87" fmla="*/ 837493 w 1598601"/>
                    <a:gd name="connsiteY87" fmla="*/ 634490 h 2407727"/>
                    <a:gd name="connsiteX88" fmla="*/ 671863 w 1598601"/>
                    <a:gd name="connsiteY88" fmla="*/ 829751 h 2407727"/>
                    <a:gd name="connsiteX89" fmla="*/ 573437 w 1598601"/>
                    <a:gd name="connsiteY89" fmla="*/ 1077932 h 2407727"/>
                    <a:gd name="connsiteX90" fmla="*/ 569734 w 1598601"/>
                    <a:gd name="connsiteY90" fmla="*/ 1334577 h 2407727"/>
                    <a:gd name="connsiteX91" fmla="*/ 603600 w 1598601"/>
                    <a:gd name="connsiteY91" fmla="*/ 1439881 h 2407727"/>
                    <a:gd name="connsiteX92" fmla="*/ 711022 w 1598601"/>
                    <a:gd name="connsiteY92" fmla="*/ 1433531 h 2407727"/>
                    <a:gd name="connsiteX93" fmla="*/ 724250 w 1598601"/>
                    <a:gd name="connsiteY93" fmla="*/ 1340397 h 2407727"/>
                    <a:gd name="connsiteX94" fmla="*/ 735892 w 1598601"/>
                    <a:gd name="connsiteY94" fmla="*/ 1150426 h 2407727"/>
                    <a:gd name="connsiteX95" fmla="*/ 783517 w 1598601"/>
                    <a:gd name="connsiteY95" fmla="*/ 917064 h 2407727"/>
                    <a:gd name="connsiteX96" fmla="*/ 923217 w 1598601"/>
                    <a:gd name="connsiteY96" fmla="*/ 775247 h 2407727"/>
                    <a:gd name="connsiteX97" fmla="*/ 1099959 w 1598601"/>
                    <a:gd name="connsiteY97" fmla="*/ 722859 h 2407727"/>
                    <a:gd name="connsiteX98" fmla="*/ 1264000 w 1598601"/>
                    <a:gd name="connsiteY98" fmla="*/ 711747 h 2407727"/>
                    <a:gd name="connsiteX99" fmla="*/ 1255534 w 1598601"/>
                    <a:gd name="connsiteY99" fmla="*/ 749847 h 2407727"/>
                    <a:gd name="connsiteX100" fmla="*/ 1092022 w 1598601"/>
                    <a:gd name="connsiteY100" fmla="*/ 762019 h 2407727"/>
                    <a:gd name="connsiteX101" fmla="*/ 946500 w 1598601"/>
                    <a:gd name="connsiteY101" fmla="*/ 804881 h 2407727"/>
                    <a:gd name="connsiteX102" fmla="*/ 869672 w 1598601"/>
                    <a:gd name="connsiteY102" fmla="*/ 863189 h 2407727"/>
                    <a:gd name="connsiteX103" fmla="*/ 905959 w 1598601"/>
                    <a:gd name="connsiteY103" fmla="*/ 872677 h 2407727"/>
                    <a:gd name="connsiteX104" fmla="*/ 992007 w 1598601"/>
                    <a:gd name="connsiteY104" fmla="*/ 883331 h 2407727"/>
                    <a:gd name="connsiteX105" fmla="*/ 1110011 w 1598601"/>
                    <a:gd name="connsiteY105" fmla="*/ 928840 h 2407727"/>
                    <a:gd name="connsiteX106" fmla="*/ 1239127 w 1598601"/>
                    <a:gd name="connsiteY106" fmla="*/ 1097114 h 2407727"/>
                    <a:gd name="connsiteX107" fmla="*/ 1299982 w 1598601"/>
                    <a:gd name="connsiteY107" fmla="*/ 1226232 h 2407727"/>
                    <a:gd name="connsiteX108" fmla="*/ 1503711 w 1598601"/>
                    <a:gd name="connsiteY108" fmla="*/ 1583419 h 2407727"/>
                    <a:gd name="connsiteX109" fmla="*/ 1597902 w 1598601"/>
                    <a:gd name="connsiteY109" fmla="*/ 2111527 h 2407727"/>
                    <a:gd name="connsiteX110" fmla="*/ 1540224 w 1598601"/>
                    <a:gd name="connsiteY110" fmla="*/ 2282977 h 2407727"/>
                    <a:gd name="connsiteX111" fmla="*/ 1484628 w 1598601"/>
                    <a:gd name="connsiteY111" fmla="*/ 2314116 h 2407727"/>
                    <a:gd name="connsiteX112" fmla="*/ 1277756 w 1598601"/>
                    <a:gd name="connsiteY112" fmla="*/ 2367644 h 2407727"/>
                    <a:gd name="connsiteX113" fmla="*/ 747532 w 1598601"/>
                    <a:gd name="connsiteY113" fmla="*/ 2402039 h 2407727"/>
                    <a:gd name="connsiteX114" fmla="*/ 395107 w 1598601"/>
                    <a:gd name="connsiteY114" fmla="*/ 2244876 h 2407727"/>
                    <a:gd name="connsiteX115" fmla="*/ 226303 w 1598601"/>
                    <a:gd name="connsiteY115" fmla="*/ 2069194 h 2407727"/>
                    <a:gd name="connsiteX116" fmla="*/ 160520 w 1598601"/>
                    <a:gd name="connsiteY116" fmla="*/ 1894171 h 2407727"/>
                    <a:gd name="connsiteX117" fmla="*/ 152959 w 1598601"/>
                    <a:gd name="connsiteY117" fmla="*/ 1798547 h 2407727"/>
                    <a:gd name="connsiteX118" fmla="*/ 146943 w 1598601"/>
                    <a:gd name="connsiteY118" fmla="*/ 1722472 h 2407727"/>
                    <a:gd name="connsiteX119" fmla="*/ 138463 w 1598601"/>
                    <a:gd name="connsiteY119" fmla="*/ 1715710 h 2407727"/>
                    <a:gd name="connsiteX120" fmla="*/ 28396 w 1598601"/>
                    <a:gd name="connsiteY120" fmla="*/ 1512510 h 2407727"/>
                    <a:gd name="connsiteX121" fmla="*/ 7229 w 1598601"/>
                    <a:gd name="connsiteY121" fmla="*/ 1233110 h 2407727"/>
                    <a:gd name="connsiteX122" fmla="*/ 132641 w 1598601"/>
                    <a:gd name="connsiteY122" fmla="*/ 1023560 h 2407727"/>
                    <a:gd name="connsiteX123" fmla="*/ 191379 w 1598601"/>
                    <a:gd name="connsiteY123" fmla="*/ 783847 h 2407727"/>
                    <a:gd name="connsiteX124" fmla="*/ 195613 w 1598601"/>
                    <a:gd name="connsiteY124" fmla="*/ 441477 h 2407727"/>
                    <a:gd name="connsiteX125" fmla="*/ 185029 w 1598601"/>
                    <a:gd name="connsiteY125" fmla="*/ 267910 h 2407727"/>
                    <a:gd name="connsiteX126" fmla="*/ 142696 w 1598601"/>
                    <a:gd name="connsiteY126" fmla="*/ 128210 h 2407727"/>
                    <a:gd name="connsiteX127" fmla="*/ 297213 w 1598601"/>
                    <a:gd name="connsiteY127" fmla="*/ 73177 h 2407727"/>
                    <a:gd name="connsiteX128" fmla="*/ 352246 w 1598601"/>
                    <a:gd name="connsiteY128" fmla="*/ 221344 h 2407727"/>
                    <a:gd name="connsiteX129" fmla="*/ 441146 w 1598601"/>
                    <a:gd name="connsiteY129" fmla="*/ 263677 h 2407727"/>
                    <a:gd name="connsiteX130" fmla="*/ 843313 w 1598601"/>
                    <a:gd name="connsiteY130" fmla="*/ 7560 h 2407727"/>
                    <a:gd name="connsiteX131" fmla="*/ 897846 w 1598601"/>
                    <a:gd name="connsiteY131" fmla="*/ 1404 h 2407727"/>
                    <a:gd name="connsiteX0" fmla="*/ 1043608 w 1598601"/>
                    <a:gd name="connsiteY0" fmla="*/ 1286759 h 2407727"/>
                    <a:gd name="connsiteX1" fmla="*/ 1101811 w 1598601"/>
                    <a:gd name="connsiteY1" fmla="*/ 1309408 h 2407727"/>
                    <a:gd name="connsiteX2" fmla="*/ 1142465 w 1598601"/>
                    <a:gd name="connsiteY2" fmla="*/ 1361159 h 2407727"/>
                    <a:gd name="connsiteX3" fmla="*/ 1072349 w 1598601"/>
                    <a:gd name="connsiteY3" fmla="*/ 1313921 h 2407727"/>
                    <a:gd name="connsiteX4" fmla="*/ 1012601 w 1598601"/>
                    <a:gd name="connsiteY4" fmla="*/ 1315752 h 2407727"/>
                    <a:gd name="connsiteX5" fmla="*/ 985196 w 1598601"/>
                    <a:gd name="connsiteY5" fmla="*/ 1333403 h 2407727"/>
                    <a:gd name="connsiteX6" fmla="*/ 978371 w 1598601"/>
                    <a:gd name="connsiteY6" fmla="*/ 1299330 h 2407727"/>
                    <a:gd name="connsiteX7" fmla="*/ 1043608 w 1598601"/>
                    <a:gd name="connsiteY7" fmla="*/ 1286759 h 2407727"/>
                    <a:gd name="connsiteX8" fmla="*/ 355024 w 1598601"/>
                    <a:gd name="connsiteY8" fmla="*/ 1004643 h 2407727"/>
                    <a:gd name="connsiteX9" fmla="*/ 284512 w 1598601"/>
                    <a:gd name="connsiteY9" fmla="*/ 1008744 h 2407727"/>
                    <a:gd name="connsiteX10" fmla="*/ 153279 w 1598601"/>
                    <a:gd name="connsiteY10" fmla="*/ 1074360 h 2407727"/>
                    <a:gd name="connsiteX11" fmla="*/ 45329 w 1598601"/>
                    <a:gd name="connsiteY11" fmla="*/ 1251632 h 2407727"/>
                    <a:gd name="connsiteX12" fmla="*/ 81313 w 1598601"/>
                    <a:gd name="connsiteY12" fmla="*/ 1510394 h 2407727"/>
                    <a:gd name="connsiteX13" fmla="*/ 163333 w 1598601"/>
                    <a:gd name="connsiteY13" fmla="*/ 1626810 h 2407727"/>
                    <a:gd name="connsiteX14" fmla="*/ 189754 w 1598601"/>
                    <a:gd name="connsiteY14" fmla="*/ 1656641 h 2407727"/>
                    <a:gd name="connsiteX15" fmla="*/ 192119 w 1598601"/>
                    <a:gd name="connsiteY15" fmla="*/ 1661321 h 2407727"/>
                    <a:gd name="connsiteX16" fmla="*/ 273929 w 1598601"/>
                    <a:gd name="connsiteY16" fmla="*/ 1631574 h 2407727"/>
                    <a:gd name="connsiteX17" fmla="*/ 373942 w 1598601"/>
                    <a:gd name="connsiteY17" fmla="*/ 1636338 h 2407727"/>
                    <a:gd name="connsiteX18" fmla="*/ 461254 w 1598601"/>
                    <a:gd name="connsiteY18" fmla="*/ 1680786 h 2407727"/>
                    <a:gd name="connsiteX19" fmla="*/ 331079 w 1598601"/>
                    <a:gd name="connsiteY19" fmla="*/ 1652211 h 2407727"/>
                    <a:gd name="connsiteX20" fmla="*/ 240591 w 1598601"/>
                    <a:gd name="connsiteY20" fmla="*/ 1676024 h 2407727"/>
                    <a:gd name="connsiteX21" fmla="*/ 208345 w 1598601"/>
                    <a:gd name="connsiteY21" fmla="*/ 1749054 h 2407727"/>
                    <a:gd name="connsiteX22" fmla="*/ 235299 w 1598601"/>
                    <a:gd name="connsiteY22" fmla="*/ 1903035 h 2407727"/>
                    <a:gd name="connsiteX23" fmla="*/ 378173 w 1598601"/>
                    <a:gd name="connsiteY23" fmla="*/ 2101473 h 2407727"/>
                    <a:gd name="connsiteX24" fmla="*/ 699377 w 1598601"/>
                    <a:gd name="connsiteY24" fmla="*/ 2250697 h 2407727"/>
                    <a:gd name="connsiteX25" fmla="*/ 1262411 w 1598601"/>
                    <a:gd name="connsiteY25" fmla="*/ 2225298 h 2407727"/>
                    <a:gd name="connsiteX26" fmla="*/ 1292048 w 1598601"/>
                    <a:gd name="connsiteY26" fmla="*/ 2223295 h 2407727"/>
                    <a:gd name="connsiteX27" fmla="*/ 1286876 w 1598601"/>
                    <a:gd name="connsiteY27" fmla="*/ 2207789 h 2407727"/>
                    <a:gd name="connsiteX28" fmla="*/ 1198385 w 1598601"/>
                    <a:gd name="connsiteY28" fmla="*/ 2135339 h 2407727"/>
                    <a:gd name="connsiteX29" fmla="*/ 1093610 w 1598601"/>
                    <a:gd name="connsiteY29" fmla="*/ 1860701 h 2407727"/>
                    <a:gd name="connsiteX30" fmla="*/ 998360 w 1598601"/>
                    <a:gd name="connsiteY30" fmla="*/ 1684489 h 2407727"/>
                    <a:gd name="connsiteX31" fmla="*/ 734864 w 1598601"/>
                    <a:gd name="connsiteY31" fmla="*/ 1461065 h 2407727"/>
                    <a:gd name="connsiteX32" fmla="*/ 712081 w 1598601"/>
                    <a:gd name="connsiteY32" fmla="*/ 1472825 h 2407727"/>
                    <a:gd name="connsiteX33" fmla="*/ 680859 w 1598601"/>
                    <a:gd name="connsiteY33" fmla="*/ 1465279 h 2407727"/>
                    <a:gd name="connsiteX34" fmla="*/ 640644 w 1598601"/>
                    <a:gd name="connsiteY34" fmla="*/ 1466474 h 2407727"/>
                    <a:gd name="connsiteX35" fmla="*/ 591429 w 1598601"/>
                    <a:gd name="connsiteY35" fmla="*/ 1471632 h 2407727"/>
                    <a:gd name="connsiteX36" fmla="*/ 552334 w 1598601"/>
                    <a:gd name="connsiteY36" fmla="*/ 1487363 h 2407727"/>
                    <a:gd name="connsiteX37" fmla="*/ 497850 w 1598601"/>
                    <a:gd name="connsiteY37" fmla="*/ 1548937 h 2407727"/>
                    <a:gd name="connsiteX38" fmla="*/ 478720 w 1598601"/>
                    <a:gd name="connsiteY38" fmla="*/ 1664016 h 2407727"/>
                    <a:gd name="connsiteX39" fmla="*/ 467710 w 1598601"/>
                    <a:gd name="connsiteY39" fmla="*/ 1576167 h 2407727"/>
                    <a:gd name="connsiteX40" fmla="*/ 498617 w 1598601"/>
                    <a:gd name="connsiteY40" fmla="*/ 1495003 h 2407727"/>
                    <a:gd name="connsiteX41" fmla="*/ 564523 w 1598601"/>
                    <a:gd name="connsiteY41" fmla="*/ 1436940 h 2407727"/>
                    <a:gd name="connsiteX42" fmla="*/ 535337 w 1598601"/>
                    <a:gd name="connsiteY42" fmla="*/ 1339339 h 2407727"/>
                    <a:gd name="connsiteX43" fmla="*/ 527400 w 1598601"/>
                    <a:gd name="connsiteY43" fmla="*/ 1177249 h 2407727"/>
                    <a:gd name="connsiteX44" fmla="*/ 530804 w 1598601"/>
                    <a:gd name="connsiteY44" fmla="*/ 1124461 h 2407727"/>
                    <a:gd name="connsiteX45" fmla="*/ 527863 w 1598601"/>
                    <a:gd name="connsiteY45" fmla="*/ 1122647 h 2407727"/>
                    <a:gd name="connsiteX46" fmla="*/ 423684 w 1598601"/>
                    <a:gd name="connsiteY46" fmla="*/ 1021444 h 2407727"/>
                    <a:gd name="connsiteX47" fmla="*/ 355024 w 1598601"/>
                    <a:gd name="connsiteY47" fmla="*/ 1004643 h 2407727"/>
                    <a:gd name="connsiteX48" fmla="*/ 845073 w 1598601"/>
                    <a:gd name="connsiteY48" fmla="*/ 894417 h 2407727"/>
                    <a:gd name="connsiteX49" fmla="*/ 817384 w 1598601"/>
                    <a:gd name="connsiteY49" fmla="*/ 931881 h 2407727"/>
                    <a:gd name="connsiteX50" fmla="*/ 768170 w 1598601"/>
                    <a:gd name="connsiteY50" fmla="*/ 1167360 h 2407727"/>
                    <a:gd name="connsiteX51" fmla="*/ 753354 w 1598601"/>
                    <a:gd name="connsiteY51" fmla="*/ 1423477 h 2407727"/>
                    <a:gd name="connsiteX52" fmla="*/ 743842 w 1598601"/>
                    <a:gd name="connsiteY52" fmla="*/ 1451649 h 2407727"/>
                    <a:gd name="connsiteX53" fmla="*/ 1058685 w 1598601"/>
                    <a:gd name="connsiteY53" fmla="*/ 1689251 h 2407727"/>
                    <a:gd name="connsiteX54" fmla="*/ 1209497 w 1598601"/>
                    <a:gd name="connsiteY54" fmla="*/ 2009927 h 2407727"/>
                    <a:gd name="connsiteX55" fmla="*/ 1327727 w 1598601"/>
                    <a:gd name="connsiteY55" fmla="*/ 2119294 h 2407727"/>
                    <a:gd name="connsiteX56" fmla="*/ 1457648 w 1598601"/>
                    <a:gd name="connsiteY56" fmla="*/ 2149650 h 2407727"/>
                    <a:gd name="connsiteX57" fmla="*/ 1455193 w 1598601"/>
                    <a:gd name="connsiteY57" fmla="*/ 2112222 h 2407727"/>
                    <a:gd name="connsiteX58" fmla="*/ 1428569 w 1598601"/>
                    <a:gd name="connsiteY58" fmla="*/ 1667027 h 2407727"/>
                    <a:gd name="connsiteX59" fmla="*/ 1216373 w 1598601"/>
                    <a:gd name="connsiteY59" fmla="*/ 1247927 h 2407727"/>
                    <a:gd name="connsiteX60" fmla="*/ 1204720 w 1598601"/>
                    <a:gd name="connsiteY60" fmla="*/ 1219703 h 2407727"/>
                    <a:gd name="connsiteX61" fmla="*/ 1200946 w 1598601"/>
                    <a:gd name="connsiteY61" fmla="*/ 1220857 h 2407727"/>
                    <a:gd name="connsiteX62" fmla="*/ 1158007 w 1598601"/>
                    <a:gd name="connsiteY62" fmla="*/ 1267925 h 2407727"/>
                    <a:gd name="connsiteX63" fmla="*/ 1144365 w 1598601"/>
                    <a:gd name="connsiteY63" fmla="*/ 1357161 h 2407727"/>
                    <a:gd name="connsiteX64" fmla="*/ 1134149 w 1598601"/>
                    <a:gd name="connsiteY64" fmla="*/ 1288646 h 2407727"/>
                    <a:gd name="connsiteX65" fmla="*/ 1157796 w 1598601"/>
                    <a:gd name="connsiteY65" fmla="*/ 1225976 h 2407727"/>
                    <a:gd name="connsiteX66" fmla="*/ 1185362 w 1598601"/>
                    <a:gd name="connsiteY66" fmla="*/ 1198193 h 2407727"/>
                    <a:gd name="connsiteX67" fmla="*/ 1193758 w 1598601"/>
                    <a:gd name="connsiteY67" fmla="*/ 1193150 h 2407727"/>
                    <a:gd name="connsiteX68" fmla="*/ 1190489 w 1598601"/>
                    <a:gd name="connsiteY68" fmla="*/ 1185234 h 2407727"/>
                    <a:gd name="connsiteX69" fmla="*/ 1148111 w 1598601"/>
                    <a:gd name="connsiteY69" fmla="*/ 1059015 h 2407727"/>
                    <a:gd name="connsiteX70" fmla="*/ 1043336 w 1598601"/>
                    <a:gd name="connsiteY70" fmla="*/ 934660 h 2407727"/>
                    <a:gd name="connsiteX71" fmla="*/ 873636 w 1598601"/>
                    <a:gd name="connsiteY71" fmla="*/ 898417 h 2407727"/>
                    <a:gd name="connsiteX72" fmla="*/ 845073 w 1598601"/>
                    <a:gd name="connsiteY72" fmla="*/ 894417 h 2407727"/>
                    <a:gd name="connsiteX73" fmla="*/ 897846 w 1598601"/>
                    <a:gd name="connsiteY73" fmla="*/ 1404 h 2407727"/>
                    <a:gd name="connsiteX74" fmla="*/ 962375 w 1598601"/>
                    <a:gd name="connsiteY74" fmla="*/ 77939 h 2407727"/>
                    <a:gd name="connsiteX75" fmla="*/ 874004 w 1598601"/>
                    <a:gd name="connsiteY75" fmla="*/ 182185 h 2407727"/>
                    <a:gd name="connsiteX76" fmla="*/ 500413 w 1598601"/>
                    <a:gd name="connsiteY76" fmla="*/ 426660 h 2407727"/>
                    <a:gd name="connsiteX77" fmla="*/ 426329 w 1598601"/>
                    <a:gd name="connsiteY77" fmla="*/ 604460 h 2407727"/>
                    <a:gd name="connsiteX78" fmla="*/ 424213 w 1598601"/>
                    <a:gd name="connsiteY78" fmla="*/ 839410 h 2407727"/>
                    <a:gd name="connsiteX79" fmla="*/ 529459 w 1598601"/>
                    <a:gd name="connsiteY79" fmla="*/ 1078081 h 2407727"/>
                    <a:gd name="connsiteX80" fmla="*/ 582963 w 1598601"/>
                    <a:gd name="connsiteY80" fmla="*/ 933468 h 2407727"/>
                    <a:gd name="connsiteX81" fmla="*/ 664984 w 1598601"/>
                    <a:gd name="connsiteY81" fmla="*/ 771543 h 2407727"/>
                    <a:gd name="connsiteX82" fmla="*/ 812092 w 1598601"/>
                    <a:gd name="connsiteY82" fmla="*/ 604461 h 2407727"/>
                    <a:gd name="connsiteX83" fmla="*/ 1016350 w 1598601"/>
                    <a:gd name="connsiteY83" fmla="*/ 512781 h 2407727"/>
                    <a:gd name="connsiteX84" fmla="*/ 1207380 w 1598601"/>
                    <a:gd name="connsiteY84" fmla="*/ 505372 h 2407727"/>
                    <a:gd name="connsiteX85" fmla="*/ 1214788 w 1598601"/>
                    <a:gd name="connsiteY85" fmla="*/ 543472 h 2407727"/>
                    <a:gd name="connsiteX86" fmla="*/ 1060800 w 1598601"/>
                    <a:gd name="connsiteY86" fmla="*/ 545060 h 2407727"/>
                    <a:gd name="connsiteX87" fmla="*/ 837493 w 1598601"/>
                    <a:gd name="connsiteY87" fmla="*/ 634490 h 2407727"/>
                    <a:gd name="connsiteX88" fmla="*/ 671863 w 1598601"/>
                    <a:gd name="connsiteY88" fmla="*/ 829751 h 2407727"/>
                    <a:gd name="connsiteX89" fmla="*/ 573437 w 1598601"/>
                    <a:gd name="connsiteY89" fmla="*/ 1077932 h 2407727"/>
                    <a:gd name="connsiteX90" fmla="*/ 569734 w 1598601"/>
                    <a:gd name="connsiteY90" fmla="*/ 1334577 h 2407727"/>
                    <a:gd name="connsiteX91" fmla="*/ 603600 w 1598601"/>
                    <a:gd name="connsiteY91" fmla="*/ 1439881 h 2407727"/>
                    <a:gd name="connsiteX92" fmla="*/ 711022 w 1598601"/>
                    <a:gd name="connsiteY92" fmla="*/ 1433531 h 2407727"/>
                    <a:gd name="connsiteX93" fmla="*/ 724250 w 1598601"/>
                    <a:gd name="connsiteY93" fmla="*/ 1340397 h 2407727"/>
                    <a:gd name="connsiteX94" fmla="*/ 735892 w 1598601"/>
                    <a:gd name="connsiteY94" fmla="*/ 1150426 h 2407727"/>
                    <a:gd name="connsiteX95" fmla="*/ 783517 w 1598601"/>
                    <a:gd name="connsiteY95" fmla="*/ 917064 h 2407727"/>
                    <a:gd name="connsiteX96" fmla="*/ 923217 w 1598601"/>
                    <a:gd name="connsiteY96" fmla="*/ 775247 h 2407727"/>
                    <a:gd name="connsiteX97" fmla="*/ 1099959 w 1598601"/>
                    <a:gd name="connsiteY97" fmla="*/ 722859 h 2407727"/>
                    <a:gd name="connsiteX98" fmla="*/ 1264000 w 1598601"/>
                    <a:gd name="connsiteY98" fmla="*/ 711747 h 2407727"/>
                    <a:gd name="connsiteX99" fmla="*/ 1255534 w 1598601"/>
                    <a:gd name="connsiteY99" fmla="*/ 749847 h 2407727"/>
                    <a:gd name="connsiteX100" fmla="*/ 1092022 w 1598601"/>
                    <a:gd name="connsiteY100" fmla="*/ 762019 h 2407727"/>
                    <a:gd name="connsiteX101" fmla="*/ 946500 w 1598601"/>
                    <a:gd name="connsiteY101" fmla="*/ 804881 h 2407727"/>
                    <a:gd name="connsiteX102" fmla="*/ 869672 w 1598601"/>
                    <a:gd name="connsiteY102" fmla="*/ 863189 h 2407727"/>
                    <a:gd name="connsiteX103" fmla="*/ 905959 w 1598601"/>
                    <a:gd name="connsiteY103" fmla="*/ 872677 h 2407727"/>
                    <a:gd name="connsiteX104" fmla="*/ 992007 w 1598601"/>
                    <a:gd name="connsiteY104" fmla="*/ 883331 h 2407727"/>
                    <a:gd name="connsiteX105" fmla="*/ 1110011 w 1598601"/>
                    <a:gd name="connsiteY105" fmla="*/ 928840 h 2407727"/>
                    <a:gd name="connsiteX106" fmla="*/ 1239127 w 1598601"/>
                    <a:gd name="connsiteY106" fmla="*/ 1097114 h 2407727"/>
                    <a:gd name="connsiteX107" fmla="*/ 1299982 w 1598601"/>
                    <a:gd name="connsiteY107" fmla="*/ 1226232 h 2407727"/>
                    <a:gd name="connsiteX108" fmla="*/ 1503711 w 1598601"/>
                    <a:gd name="connsiteY108" fmla="*/ 1583419 h 2407727"/>
                    <a:gd name="connsiteX109" fmla="*/ 1597902 w 1598601"/>
                    <a:gd name="connsiteY109" fmla="*/ 2111527 h 2407727"/>
                    <a:gd name="connsiteX110" fmla="*/ 1540224 w 1598601"/>
                    <a:gd name="connsiteY110" fmla="*/ 2282977 h 2407727"/>
                    <a:gd name="connsiteX111" fmla="*/ 1484628 w 1598601"/>
                    <a:gd name="connsiteY111" fmla="*/ 2314116 h 2407727"/>
                    <a:gd name="connsiteX112" fmla="*/ 1277756 w 1598601"/>
                    <a:gd name="connsiteY112" fmla="*/ 2367644 h 2407727"/>
                    <a:gd name="connsiteX113" fmla="*/ 747532 w 1598601"/>
                    <a:gd name="connsiteY113" fmla="*/ 2402039 h 2407727"/>
                    <a:gd name="connsiteX114" fmla="*/ 395107 w 1598601"/>
                    <a:gd name="connsiteY114" fmla="*/ 2244876 h 2407727"/>
                    <a:gd name="connsiteX115" fmla="*/ 226303 w 1598601"/>
                    <a:gd name="connsiteY115" fmla="*/ 2069194 h 2407727"/>
                    <a:gd name="connsiteX116" fmla="*/ 160520 w 1598601"/>
                    <a:gd name="connsiteY116" fmla="*/ 1894171 h 2407727"/>
                    <a:gd name="connsiteX117" fmla="*/ 152959 w 1598601"/>
                    <a:gd name="connsiteY117" fmla="*/ 1798547 h 2407727"/>
                    <a:gd name="connsiteX118" fmla="*/ 146943 w 1598601"/>
                    <a:gd name="connsiteY118" fmla="*/ 1722472 h 2407727"/>
                    <a:gd name="connsiteX119" fmla="*/ 138463 w 1598601"/>
                    <a:gd name="connsiteY119" fmla="*/ 1715710 h 2407727"/>
                    <a:gd name="connsiteX120" fmla="*/ 28396 w 1598601"/>
                    <a:gd name="connsiteY120" fmla="*/ 1512510 h 2407727"/>
                    <a:gd name="connsiteX121" fmla="*/ 7229 w 1598601"/>
                    <a:gd name="connsiteY121" fmla="*/ 1233110 h 2407727"/>
                    <a:gd name="connsiteX122" fmla="*/ 132641 w 1598601"/>
                    <a:gd name="connsiteY122" fmla="*/ 1023560 h 2407727"/>
                    <a:gd name="connsiteX123" fmla="*/ 191379 w 1598601"/>
                    <a:gd name="connsiteY123" fmla="*/ 783847 h 2407727"/>
                    <a:gd name="connsiteX124" fmla="*/ 195613 w 1598601"/>
                    <a:gd name="connsiteY124" fmla="*/ 441477 h 2407727"/>
                    <a:gd name="connsiteX125" fmla="*/ 185029 w 1598601"/>
                    <a:gd name="connsiteY125" fmla="*/ 267910 h 2407727"/>
                    <a:gd name="connsiteX126" fmla="*/ 142696 w 1598601"/>
                    <a:gd name="connsiteY126" fmla="*/ 128210 h 2407727"/>
                    <a:gd name="connsiteX127" fmla="*/ 297213 w 1598601"/>
                    <a:gd name="connsiteY127" fmla="*/ 73177 h 2407727"/>
                    <a:gd name="connsiteX128" fmla="*/ 352246 w 1598601"/>
                    <a:gd name="connsiteY128" fmla="*/ 221344 h 2407727"/>
                    <a:gd name="connsiteX129" fmla="*/ 441146 w 1598601"/>
                    <a:gd name="connsiteY129" fmla="*/ 263677 h 2407727"/>
                    <a:gd name="connsiteX130" fmla="*/ 843313 w 1598601"/>
                    <a:gd name="connsiteY130" fmla="*/ 7560 h 2407727"/>
                    <a:gd name="connsiteX131" fmla="*/ 897846 w 1598601"/>
                    <a:gd name="connsiteY131" fmla="*/ 1404 h 2407727"/>
                    <a:gd name="connsiteX0" fmla="*/ 1043608 w 1598601"/>
                    <a:gd name="connsiteY0" fmla="*/ 1286759 h 2407727"/>
                    <a:gd name="connsiteX1" fmla="*/ 1101811 w 1598601"/>
                    <a:gd name="connsiteY1" fmla="*/ 1309408 h 2407727"/>
                    <a:gd name="connsiteX2" fmla="*/ 1142465 w 1598601"/>
                    <a:gd name="connsiteY2" fmla="*/ 1361159 h 2407727"/>
                    <a:gd name="connsiteX3" fmla="*/ 1072349 w 1598601"/>
                    <a:gd name="connsiteY3" fmla="*/ 1313921 h 2407727"/>
                    <a:gd name="connsiteX4" fmla="*/ 1012601 w 1598601"/>
                    <a:gd name="connsiteY4" fmla="*/ 1315752 h 2407727"/>
                    <a:gd name="connsiteX5" fmla="*/ 985196 w 1598601"/>
                    <a:gd name="connsiteY5" fmla="*/ 1333403 h 2407727"/>
                    <a:gd name="connsiteX6" fmla="*/ 978371 w 1598601"/>
                    <a:gd name="connsiteY6" fmla="*/ 1299330 h 2407727"/>
                    <a:gd name="connsiteX7" fmla="*/ 1043608 w 1598601"/>
                    <a:gd name="connsiteY7" fmla="*/ 1286759 h 2407727"/>
                    <a:gd name="connsiteX8" fmla="*/ 355024 w 1598601"/>
                    <a:gd name="connsiteY8" fmla="*/ 1004643 h 2407727"/>
                    <a:gd name="connsiteX9" fmla="*/ 284512 w 1598601"/>
                    <a:gd name="connsiteY9" fmla="*/ 1008744 h 2407727"/>
                    <a:gd name="connsiteX10" fmla="*/ 153279 w 1598601"/>
                    <a:gd name="connsiteY10" fmla="*/ 1074360 h 2407727"/>
                    <a:gd name="connsiteX11" fmla="*/ 45329 w 1598601"/>
                    <a:gd name="connsiteY11" fmla="*/ 1251632 h 2407727"/>
                    <a:gd name="connsiteX12" fmla="*/ 81313 w 1598601"/>
                    <a:gd name="connsiteY12" fmla="*/ 1510394 h 2407727"/>
                    <a:gd name="connsiteX13" fmla="*/ 163333 w 1598601"/>
                    <a:gd name="connsiteY13" fmla="*/ 1626810 h 2407727"/>
                    <a:gd name="connsiteX14" fmla="*/ 189754 w 1598601"/>
                    <a:gd name="connsiteY14" fmla="*/ 1656641 h 2407727"/>
                    <a:gd name="connsiteX15" fmla="*/ 192119 w 1598601"/>
                    <a:gd name="connsiteY15" fmla="*/ 1661321 h 2407727"/>
                    <a:gd name="connsiteX16" fmla="*/ 273929 w 1598601"/>
                    <a:gd name="connsiteY16" fmla="*/ 1631574 h 2407727"/>
                    <a:gd name="connsiteX17" fmla="*/ 373942 w 1598601"/>
                    <a:gd name="connsiteY17" fmla="*/ 1636338 h 2407727"/>
                    <a:gd name="connsiteX18" fmla="*/ 461254 w 1598601"/>
                    <a:gd name="connsiteY18" fmla="*/ 1680786 h 2407727"/>
                    <a:gd name="connsiteX19" fmla="*/ 331079 w 1598601"/>
                    <a:gd name="connsiteY19" fmla="*/ 1652211 h 2407727"/>
                    <a:gd name="connsiteX20" fmla="*/ 240591 w 1598601"/>
                    <a:gd name="connsiteY20" fmla="*/ 1676024 h 2407727"/>
                    <a:gd name="connsiteX21" fmla="*/ 208345 w 1598601"/>
                    <a:gd name="connsiteY21" fmla="*/ 1749054 h 2407727"/>
                    <a:gd name="connsiteX22" fmla="*/ 235299 w 1598601"/>
                    <a:gd name="connsiteY22" fmla="*/ 1903035 h 2407727"/>
                    <a:gd name="connsiteX23" fmla="*/ 378173 w 1598601"/>
                    <a:gd name="connsiteY23" fmla="*/ 2101473 h 2407727"/>
                    <a:gd name="connsiteX24" fmla="*/ 699377 w 1598601"/>
                    <a:gd name="connsiteY24" fmla="*/ 2250697 h 2407727"/>
                    <a:gd name="connsiteX25" fmla="*/ 1262411 w 1598601"/>
                    <a:gd name="connsiteY25" fmla="*/ 2225298 h 2407727"/>
                    <a:gd name="connsiteX26" fmla="*/ 1327924 w 1598601"/>
                    <a:gd name="connsiteY26" fmla="*/ 2219048 h 2407727"/>
                    <a:gd name="connsiteX27" fmla="*/ 1286876 w 1598601"/>
                    <a:gd name="connsiteY27" fmla="*/ 2207789 h 2407727"/>
                    <a:gd name="connsiteX28" fmla="*/ 1198385 w 1598601"/>
                    <a:gd name="connsiteY28" fmla="*/ 2135339 h 2407727"/>
                    <a:gd name="connsiteX29" fmla="*/ 1093610 w 1598601"/>
                    <a:gd name="connsiteY29" fmla="*/ 1860701 h 2407727"/>
                    <a:gd name="connsiteX30" fmla="*/ 998360 w 1598601"/>
                    <a:gd name="connsiteY30" fmla="*/ 1684489 h 2407727"/>
                    <a:gd name="connsiteX31" fmla="*/ 734864 w 1598601"/>
                    <a:gd name="connsiteY31" fmla="*/ 1461065 h 2407727"/>
                    <a:gd name="connsiteX32" fmla="*/ 712081 w 1598601"/>
                    <a:gd name="connsiteY32" fmla="*/ 1472825 h 2407727"/>
                    <a:gd name="connsiteX33" fmla="*/ 680859 w 1598601"/>
                    <a:gd name="connsiteY33" fmla="*/ 1465279 h 2407727"/>
                    <a:gd name="connsiteX34" fmla="*/ 640644 w 1598601"/>
                    <a:gd name="connsiteY34" fmla="*/ 1466474 h 2407727"/>
                    <a:gd name="connsiteX35" fmla="*/ 591429 w 1598601"/>
                    <a:gd name="connsiteY35" fmla="*/ 1471632 h 2407727"/>
                    <a:gd name="connsiteX36" fmla="*/ 552334 w 1598601"/>
                    <a:gd name="connsiteY36" fmla="*/ 1487363 h 2407727"/>
                    <a:gd name="connsiteX37" fmla="*/ 497850 w 1598601"/>
                    <a:gd name="connsiteY37" fmla="*/ 1548937 h 2407727"/>
                    <a:gd name="connsiteX38" fmla="*/ 478720 w 1598601"/>
                    <a:gd name="connsiteY38" fmla="*/ 1664016 h 2407727"/>
                    <a:gd name="connsiteX39" fmla="*/ 467710 w 1598601"/>
                    <a:gd name="connsiteY39" fmla="*/ 1576167 h 2407727"/>
                    <a:gd name="connsiteX40" fmla="*/ 498617 w 1598601"/>
                    <a:gd name="connsiteY40" fmla="*/ 1495003 h 2407727"/>
                    <a:gd name="connsiteX41" fmla="*/ 564523 w 1598601"/>
                    <a:gd name="connsiteY41" fmla="*/ 1436940 h 2407727"/>
                    <a:gd name="connsiteX42" fmla="*/ 535337 w 1598601"/>
                    <a:gd name="connsiteY42" fmla="*/ 1339339 h 2407727"/>
                    <a:gd name="connsiteX43" fmla="*/ 527400 w 1598601"/>
                    <a:gd name="connsiteY43" fmla="*/ 1177249 h 2407727"/>
                    <a:gd name="connsiteX44" fmla="*/ 530804 w 1598601"/>
                    <a:gd name="connsiteY44" fmla="*/ 1124461 h 2407727"/>
                    <a:gd name="connsiteX45" fmla="*/ 527863 w 1598601"/>
                    <a:gd name="connsiteY45" fmla="*/ 1122647 h 2407727"/>
                    <a:gd name="connsiteX46" fmla="*/ 423684 w 1598601"/>
                    <a:gd name="connsiteY46" fmla="*/ 1021444 h 2407727"/>
                    <a:gd name="connsiteX47" fmla="*/ 355024 w 1598601"/>
                    <a:gd name="connsiteY47" fmla="*/ 1004643 h 2407727"/>
                    <a:gd name="connsiteX48" fmla="*/ 845073 w 1598601"/>
                    <a:gd name="connsiteY48" fmla="*/ 894417 h 2407727"/>
                    <a:gd name="connsiteX49" fmla="*/ 817384 w 1598601"/>
                    <a:gd name="connsiteY49" fmla="*/ 931881 h 2407727"/>
                    <a:gd name="connsiteX50" fmla="*/ 768170 w 1598601"/>
                    <a:gd name="connsiteY50" fmla="*/ 1167360 h 2407727"/>
                    <a:gd name="connsiteX51" fmla="*/ 753354 w 1598601"/>
                    <a:gd name="connsiteY51" fmla="*/ 1423477 h 2407727"/>
                    <a:gd name="connsiteX52" fmla="*/ 743842 w 1598601"/>
                    <a:gd name="connsiteY52" fmla="*/ 1451649 h 2407727"/>
                    <a:gd name="connsiteX53" fmla="*/ 1058685 w 1598601"/>
                    <a:gd name="connsiteY53" fmla="*/ 1689251 h 2407727"/>
                    <a:gd name="connsiteX54" fmla="*/ 1209497 w 1598601"/>
                    <a:gd name="connsiteY54" fmla="*/ 2009927 h 2407727"/>
                    <a:gd name="connsiteX55" fmla="*/ 1327727 w 1598601"/>
                    <a:gd name="connsiteY55" fmla="*/ 2119294 h 2407727"/>
                    <a:gd name="connsiteX56" fmla="*/ 1457648 w 1598601"/>
                    <a:gd name="connsiteY56" fmla="*/ 2149650 h 2407727"/>
                    <a:gd name="connsiteX57" fmla="*/ 1455193 w 1598601"/>
                    <a:gd name="connsiteY57" fmla="*/ 2112222 h 2407727"/>
                    <a:gd name="connsiteX58" fmla="*/ 1428569 w 1598601"/>
                    <a:gd name="connsiteY58" fmla="*/ 1667027 h 2407727"/>
                    <a:gd name="connsiteX59" fmla="*/ 1216373 w 1598601"/>
                    <a:gd name="connsiteY59" fmla="*/ 1247927 h 2407727"/>
                    <a:gd name="connsiteX60" fmla="*/ 1204720 w 1598601"/>
                    <a:gd name="connsiteY60" fmla="*/ 1219703 h 2407727"/>
                    <a:gd name="connsiteX61" fmla="*/ 1200946 w 1598601"/>
                    <a:gd name="connsiteY61" fmla="*/ 1220857 h 2407727"/>
                    <a:gd name="connsiteX62" fmla="*/ 1158007 w 1598601"/>
                    <a:gd name="connsiteY62" fmla="*/ 1267925 h 2407727"/>
                    <a:gd name="connsiteX63" fmla="*/ 1144365 w 1598601"/>
                    <a:gd name="connsiteY63" fmla="*/ 1357161 h 2407727"/>
                    <a:gd name="connsiteX64" fmla="*/ 1134149 w 1598601"/>
                    <a:gd name="connsiteY64" fmla="*/ 1288646 h 2407727"/>
                    <a:gd name="connsiteX65" fmla="*/ 1157796 w 1598601"/>
                    <a:gd name="connsiteY65" fmla="*/ 1225976 h 2407727"/>
                    <a:gd name="connsiteX66" fmla="*/ 1185362 w 1598601"/>
                    <a:gd name="connsiteY66" fmla="*/ 1198193 h 2407727"/>
                    <a:gd name="connsiteX67" fmla="*/ 1193758 w 1598601"/>
                    <a:gd name="connsiteY67" fmla="*/ 1193150 h 2407727"/>
                    <a:gd name="connsiteX68" fmla="*/ 1190489 w 1598601"/>
                    <a:gd name="connsiteY68" fmla="*/ 1185234 h 2407727"/>
                    <a:gd name="connsiteX69" fmla="*/ 1148111 w 1598601"/>
                    <a:gd name="connsiteY69" fmla="*/ 1059015 h 2407727"/>
                    <a:gd name="connsiteX70" fmla="*/ 1043336 w 1598601"/>
                    <a:gd name="connsiteY70" fmla="*/ 934660 h 2407727"/>
                    <a:gd name="connsiteX71" fmla="*/ 873636 w 1598601"/>
                    <a:gd name="connsiteY71" fmla="*/ 898417 h 2407727"/>
                    <a:gd name="connsiteX72" fmla="*/ 845073 w 1598601"/>
                    <a:gd name="connsiteY72" fmla="*/ 894417 h 2407727"/>
                    <a:gd name="connsiteX73" fmla="*/ 897846 w 1598601"/>
                    <a:gd name="connsiteY73" fmla="*/ 1404 h 2407727"/>
                    <a:gd name="connsiteX74" fmla="*/ 962375 w 1598601"/>
                    <a:gd name="connsiteY74" fmla="*/ 77939 h 2407727"/>
                    <a:gd name="connsiteX75" fmla="*/ 874004 w 1598601"/>
                    <a:gd name="connsiteY75" fmla="*/ 182185 h 2407727"/>
                    <a:gd name="connsiteX76" fmla="*/ 500413 w 1598601"/>
                    <a:gd name="connsiteY76" fmla="*/ 426660 h 2407727"/>
                    <a:gd name="connsiteX77" fmla="*/ 426329 w 1598601"/>
                    <a:gd name="connsiteY77" fmla="*/ 604460 h 2407727"/>
                    <a:gd name="connsiteX78" fmla="*/ 424213 w 1598601"/>
                    <a:gd name="connsiteY78" fmla="*/ 839410 h 2407727"/>
                    <a:gd name="connsiteX79" fmla="*/ 529459 w 1598601"/>
                    <a:gd name="connsiteY79" fmla="*/ 1078081 h 2407727"/>
                    <a:gd name="connsiteX80" fmla="*/ 582963 w 1598601"/>
                    <a:gd name="connsiteY80" fmla="*/ 933468 h 2407727"/>
                    <a:gd name="connsiteX81" fmla="*/ 664984 w 1598601"/>
                    <a:gd name="connsiteY81" fmla="*/ 771543 h 2407727"/>
                    <a:gd name="connsiteX82" fmla="*/ 812092 w 1598601"/>
                    <a:gd name="connsiteY82" fmla="*/ 604461 h 2407727"/>
                    <a:gd name="connsiteX83" fmla="*/ 1016350 w 1598601"/>
                    <a:gd name="connsiteY83" fmla="*/ 512781 h 2407727"/>
                    <a:gd name="connsiteX84" fmla="*/ 1207380 w 1598601"/>
                    <a:gd name="connsiteY84" fmla="*/ 505372 h 2407727"/>
                    <a:gd name="connsiteX85" fmla="*/ 1214788 w 1598601"/>
                    <a:gd name="connsiteY85" fmla="*/ 543472 h 2407727"/>
                    <a:gd name="connsiteX86" fmla="*/ 1060800 w 1598601"/>
                    <a:gd name="connsiteY86" fmla="*/ 545060 h 2407727"/>
                    <a:gd name="connsiteX87" fmla="*/ 837493 w 1598601"/>
                    <a:gd name="connsiteY87" fmla="*/ 634490 h 2407727"/>
                    <a:gd name="connsiteX88" fmla="*/ 671863 w 1598601"/>
                    <a:gd name="connsiteY88" fmla="*/ 829751 h 2407727"/>
                    <a:gd name="connsiteX89" fmla="*/ 573437 w 1598601"/>
                    <a:gd name="connsiteY89" fmla="*/ 1077932 h 2407727"/>
                    <a:gd name="connsiteX90" fmla="*/ 569734 w 1598601"/>
                    <a:gd name="connsiteY90" fmla="*/ 1334577 h 2407727"/>
                    <a:gd name="connsiteX91" fmla="*/ 603600 w 1598601"/>
                    <a:gd name="connsiteY91" fmla="*/ 1439881 h 2407727"/>
                    <a:gd name="connsiteX92" fmla="*/ 711022 w 1598601"/>
                    <a:gd name="connsiteY92" fmla="*/ 1433531 h 2407727"/>
                    <a:gd name="connsiteX93" fmla="*/ 724250 w 1598601"/>
                    <a:gd name="connsiteY93" fmla="*/ 1340397 h 2407727"/>
                    <a:gd name="connsiteX94" fmla="*/ 735892 w 1598601"/>
                    <a:gd name="connsiteY94" fmla="*/ 1150426 h 2407727"/>
                    <a:gd name="connsiteX95" fmla="*/ 783517 w 1598601"/>
                    <a:gd name="connsiteY95" fmla="*/ 917064 h 2407727"/>
                    <a:gd name="connsiteX96" fmla="*/ 923217 w 1598601"/>
                    <a:gd name="connsiteY96" fmla="*/ 775247 h 2407727"/>
                    <a:gd name="connsiteX97" fmla="*/ 1099959 w 1598601"/>
                    <a:gd name="connsiteY97" fmla="*/ 722859 h 2407727"/>
                    <a:gd name="connsiteX98" fmla="*/ 1264000 w 1598601"/>
                    <a:gd name="connsiteY98" fmla="*/ 711747 h 2407727"/>
                    <a:gd name="connsiteX99" fmla="*/ 1255534 w 1598601"/>
                    <a:gd name="connsiteY99" fmla="*/ 749847 h 2407727"/>
                    <a:gd name="connsiteX100" fmla="*/ 1092022 w 1598601"/>
                    <a:gd name="connsiteY100" fmla="*/ 762019 h 2407727"/>
                    <a:gd name="connsiteX101" fmla="*/ 946500 w 1598601"/>
                    <a:gd name="connsiteY101" fmla="*/ 804881 h 2407727"/>
                    <a:gd name="connsiteX102" fmla="*/ 869672 w 1598601"/>
                    <a:gd name="connsiteY102" fmla="*/ 863189 h 2407727"/>
                    <a:gd name="connsiteX103" fmla="*/ 905959 w 1598601"/>
                    <a:gd name="connsiteY103" fmla="*/ 872677 h 2407727"/>
                    <a:gd name="connsiteX104" fmla="*/ 992007 w 1598601"/>
                    <a:gd name="connsiteY104" fmla="*/ 883331 h 2407727"/>
                    <a:gd name="connsiteX105" fmla="*/ 1110011 w 1598601"/>
                    <a:gd name="connsiteY105" fmla="*/ 928840 h 2407727"/>
                    <a:gd name="connsiteX106" fmla="*/ 1239127 w 1598601"/>
                    <a:gd name="connsiteY106" fmla="*/ 1097114 h 2407727"/>
                    <a:gd name="connsiteX107" fmla="*/ 1299982 w 1598601"/>
                    <a:gd name="connsiteY107" fmla="*/ 1226232 h 2407727"/>
                    <a:gd name="connsiteX108" fmla="*/ 1503711 w 1598601"/>
                    <a:gd name="connsiteY108" fmla="*/ 1583419 h 2407727"/>
                    <a:gd name="connsiteX109" fmla="*/ 1597902 w 1598601"/>
                    <a:gd name="connsiteY109" fmla="*/ 2111527 h 2407727"/>
                    <a:gd name="connsiteX110" fmla="*/ 1540224 w 1598601"/>
                    <a:gd name="connsiteY110" fmla="*/ 2282977 h 2407727"/>
                    <a:gd name="connsiteX111" fmla="*/ 1484628 w 1598601"/>
                    <a:gd name="connsiteY111" fmla="*/ 2314116 h 2407727"/>
                    <a:gd name="connsiteX112" fmla="*/ 1277756 w 1598601"/>
                    <a:gd name="connsiteY112" fmla="*/ 2367644 h 2407727"/>
                    <a:gd name="connsiteX113" fmla="*/ 747532 w 1598601"/>
                    <a:gd name="connsiteY113" fmla="*/ 2402039 h 2407727"/>
                    <a:gd name="connsiteX114" fmla="*/ 395107 w 1598601"/>
                    <a:gd name="connsiteY114" fmla="*/ 2244876 h 2407727"/>
                    <a:gd name="connsiteX115" fmla="*/ 226303 w 1598601"/>
                    <a:gd name="connsiteY115" fmla="*/ 2069194 h 2407727"/>
                    <a:gd name="connsiteX116" fmla="*/ 160520 w 1598601"/>
                    <a:gd name="connsiteY116" fmla="*/ 1894171 h 2407727"/>
                    <a:gd name="connsiteX117" fmla="*/ 152959 w 1598601"/>
                    <a:gd name="connsiteY117" fmla="*/ 1798547 h 2407727"/>
                    <a:gd name="connsiteX118" fmla="*/ 146943 w 1598601"/>
                    <a:gd name="connsiteY118" fmla="*/ 1722472 h 2407727"/>
                    <a:gd name="connsiteX119" fmla="*/ 138463 w 1598601"/>
                    <a:gd name="connsiteY119" fmla="*/ 1715710 h 2407727"/>
                    <a:gd name="connsiteX120" fmla="*/ 28396 w 1598601"/>
                    <a:gd name="connsiteY120" fmla="*/ 1512510 h 2407727"/>
                    <a:gd name="connsiteX121" fmla="*/ 7229 w 1598601"/>
                    <a:gd name="connsiteY121" fmla="*/ 1233110 h 2407727"/>
                    <a:gd name="connsiteX122" fmla="*/ 132641 w 1598601"/>
                    <a:gd name="connsiteY122" fmla="*/ 1023560 h 2407727"/>
                    <a:gd name="connsiteX123" fmla="*/ 191379 w 1598601"/>
                    <a:gd name="connsiteY123" fmla="*/ 783847 h 2407727"/>
                    <a:gd name="connsiteX124" fmla="*/ 195613 w 1598601"/>
                    <a:gd name="connsiteY124" fmla="*/ 441477 h 2407727"/>
                    <a:gd name="connsiteX125" fmla="*/ 185029 w 1598601"/>
                    <a:gd name="connsiteY125" fmla="*/ 267910 h 2407727"/>
                    <a:gd name="connsiteX126" fmla="*/ 142696 w 1598601"/>
                    <a:gd name="connsiteY126" fmla="*/ 128210 h 2407727"/>
                    <a:gd name="connsiteX127" fmla="*/ 297213 w 1598601"/>
                    <a:gd name="connsiteY127" fmla="*/ 73177 h 2407727"/>
                    <a:gd name="connsiteX128" fmla="*/ 352246 w 1598601"/>
                    <a:gd name="connsiteY128" fmla="*/ 221344 h 2407727"/>
                    <a:gd name="connsiteX129" fmla="*/ 441146 w 1598601"/>
                    <a:gd name="connsiteY129" fmla="*/ 263677 h 2407727"/>
                    <a:gd name="connsiteX130" fmla="*/ 843313 w 1598601"/>
                    <a:gd name="connsiteY130" fmla="*/ 7560 h 2407727"/>
                    <a:gd name="connsiteX131" fmla="*/ 897846 w 1598601"/>
                    <a:gd name="connsiteY131" fmla="*/ 1404 h 2407727"/>
                    <a:gd name="connsiteX0" fmla="*/ 1043608 w 1598601"/>
                    <a:gd name="connsiteY0" fmla="*/ 1286759 h 2407727"/>
                    <a:gd name="connsiteX1" fmla="*/ 1101811 w 1598601"/>
                    <a:gd name="connsiteY1" fmla="*/ 1309408 h 2407727"/>
                    <a:gd name="connsiteX2" fmla="*/ 1142465 w 1598601"/>
                    <a:gd name="connsiteY2" fmla="*/ 1361159 h 2407727"/>
                    <a:gd name="connsiteX3" fmla="*/ 1072349 w 1598601"/>
                    <a:gd name="connsiteY3" fmla="*/ 1313921 h 2407727"/>
                    <a:gd name="connsiteX4" fmla="*/ 1012601 w 1598601"/>
                    <a:gd name="connsiteY4" fmla="*/ 1315752 h 2407727"/>
                    <a:gd name="connsiteX5" fmla="*/ 985196 w 1598601"/>
                    <a:gd name="connsiteY5" fmla="*/ 1333403 h 2407727"/>
                    <a:gd name="connsiteX6" fmla="*/ 978371 w 1598601"/>
                    <a:gd name="connsiteY6" fmla="*/ 1299330 h 2407727"/>
                    <a:gd name="connsiteX7" fmla="*/ 1043608 w 1598601"/>
                    <a:gd name="connsiteY7" fmla="*/ 1286759 h 2407727"/>
                    <a:gd name="connsiteX8" fmla="*/ 355024 w 1598601"/>
                    <a:gd name="connsiteY8" fmla="*/ 1004643 h 2407727"/>
                    <a:gd name="connsiteX9" fmla="*/ 284512 w 1598601"/>
                    <a:gd name="connsiteY9" fmla="*/ 1008744 h 2407727"/>
                    <a:gd name="connsiteX10" fmla="*/ 153279 w 1598601"/>
                    <a:gd name="connsiteY10" fmla="*/ 1074360 h 2407727"/>
                    <a:gd name="connsiteX11" fmla="*/ 45329 w 1598601"/>
                    <a:gd name="connsiteY11" fmla="*/ 1251632 h 2407727"/>
                    <a:gd name="connsiteX12" fmla="*/ 81313 w 1598601"/>
                    <a:gd name="connsiteY12" fmla="*/ 1510394 h 2407727"/>
                    <a:gd name="connsiteX13" fmla="*/ 163333 w 1598601"/>
                    <a:gd name="connsiteY13" fmla="*/ 1626810 h 2407727"/>
                    <a:gd name="connsiteX14" fmla="*/ 189754 w 1598601"/>
                    <a:gd name="connsiteY14" fmla="*/ 1656641 h 2407727"/>
                    <a:gd name="connsiteX15" fmla="*/ 192119 w 1598601"/>
                    <a:gd name="connsiteY15" fmla="*/ 1661321 h 2407727"/>
                    <a:gd name="connsiteX16" fmla="*/ 273929 w 1598601"/>
                    <a:gd name="connsiteY16" fmla="*/ 1631574 h 2407727"/>
                    <a:gd name="connsiteX17" fmla="*/ 373942 w 1598601"/>
                    <a:gd name="connsiteY17" fmla="*/ 1636338 h 2407727"/>
                    <a:gd name="connsiteX18" fmla="*/ 461254 w 1598601"/>
                    <a:gd name="connsiteY18" fmla="*/ 1680786 h 2407727"/>
                    <a:gd name="connsiteX19" fmla="*/ 331079 w 1598601"/>
                    <a:gd name="connsiteY19" fmla="*/ 1652211 h 2407727"/>
                    <a:gd name="connsiteX20" fmla="*/ 240591 w 1598601"/>
                    <a:gd name="connsiteY20" fmla="*/ 1676024 h 2407727"/>
                    <a:gd name="connsiteX21" fmla="*/ 208345 w 1598601"/>
                    <a:gd name="connsiteY21" fmla="*/ 1749054 h 2407727"/>
                    <a:gd name="connsiteX22" fmla="*/ 235299 w 1598601"/>
                    <a:gd name="connsiteY22" fmla="*/ 1903035 h 2407727"/>
                    <a:gd name="connsiteX23" fmla="*/ 378173 w 1598601"/>
                    <a:gd name="connsiteY23" fmla="*/ 2101473 h 2407727"/>
                    <a:gd name="connsiteX24" fmla="*/ 699377 w 1598601"/>
                    <a:gd name="connsiteY24" fmla="*/ 2250697 h 2407727"/>
                    <a:gd name="connsiteX25" fmla="*/ 1262411 w 1598601"/>
                    <a:gd name="connsiteY25" fmla="*/ 2225298 h 2407727"/>
                    <a:gd name="connsiteX26" fmla="*/ 1327924 w 1598601"/>
                    <a:gd name="connsiteY26" fmla="*/ 2219048 h 2407727"/>
                    <a:gd name="connsiteX27" fmla="*/ 1286876 w 1598601"/>
                    <a:gd name="connsiteY27" fmla="*/ 2207789 h 2407727"/>
                    <a:gd name="connsiteX28" fmla="*/ 1208938 w 1598601"/>
                    <a:gd name="connsiteY28" fmla="*/ 2135339 h 2407727"/>
                    <a:gd name="connsiteX29" fmla="*/ 1093610 w 1598601"/>
                    <a:gd name="connsiteY29" fmla="*/ 1860701 h 2407727"/>
                    <a:gd name="connsiteX30" fmla="*/ 998360 w 1598601"/>
                    <a:gd name="connsiteY30" fmla="*/ 1684489 h 2407727"/>
                    <a:gd name="connsiteX31" fmla="*/ 734864 w 1598601"/>
                    <a:gd name="connsiteY31" fmla="*/ 1461065 h 2407727"/>
                    <a:gd name="connsiteX32" fmla="*/ 712081 w 1598601"/>
                    <a:gd name="connsiteY32" fmla="*/ 1472825 h 2407727"/>
                    <a:gd name="connsiteX33" fmla="*/ 680859 w 1598601"/>
                    <a:gd name="connsiteY33" fmla="*/ 1465279 h 2407727"/>
                    <a:gd name="connsiteX34" fmla="*/ 640644 w 1598601"/>
                    <a:gd name="connsiteY34" fmla="*/ 1466474 h 2407727"/>
                    <a:gd name="connsiteX35" fmla="*/ 591429 w 1598601"/>
                    <a:gd name="connsiteY35" fmla="*/ 1471632 h 2407727"/>
                    <a:gd name="connsiteX36" fmla="*/ 552334 w 1598601"/>
                    <a:gd name="connsiteY36" fmla="*/ 1487363 h 2407727"/>
                    <a:gd name="connsiteX37" fmla="*/ 497850 w 1598601"/>
                    <a:gd name="connsiteY37" fmla="*/ 1548937 h 2407727"/>
                    <a:gd name="connsiteX38" fmla="*/ 478720 w 1598601"/>
                    <a:gd name="connsiteY38" fmla="*/ 1664016 h 2407727"/>
                    <a:gd name="connsiteX39" fmla="*/ 467710 w 1598601"/>
                    <a:gd name="connsiteY39" fmla="*/ 1576167 h 2407727"/>
                    <a:gd name="connsiteX40" fmla="*/ 498617 w 1598601"/>
                    <a:gd name="connsiteY40" fmla="*/ 1495003 h 2407727"/>
                    <a:gd name="connsiteX41" fmla="*/ 564523 w 1598601"/>
                    <a:gd name="connsiteY41" fmla="*/ 1436940 h 2407727"/>
                    <a:gd name="connsiteX42" fmla="*/ 535337 w 1598601"/>
                    <a:gd name="connsiteY42" fmla="*/ 1339339 h 2407727"/>
                    <a:gd name="connsiteX43" fmla="*/ 527400 w 1598601"/>
                    <a:gd name="connsiteY43" fmla="*/ 1177249 h 2407727"/>
                    <a:gd name="connsiteX44" fmla="*/ 530804 w 1598601"/>
                    <a:gd name="connsiteY44" fmla="*/ 1124461 h 2407727"/>
                    <a:gd name="connsiteX45" fmla="*/ 527863 w 1598601"/>
                    <a:gd name="connsiteY45" fmla="*/ 1122647 h 2407727"/>
                    <a:gd name="connsiteX46" fmla="*/ 423684 w 1598601"/>
                    <a:gd name="connsiteY46" fmla="*/ 1021444 h 2407727"/>
                    <a:gd name="connsiteX47" fmla="*/ 355024 w 1598601"/>
                    <a:gd name="connsiteY47" fmla="*/ 1004643 h 2407727"/>
                    <a:gd name="connsiteX48" fmla="*/ 845073 w 1598601"/>
                    <a:gd name="connsiteY48" fmla="*/ 894417 h 2407727"/>
                    <a:gd name="connsiteX49" fmla="*/ 817384 w 1598601"/>
                    <a:gd name="connsiteY49" fmla="*/ 931881 h 2407727"/>
                    <a:gd name="connsiteX50" fmla="*/ 768170 w 1598601"/>
                    <a:gd name="connsiteY50" fmla="*/ 1167360 h 2407727"/>
                    <a:gd name="connsiteX51" fmla="*/ 753354 w 1598601"/>
                    <a:gd name="connsiteY51" fmla="*/ 1423477 h 2407727"/>
                    <a:gd name="connsiteX52" fmla="*/ 743842 w 1598601"/>
                    <a:gd name="connsiteY52" fmla="*/ 1451649 h 2407727"/>
                    <a:gd name="connsiteX53" fmla="*/ 1058685 w 1598601"/>
                    <a:gd name="connsiteY53" fmla="*/ 1689251 h 2407727"/>
                    <a:gd name="connsiteX54" fmla="*/ 1209497 w 1598601"/>
                    <a:gd name="connsiteY54" fmla="*/ 2009927 h 2407727"/>
                    <a:gd name="connsiteX55" fmla="*/ 1327727 w 1598601"/>
                    <a:gd name="connsiteY55" fmla="*/ 2119294 h 2407727"/>
                    <a:gd name="connsiteX56" fmla="*/ 1457648 w 1598601"/>
                    <a:gd name="connsiteY56" fmla="*/ 2149650 h 2407727"/>
                    <a:gd name="connsiteX57" fmla="*/ 1455193 w 1598601"/>
                    <a:gd name="connsiteY57" fmla="*/ 2112222 h 2407727"/>
                    <a:gd name="connsiteX58" fmla="*/ 1428569 w 1598601"/>
                    <a:gd name="connsiteY58" fmla="*/ 1667027 h 2407727"/>
                    <a:gd name="connsiteX59" fmla="*/ 1216373 w 1598601"/>
                    <a:gd name="connsiteY59" fmla="*/ 1247927 h 2407727"/>
                    <a:gd name="connsiteX60" fmla="*/ 1204720 w 1598601"/>
                    <a:gd name="connsiteY60" fmla="*/ 1219703 h 2407727"/>
                    <a:gd name="connsiteX61" fmla="*/ 1200946 w 1598601"/>
                    <a:gd name="connsiteY61" fmla="*/ 1220857 h 2407727"/>
                    <a:gd name="connsiteX62" fmla="*/ 1158007 w 1598601"/>
                    <a:gd name="connsiteY62" fmla="*/ 1267925 h 2407727"/>
                    <a:gd name="connsiteX63" fmla="*/ 1144365 w 1598601"/>
                    <a:gd name="connsiteY63" fmla="*/ 1357161 h 2407727"/>
                    <a:gd name="connsiteX64" fmla="*/ 1134149 w 1598601"/>
                    <a:gd name="connsiteY64" fmla="*/ 1288646 h 2407727"/>
                    <a:gd name="connsiteX65" fmla="*/ 1157796 w 1598601"/>
                    <a:gd name="connsiteY65" fmla="*/ 1225976 h 2407727"/>
                    <a:gd name="connsiteX66" fmla="*/ 1185362 w 1598601"/>
                    <a:gd name="connsiteY66" fmla="*/ 1198193 h 2407727"/>
                    <a:gd name="connsiteX67" fmla="*/ 1193758 w 1598601"/>
                    <a:gd name="connsiteY67" fmla="*/ 1193150 h 2407727"/>
                    <a:gd name="connsiteX68" fmla="*/ 1190489 w 1598601"/>
                    <a:gd name="connsiteY68" fmla="*/ 1185234 h 2407727"/>
                    <a:gd name="connsiteX69" fmla="*/ 1148111 w 1598601"/>
                    <a:gd name="connsiteY69" fmla="*/ 1059015 h 2407727"/>
                    <a:gd name="connsiteX70" fmla="*/ 1043336 w 1598601"/>
                    <a:gd name="connsiteY70" fmla="*/ 934660 h 2407727"/>
                    <a:gd name="connsiteX71" fmla="*/ 873636 w 1598601"/>
                    <a:gd name="connsiteY71" fmla="*/ 898417 h 2407727"/>
                    <a:gd name="connsiteX72" fmla="*/ 845073 w 1598601"/>
                    <a:gd name="connsiteY72" fmla="*/ 894417 h 2407727"/>
                    <a:gd name="connsiteX73" fmla="*/ 897846 w 1598601"/>
                    <a:gd name="connsiteY73" fmla="*/ 1404 h 2407727"/>
                    <a:gd name="connsiteX74" fmla="*/ 962375 w 1598601"/>
                    <a:gd name="connsiteY74" fmla="*/ 77939 h 2407727"/>
                    <a:gd name="connsiteX75" fmla="*/ 874004 w 1598601"/>
                    <a:gd name="connsiteY75" fmla="*/ 182185 h 2407727"/>
                    <a:gd name="connsiteX76" fmla="*/ 500413 w 1598601"/>
                    <a:gd name="connsiteY76" fmla="*/ 426660 h 2407727"/>
                    <a:gd name="connsiteX77" fmla="*/ 426329 w 1598601"/>
                    <a:gd name="connsiteY77" fmla="*/ 604460 h 2407727"/>
                    <a:gd name="connsiteX78" fmla="*/ 424213 w 1598601"/>
                    <a:gd name="connsiteY78" fmla="*/ 839410 h 2407727"/>
                    <a:gd name="connsiteX79" fmla="*/ 529459 w 1598601"/>
                    <a:gd name="connsiteY79" fmla="*/ 1078081 h 2407727"/>
                    <a:gd name="connsiteX80" fmla="*/ 582963 w 1598601"/>
                    <a:gd name="connsiteY80" fmla="*/ 933468 h 2407727"/>
                    <a:gd name="connsiteX81" fmla="*/ 664984 w 1598601"/>
                    <a:gd name="connsiteY81" fmla="*/ 771543 h 2407727"/>
                    <a:gd name="connsiteX82" fmla="*/ 812092 w 1598601"/>
                    <a:gd name="connsiteY82" fmla="*/ 604461 h 2407727"/>
                    <a:gd name="connsiteX83" fmla="*/ 1016350 w 1598601"/>
                    <a:gd name="connsiteY83" fmla="*/ 512781 h 2407727"/>
                    <a:gd name="connsiteX84" fmla="*/ 1207380 w 1598601"/>
                    <a:gd name="connsiteY84" fmla="*/ 505372 h 2407727"/>
                    <a:gd name="connsiteX85" fmla="*/ 1214788 w 1598601"/>
                    <a:gd name="connsiteY85" fmla="*/ 543472 h 2407727"/>
                    <a:gd name="connsiteX86" fmla="*/ 1060800 w 1598601"/>
                    <a:gd name="connsiteY86" fmla="*/ 545060 h 2407727"/>
                    <a:gd name="connsiteX87" fmla="*/ 837493 w 1598601"/>
                    <a:gd name="connsiteY87" fmla="*/ 634490 h 2407727"/>
                    <a:gd name="connsiteX88" fmla="*/ 671863 w 1598601"/>
                    <a:gd name="connsiteY88" fmla="*/ 829751 h 2407727"/>
                    <a:gd name="connsiteX89" fmla="*/ 573437 w 1598601"/>
                    <a:gd name="connsiteY89" fmla="*/ 1077932 h 2407727"/>
                    <a:gd name="connsiteX90" fmla="*/ 569734 w 1598601"/>
                    <a:gd name="connsiteY90" fmla="*/ 1334577 h 2407727"/>
                    <a:gd name="connsiteX91" fmla="*/ 603600 w 1598601"/>
                    <a:gd name="connsiteY91" fmla="*/ 1439881 h 2407727"/>
                    <a:gd name="connsiteX92" fmla="*/ 711022 w 1598601"/>
                    <a:gd name="connsiteY92" fmla="*/ 1433531 h 2407727"/>
                    <a:gd name="connsiteX93" fmla="*/ 724250 w 1598601"/>
                    <a:gd name="connsiteY93" fmla="*/ 1340397 h 2407727"/>
                    <a:gd name="connsiteX94" fmla="*/ 735892 w 1598601"/>
                    <a:gd name="connsiteY94" fmla="*/ 1150426 h 2407727"/>
                    <a:gd name="connsiteX95" fmla="*/ 783517 w 1598601"/>
                    <a:gd name="connsiteY95" fmla="*/ 917064 h 2407727"/>
                    <a:gd name="connsiteX96" fmla="*/ 923217 w 1598601"/>
                    <a:gd name="connsiteY96" fmla="*/ 775247 h 2407727"/>
                    <a:gd name="connsiteX97" fmla="*/ 1099959 w 1598601"/>
                    <a:gd name="connsiteY97" fmla="*/ 722859 h 2407727"/>
                    <a:gd name="connsiteX98" fmla="*/ 1264000 w 1598601"/>
                    <a:gd name="connsiteY98" fmla="*/ 711747 h 2407727"/>
                    <a:gd name="connsiteX99" fmla="*/ 1255534 w 1598601"/>
                    <a:gd name="connsiteY99" fmla="*/ 749847 h 2407727"/>
                    <a:gd name="connsiteX100" fmla="*/ 1092022 w 1598601"/>
                    <a:gd name="connsiteY100" fmla="*/ 762019 h 2407727"/>
                    <a:gd name="connsiteX101" fmla="*/ 946500 w 1598601"/>
                    <a:gd name="connsiteY101" fmla="*/ 804881 h 2407727"/>
                    <a:gd name="connsiteX102" fmla="*/ 869672 w 1598601"/>
                    <a:gd name="connsiteY102" fmla="*/ 863189 h 2407727"/>
                    <a:gd name="connsiteX103" fmla="*/ 905959 w 1598601"/>
                    <a:gd name="connsiteY103" fmla="*/ 872677 h 2407727"/>
                    <a:gd name="connsiteX104" fmla="*/ 992007 w 1598601"/>
                    <a:gd name="connsiteY104" fmla="*/ 883331 h 2407727"/>
                    <a:gd name="connsiteX105" fmla="*/ 1110011 w 1598601"/>
                    <a:gd name="connsiteY105" fmla="*/ 928840 h 2407727"/>
                    <a:gd name="connsiteX106" fmla="*/ 1239127 w 1598601"/>
                    <a:gd name="connsiteY106" fmla="*/ 1097114 h 2407727"/>
                    <a:gd name="connsiteX107" fmla="*/ 1299982 w 1598601"/>
                    <a:gd name="connsiteY107" fmla="*/ 1226232 h 2407727"/>
                    <a:gd name="connsiteX108" fmla="*/ 1503711 w 1598601"/>
                    <a:gd name="connsiteY108" fmla="*/ 1583419 h 2407727"/>
                    <a:gd name="connsiteX109" fmla="*/ 1597902 w 1598601"/>
                    <a:gd name="connsiteY109" fmla="*/ 2111527 h 2407727"/>
                    <a:gd name="connsiteX110" fmla="*/ 1540224 w 1598601"/>
                    <a:gd name="connsiteY110" fmla="*/ 2282977 h 2407727"/>
                    <a:gd name="connsiteX111" fmla="*/ 1484628 w 1598601"/>
                    <a:gd name="connsiteY111" fmla="*/ 2314116 h 2407727"/>
                    <a:gd name="connsiteX112" fmla="*/ 1277756 w 1598601"/>
                    <a:gd name="connsiteY112" fmla="*/ 2367644 h 2407727"/>
                    <a:gd name="connsiteX113" fmla="*/ 747532 w 1598601"/>
                    <a:gd name="connsiteY113" fmla="*/ 2402039 h 2407727"/>
                    <a:gd name="connsiteX114" fmla="*/ 395107 w 1598601"/>
                    <a:gd name="connsiteY114" fmla="*/ 2244876 h 2407727"/>
                    <a:gd name="connsiteX115" fmla="*/ 226303 w 1598601"/>
                    <a:gd name="connsiteY115" fmla="*/ 2069194 h 2407727"/>
                    <a:gd name="connsiteX116" fmla="*/ 160520 w 1598601"/>
                    <a:gd name="connsiteY116" fmla="*/ 1894171 h 2407727"/>
                    <a:gd name="connsiteX117" fmla="*/ 152959 w 1598601"/>
                    <a:gd name="connsiteY117" fmla="*/ 1798547 h 2407727"/>
                    <a:gd name="connsiteX118" fmla="*/ 146943 w 1598601"/>
                    <a:gd name="connsiteY118" fmla="*/ 1722472 h 2407727"/>
                    <a:gd name="connsiteX119" fmla="*/ 138463 w 1598601"/>
                    <a:gd name="connsiteY119" fmla="*/ 1715710 h 2407727"/>
                    <a:gd name="connsiteX120" fmla="*/ 28396 w 1598601"/>
                    <a:gd name="connsiteY120" fmla="*/ 1512510 h 2407727"/>
                    <a:gd name="connsiteX121" fmla="*/ 7229 w 1598601"/>
                    <a:gd name="connsiteY121" fmla="*/ 1233110 h 2407727"/>
                    <a:gd name="connsiteX122" fmla="*/ 132641 w 1598601"/>
                    <a:gd name="connsiteY122" fmla="*/ 1023560 h 2407727"/>
                    <a:gd name="connsiteX123" fmla="*/ 191379 w 1598601"/>
                    <a:gd name="connsiteY123" fmla="*/ 783847 h 2407727"/>
                    <a:gd name="connsiteX124" fmla="*/ 195613 w 1598601"/>
                    <a:gd name="connsiteY124" fmla="*/ 441477 h 2407727"/>
                    <a:gd name="connsiteX125" fmla="*/ 185029 w 1598601"/>
                    <a:gd name="connsiteY125" fmla="*/ 267910 h 2407727"/>
                    <a:gd name="connsiteX126" fmla="*/ 142696 w 1598601"/>
                    <a:gd name="connsiteY126" fmla="*/ 128210 h 2407727"/>
                    <a:gd name="connsiteX127" fmla="*/ 297213 w 1598601"/>
                    <a:gd name="connsiteY127" fmla="*/ 73177 h 2407727"/>
                    <a:gd name="connsiteX128" fmla="*/ 352246 w 1598601"/>
                    <a:gd name="connsiteY128" fmla="*/ 221344 h 2407727"/>
                    <a:gd name="connsiteX129" fmla="*/ 441146 w 1598601"/>
                    <a:gd name="connsiteY129" fmla="*/ 263677 h 2407727"/>
                    <a:gd name="connsiteX130" fmla="*/ 843313 w 1598601"/>
                    <a:gd name="connsiteY130" fmla="*/ 7560 h 2407727"/>
                    <a:gd name="connsiteX131" fmla="*/ 897846 w 1598601"/>
                    <a:gd name="connsiteY131" fmla="*/ 1404 h 2407727"/>
                    <a:gd name="connsiteX0" fmla="*/ 1043608 w 1598601"/>
                    <a:gd name="connsiteY0" fmla="*/ 1286759 h 2407727"/>
                    <a:gd name="connsiteX1" fmla="*/ 1101811 w 1598601"/>
                    <a:gd name="connsiteY1" fmla="*/ 1309408 h 2407727"/>
                    <a:gd name="connsiteX2" fmla="*/ 1142465 w 1598601"/>
                    <a:gd name="connsiteY2" fmla="*/ 1361159 h 2407727"/>
                    <a:gd name="connsiteX3" fmla="*/ 1072349 w 1598601"/>
                    <a:gd name="connsiteY3" fmla="*/ 1313921 h 2407727"/>
                    <a:gd name="connsiteX4" fmla="*/ 1012601 w 1598601"/>
                    <a:gd name="connsiteY4" fmla="*/ 1315752 h 2407727"/>
                    <a:gd name="connsiteX5" fmla="*/ 985196 w 1598601"/>
                    <a:gd name="connsiteY5" fmla="*/ 1333403 h 2407727"/>
                    <a:gd name="connsiteX6" fmla="*/ 978371 w 1598601"/>
                    <a:gd name="connsiteY6" fmla="*/ 1299330 h 2407727"/>
                    <a:gd name="connsiteX7" fmla="*/ 1043608 w 1598601"/>
                    <a:gd name="connsiteY7" fmla="*/ 1286759 h 2407727"/>
                    <a:gd name="connsiteX8" fmla="*/ 355024 w 1598601"/>
                    <a:gd name="connsiteY8" fmla="*/ 1004643 h 2407727"/>
                    <a:gd name="connsiteX9" fmla="*/ 284512 w 1598601"/>
                    <a:gd name="connsiteY9" fmla="*/ 1008744 h 2407727"/>
                    <a:gd name="connsiteX10" fmla="*/ 153279 w 1598601"/>
                    <a:gd name="connsiteY10" fmla="*/ 1074360 h 2407727"/>
                    <a:gd name="connsiteX11" fmla="*/ 45329 w 1598601"/>
                    <a:gd name="connsiteY11" fmla="*/ 1251632 h 2407727"/>
                    <a:gd name="connsiteX12" fmla="*/ 81313 w 1598601"/>
                    <a:gd name="connsiteY12" fmla="*/ 1510394 h 2407727"/>
                    <a:gd name="connsiteX13" fmla="*/ 163333 w 1598601"/>
                    <a:gd name="connsiteY13" fmla="*/ 1626810 h 2407727"/>
                    <a:gd name="connsiteX14" fmla="*/ 189754 w 1598601"/>
                    <a:gd name="connsiteY14" fmla="*/ 1656641 h 2407727"/>
                    <a:gd name="connsiteX15" fmla="*/ 192119 w 1598601"/>
                    <a:gd name="connsiteY15" fmla="*/ 1661321 h 2407727"/>
                    <a:gd name="connsiteX16" fmla="*/ 273929 w 1598601"/>
                    <a:gd name="connsiteY16" fmla="*/ 1631574 h 2407727"/>
                    <a:gd name="connsiteX17" fmla="*/ 373942 w 1598601"/>
                    <a:gd name="connsiteY17" fmla="*/ 1636338 h 2407727"/>
                    <a:gd name="connsiteX18" fmla="*/ 461254 w 1598601"/>
                    <a:gd name="connsiteY18" fmla="*/ 1680786 h 2407727"/>
                    <a:gd name="connsiteX19" fmla="*/ 331079 w 1598601"/>
                    <a:gd name="connsiteY19" fmla="*/ 1652211 h 2407727"/>
                    <a:gd name="connsiteX20" fmla="*/ 240591 w 1598601"/>
                    <a:gd name="connsiteY20" fmla="*/ 1676024 h 2407727"/>
                    <a:gd name="connsiteX21" fmla="*/ 208345 w 1598601"/>
                    <a:gd name="connsiteY21" fmla="*/ 1749054 h 2407727"/>
                    <a:gd name="connsiteX22" fmla="*/ 235299 w 1598601"/>
                    <a:gd name="connsiteY22" fmla="*/ 1903035 h 2407727"/>
                    <a:gd name="connsiteX23" fmla="*/ 378173 w 1598601"/>
                    <a:gd name="connsiteY23" fmla="*/ 2101473 h 2407727"/>
                    <a:gd name="connsiteX24" fmla="*/ 699377 w 1598601"/>
                    <a:gd name="connsiteY24" fmla="*/ 2250697 h 2407727"/>
                    <a:gd name="connsiteX25" fmla="*/ 1262411 w 1598601"/>
                    <a:gd name="connsiteY25" fmla="*/ 2225298 h 2407727"/>
                    <a:gd name="connsiteX26" fmla="*/ 1327924 w 1598601"/>
                    <a:gd name="connsiteY26" fmla="*/ 2219048 h 2407727"/>
                    <a:gd name="connsiteX27" fmla="*/ 1297427 w 1598601"/>
                    <a:gd name="connsiteY27" fmla="*/ 2207789 h 2407727"/>
                    <a:gd name="connsiteX28" fmla="*/ 1208938 w 1598601"/>
                    <a:gd name="connsiteY28" fmla="*/ 2135339 h 2407727"/>
                    <a:gd name="connsiteX29" fmla="*/ 1093610 w 1598601"/>
                    <a:gd name="connsiteY29" fmla="*/ 1860701 h 2407727"/>
                    <a:gd name="connsiteX30" fmla="*/ 998360 w 1598601"/>
                    <a:gd name="connsiteY30" fmla="*/ 1684489 h 2407727"/>
                    <a:gd name="connsiteX31" fmla="*/ 734864 w 1598601"/>
                    <a:gd name="connsiteY31" fmla="*/ 1461065 h 2407727"/>
                    <a:gd name="connsiteX32" fmla="*/ 712081 w 1598601"/>
                    <a:gd name="connsiteY32" fmla="*/ 1472825 h 2407727"/>
                    <a:gd name="connsiteX33" fmla="*/ 680859 w 1598601"/>
                    <a:gd name="connsiteY33" fmla="*/ 1465279 h 2407727"/>
                    <a:gd name="connsiteX34" fmla="*/ 640644 w 1598601"/>
                    <a:gd name="connsiteY34" fmla="*/ 1466474 h 2407727"/>
                    <a:gd name="connsiteX35" fmla="*/ 591429 w 1598601"/>
                    <a:gd name="connsiteY35" fmla="*/ 1471632 h 2407727"/>
                    <a:gd name="connsiteX36" fmla="*/ 552334 w 1598601"/>
                    <a:gd name="connsiteY36" fmla="*/ 1487363 h 2407727"/>
                    <a:gd name="connsiteX37" fmla="*/ 497850 w 1598601"/>
                    <a:gd name="connsiteY37" fmla="*/ 1548937 h 2407727"/>
                    <a:gd name="connsiteX38" fmla="*/ 478720 w 1598601"/>
                    <a:gd name="connsiteY38" fmla="*/ 1664016 h 2407727"/>
                    <a:gd name="connsiteX39" fmla="*/ 467710 w 1598601"/>
                    <a:gd name="connsiteY39" fmla="*/ 1576167 h 2407727"/>
                    <a:gd name="connsiteX40" fmla="*/ 498617 w 1598601"/>
                    <a:gd name="connsiteY40" fmla="*/ 1495003 h 2407727"/>
                    <a:gd name="connsiteX41" fmla="*/ 564523 w 1598601"/>
                    <a:gd name="connsiteY41" fmla="*/ 1436940 h 2407727"/>
                    <a:gd name="connsiteX42" fmla="*/ 535337 w 1598601"/>
                    <a:gd name="connsiteY42" fmla="*/ 1339339 h 2407727"/>
                    <a:gd name="connsiteX43" fmla="*/ 527400 w 1598601"/>
                    <a:gd name="connsiteY43" fmla="*/ 1177249 h 2407727"/>
                    <a:gd name="connsiteX44" fmla="*/ 530804 w 1598601"/>
                    <a:gd name="connsiteY44" fmla="*/ 1124461 h 2407727"/>
                    <a:gd name="connsiteX45" fmla="*/ 527863 w 1598601"/>
                    <a:gd name="connsiteY45" fmla="*/ 1122647 h 2407727"/>
                    <a:gd name="connsiteX46" fmla="*/ 423684 w 1598601"/>
                    <a:gd name="connsiteY46" fmla="*/ 1021444 h 2407727"/>
                    <a:gd name="connsiteX47" fmla="*/ 355024 w 1598601"/>
                    <a:gd name="connsiteY47" fmla="*/ 1004643 h 2407727"/>
                    <a:gd name="connsiteX48" fmla="*/ 845073 w 1598601"/>
                    <a:gd name="connsiteY48" fmla="*/ 894417 h 2407727"/>
                    <a:gd name="connsiteX49" fmla="*/ 817384 w 1598601"/>
                    <a:gd name="connsiteY49" fmla="*/ 931881 h 2407727"/>
                    <a:gd name="connsiteX50" fmla="*/ 768170 w 1598601"/>
                    <a:gd name="connsiteY50" fmla="*/ 1167360 h 2407727"/>
                    <a:gd name="connsiteX51" fmla="*/ 753354 w 1598601"/>
                    <a:gd name="connsiteY51" fmla="*/ 1423477 h 2407727"/>
                    <a:gd name="connsiteX52" fmla="*/ 743842 w 1598601"/>
                    <a:gd name="connsiteY52" fmla="*/ 1451649 h 2407727"/>
                    <a:gd name="connsiteX53" fmla="*/ 1058685 w 1598601"/>
                    <a:gd name="connsiteY53" fmla="*/ 1689251 h 2407727"/>
                    <a:gd name="connsiteX54" fmla="*/ 1209497 w 1598601"/>
                    <a:gd name="connsiteY54" fmla="*/ 2009927 h 2407727"/>
                    <a:gd name="connsiteX55" fmla="*/ 1327727 w 1598601"/>
                    <a:gd name="connsiteY55" fmla="*/ 2119294 h 2407727"/>
                    <a:gd name="connsiteX56" fmla="*/ 1457648 w 1598601"/>
                    <a:gd name="connsiteY56" fmla="*/ 2149650 h 2407727"/>
                    <a:gd name="connsiteX57" fmla="*/ 1455193 w 1598601"/>
                    <a:gd name="connsiteY57" fmla="*/ 2112222 h 2407727"/>
                    <a:gd name="connsiteX58" fmla="*/ 1428569 w 1598601"/>
                    <a:gd name="connsiteY58" fmla="*/ 1667027 h 2407727"/>
                    <a:gd name="connsiteX59" fmla="*/ 1216373 w 1598601"/>
                    <a:gd name="connsiteY59" fmla="*/ 1247927 h 2407727"/>
                    <a:gd name="connsiteX60" fmla="*/ 1204720 w 1598601"/>
                    <a:gd name="connsiteY60" fmla="*/ 1219703 h 2407727"/>
                    <a:gd name="connsiteX61" fmla="*/ 1200946 w 1598601"/>
                    <a:gd name="connsiteY61" fmla="*/ 1220857 h 2407727"/>
                    <a:gd name="connsiteX62" fmla="*/ 1158007 w 1598601"/>
                    <a:gd name="connsiteY62" fmla="*/ 1267925 h 2407727"/>
                    <a:gd name="connsiteX63" fmla="*/ 1144365 w 1598601"/>
                    <a:gd name="connsiteY63" fmla="*/ 1357161 h 2407727"/>
                    <a:gd name="connsiteX64" fmla="*/ 1134149 w 1598601"/>
                    <a:gd name="connsiteY64" fmla="*/ 1288646 h 2407727"/>
                    <a:gd name="connsiteX65" fmla="*/ 1157796 w 1598601"/>
                    <a:gd name="connsiteY65" fmla="*/ 1225976 h 2407727"/>
                    <a:gd name="connsiteX66" fmla="*/ 1185362 w 1598601"/>
                    <a:gd name="connsiteY66" fmla="*/ 1198193 h 2407727"/>
                    <a:gd name="connsiteX67" fmla="*/ 1193758 w 1598601"/>
                    <a:gd name="connsiteY67" fmla="*/ 1193150 h 2407727"/>
                    <a:gd name="connsiteX68" fmla="*/ 1190489 w 1598601"/>
                    <a:gd name="connsiteY68" fmla="*/ 1185234 h 2407727"/>
                    <a:gd name="connsiteX69" fmla="*/ 1148111 w 1598601"/>
                    <a:gd name="connsiteY69" fmla="*/ 1059015 h 2407727"/>
                    <a:gd name="connsiteX70" fmla="*/ 1043336 w 1598601"/>
                    <a:gd name="connsiteY70" fmla="*/ 934660 h 2407727"/>
                    <a:gd name="connsiteX71" fmla="*/ 873636 w 1598601"/>
                    <a:gd name="connsiteY71" fmla="*/ 898417 h 2407727"/>
                    <a:gd name="connsiteX72" fmla="*/ 845073 w 1598601"/>
                    <a:gd name="connsiteY72" fmla="*/ 894417 h 2407727"/>
                    <a:gd name="connsiteX73" fmla="*/ 897846 w 1598601"/>
                    <a:gd name="connsiteY73" fmla="*/ 1404 h 2407727"/>
                    <a:gd name="connsiteX74" fmla="*/ 962375 w 1598601"/>
                    <a:gd name="connsiteY74" fmla="*/ 77939 h 2407727"/>
                    <a:gd name="connsiteX75" fmla="*/ 874004 w 1598601"/>
                    <a:gd name="connsiteY75" fmla="*/ 182185 h 2407727"/>
                    <a:gd name="connsiteX76" fmla="*/ 500413 w 1598601"/>
                    <a:gd name="connsiteY76" fmla="*/ 426660 h 2407727"/>
                    <a:gd name="connsiteX77" fmla="*/ 426329 w 1598601"/>
                    <a:gd name="connsiteY77" fmla="*/ 604460 h 2407727"/>
                    <a:gd name="connsiteX78" fmla="*/ 424213 w 1598601"/>
                    <a:gd name="connsiteY78" fmla="*/ 839410 h 2407727"/>
                    <a:gd name="connsiteX79" fmla="*/ 529459 w 1598601"/>
                    <a:gd name="connsiteY79" fmla="*/ 1078081 h 2407727"/>
                    <a:gd name="connsiteX80" fmla="*/ 582963 w 1598601"/>
                    <a:gd name="connsiteY80" fmla="*/ 933468 h 2407727"/>
                    <a:gd name="connsiteX81" fmla="*/ 664984 w 1598601"/>
                    <a:gd name="connsiteY81" fmla="*/ 771543 h 2407727"/>
                    <a:gd name="connsiteX82" fmla="*/ 812092 w 1598601"/>
                    <a:gd name="connsiteY82" fmla="*/ 604461 h 2407727"/>
                    <a:gd name="connsiteX83" fmla="*/ 1016350 w 1598601"/>
                    <a:gd name="connsiteY83" fmla="*/ 512781 h 2407727"/>
                    <a:gd name="connsiteX84" fmla="*/ 1207380 w 1598601"/>
                    <a:gd name="connsiteY84" fmla="*/ 505372 h 2407727"/>
                    <a:gd name="connsiteX85" fmla="*/ 1214788 w 1598601"/>
                    <a:gd name="connsiteY85" fmla="*/ 543472 h 2407727"/>
                    <a:gd name="connsiteX86" fmla="*/ 1060800 w 1598601"/>
                    <a:gd name="connsiteY86" fmla="*/ 545060 h 2407727"/>
                    <a:gd name="connsiteX87" fmla="*/ 837493 w 1598601"/>
                    <a:gd name="connsiteY87" fmla="*/ 634490 h 2407727"/>
                    <a:gd name="connsiteX88" fmla="*/ 671863 w 1598601"/>
                    <a:gd name="connsiteY88" fmla="*/ 829751 h 2407727"/>
                    <a:gd name="connsiteX89" fmla="*/ 573437 w 1598601"/>
                    <a:gd name="connsiteY89" fmla="*/ 1077932 h 2407727"/>
                    <a:gd name="connsiteX90" fmla="*/ 569734 w 1598601"/>
                    <a:gd name="connsiteY90" fmla="*/ 1334577 h 2407727"/>
                    <a:gd name="connsiteX91" fmla="*/ 603600 w 1598601"/>
                    <a:gd name="connsiteY91" fmla="*/ 1439881 h 2407727"/>
                    <a:gd name="connsiteX92" fmla="*/ 711022 w 1598601"/>
                    <a:gd name="connsiteY92" fmla="*/ 1433531 h 2407727"/>
                    <a:gd name="connsiteX93" fmla="*/ 724250 w 1598601"/>
                    <a:gd name="connsiteY93" fmla="*/ 1340397 h 2407727"/>
                    <a:gd name="connsiteX94" fmla="*/ 735892 w 1598601"/>
                    <a:gd name="connsiteY94" fmla="*/ 1150426 h 2407727"/>
                    <a:gd name="connsiteX95" fmla="*/ 783517 w 1598601"/>
                    <a:gd name="connsiteY95" fmla="*/ 917064 h 2407727"/>
                    <a:gd name="connsiteX96" fmla="*/ 923217 w 1598601"/>
                    <a:gd name="connsiteY96" fmla="*/ 775247 h 2407727"/>
                    <a:gd name="connsiteX97" fmla="*/ 1099959 w 1598601"/>
                    <a:gd name="connsiteY97" fmla="*/ 722859 h 2407727"/>
                    <a:gd name="connsiteX98" fmla="*/ 1264000 w 1598601"/>
                    <a:gd name="connsiteY98" fmla="*/ 711747 h 2407727"/>
                    <a:gd name="connsiteX99" fmla="*/ 1255534 w 1598601"/>
                    <a:gd name="connsiteY99" fmla="*/ 749847 h 2407727"/>
                    <a:gd name="connsiteX100" fmla="*/ 1092022 w 1598601"/>
                    <a:gd name="connsiteY100" fmla="*/ 762019 h 2407727"/>
                    <a:gd name="connsiteX101" fmla="*/ 946500 w 1598601"/>
                    <a:gd name="connsiteY101" fmla="*/ 804881 h 2407727"/>
                    <a:gd name="connsiteX102" fmla="*/ 869672 w 1598601"/>
                    <a:gd name="connsiteY102" fmla="*/ 863189 h 2407727"/>
                    <a:gd name="connsiteX103" fmla="*/ 905959 w 1598601"/>
                    <a:gd name="connsiteY103" fmla="*/ 872677 h 2407727"/>
                    <a:gd name="connsiteX104" fmla="*/ 992007 w 1598601"/>
                    <a:gd name="connsiteY104" fmla="*/ 883331 h 2407727"/>
                    <a:gd name="connsiteX105" fmla="*/ 1110011 w 1598601"/>
                    <a:gd name="connsiteY105" fmla="*/ 928840 h 2407727"/>
                    <a:gd name="connsiteX106" fmla="*/ 1239127 w 1598601"/>
                    <a:gd name="connsiteY106" fmla="*/ 1097114 h 2407727"/>
                    <a:gd name="connsiteX107" fmla="*/ 1299982 w 1598601"/>
                    <a:gd name="connsiteY107" fmla="*/ 1226232 h 2407727"/>
                    <a:gd name="connsiteX108" fmla="*/ 1503711 w 1598601"/>
                    <a:gd name="connsiteY108" fmla="*/ 1583419 h 2407727"/>
                    <a:gd name="connsiteX109" fmla="*/ 1597902 w 1598601"/>
                    <a:gd name="connsiteY109" fmla="*/ 2111527 h 2407727"/>
                    <a:gd name="connsiteX110" fmla="*/ 1540224 w 1598601"/>
                    <a:gd name="connsiteY110" fmla="*/ 2282977 h 2407727"/>
                    <a:gd name="connsiteX111" fmla="*/ 1484628 w 1598601"/>
                    <a:gd name="connsiteY111" fmla="*/ 2314116 h 2407727"/>
                    <a:gd name="connsiteX112" fmla="*/ 1277756 w 1598601"/>
                    <a:gd name="connsiteY112" fmla="*/ 2367644 h 2407727"/>
                    <a:gd name="connsiteX113" fmla="*/ 747532 w 1598601"/>
                    <a:gd name="connsiteY113" fmla="*/ 2402039 h 2407727"/>
                    <a:gd name="connsiteX114" fmla="*/ 395107 w 1598601"/>
                    <a:gd name="connsiteY114" fmla="*/ 2244876 h 2407727"/>
                    <a:gd name="connsiteX115" fmla="*/ 226303 w 1598601"/>
                    <a:gd name="connsiteY115" fmla="*/ 2069194 h 2407727"/>
                    <a:gd name="connsiteX116" fmla="*/ 160520 w 1598601"/>
                    <a:gd name="connsiteY116" fmla="*/ 1894171 h 2407727"/>
                    <a:gd name="connsiteX117" fmla="*/ 152959 w 1598601"/>
                    <a:gd name="connsiteY117" fmla="*/ 1798547 h 2407727"/>
                    <a:gd name="connsiteX118" fmla="*/ 146943 w 1598601"/>
                    <a:gd name="connsiteY118" fmla="*/ 1722472 h 2407727"/>
                    <a:gd name="connsiteX119" fmla="*/ 138463 w 1598601"/>
                    <a:gd name="connsiteY119" fmla="*/ 1715710 h 2407727"/>
                    <a:gd name="connsiteX120" fmla="*/ 28396 w 1598601"/>
                    <a:gd name="connsiteY120" fmla="*/ 1512510 h 2407727"/>
                    <a:gd name="connsiteX121" fmla="*/ 7229 w 1598601"/>
                    <a:gd name="connsiteY121" fmla="*/ 1233110 h 2407727"/>
                    <a:gd name="connsiteX122" fmla="*/ 132641 w 1598601"/>
                    <a:gd name="connsiteY122" fmla="*/ 1023560 h 2407727"/>
                    <a:gd name="connsiteX123" fmla="*/ 191379 w 1598601"/>
                    <a:gd name="connsiteY123" fmla="*/ 783847 h 2407727"/>
                    <a:gd name="connsiteX124" fmla="*/ 195613 w 1598601"/>
                    <a:gd name="connsiteY124" fmla="*/ 441477 h 2407727"/>
                    <a:gd name="connsiteX125" fmla="*/ 185029 w 1598601"/>
                    <a:gd name="connsiteY125" fmla="*/ 267910 h 2407727"/>
                    <a:gd name="connsiteX126" fmla="*/ 142696 w 1598601"/>
                    <a:gd name="connsiteY126" fmla="*/ 128210 h 2407727"/>
                    <a:gd name="connsiteX127" fmla="*/ 297213 w 1598601"/>
                    <a:gd name="connsiteY127" fmla="*/ 73177 h 2407727"/>
                    <a:gd name="connsiteX128" fmla="*/ 352246 w 1598601"/>
                    <a:gd name="connsiteY128" fmla="*/ 221344 h 2407727"/>
                    <a:gd name="connsiteX129" fmla="*/ 441146 w 1598601"/>
                    <a:gd name="connsiteY129" fmla="*/ 263677 h 2407727"/>
                    <a:gd name="connsiteX130" fmla="*/ 843313 w 1598601"/>
                    <a:gd name="connsiteY130" fmla="*/ 7560 h 2407727"/>
                    <a:gd name="connsiteX131" fmla="*/ 897846 w 1598601"/>
                    <a:gd name="connsiteY131" fmla="*/ 1404 h 2407727"/>
                    <a:gd name="connsiteX0" fmla="*/ 1043608 w 1598601"/>
                    <a:gd name="connsiteY0" fmla="*/ 1286759 h 2407727"/>
                    <a:gd name="connsiteX1" fmla="*/ 1101811 w 1598601"/>
                    <a:gd name="connsiteY1" fmla="*/ 1309408 h 2407727"/>
                    <a:gd name="connsiteX2" fmla="*/ 1142465 w 1598601"/>
                    <a:gd name="connsiteY2" fmla="*/ 1361159 h 2407727"/>
                    <a:gd name="connsiteX3" fmla="*/ 1072349 w 1598601"/>
                    <a:gd name="connsiteY3" fmla="*/ 1313921 h 2407727"/>
                    <a:gd name="connsiteX4" fmla="*/ 1012601 w 1598601"/>
                    <a:gd name="connsiteY4" fmla="*/ 1315752 h 2407727"/>
                    <a:gd name="connsiteX5" fmla="*/ 985196 w 1598601"/>
                    <a:gd name="connsiteY5" fmla="*/ 1333403 h 2407727"/>
                    <a:gd name="connsiteX6" fmla="*/ 978371 w 1598601"/>
                    <a:gd name="connsiteY6" fmla="*/ 1299330 h 2407727"/>
                    <a:gd name="connsiteX7" fmla="*/ 1043608 w 1598601"/>
                    <a:gd name="connsiteY7" fmla="*/ 1286759 h 2407727"/>
                    <a:gd name="connsiteX8" fmla="*/ 355024 w 1598601"/>
                    <a:gd name="connsiteY8" fmla="*/ 1004643 h 2407727"/>
                    <a:gd name="connsiteX9" fmla="*/ 284512 w 1598601"/>
                    <a:gd name="connsiteY9" fmla="*/ 1008744 h 2407727"/>
                    <a:gd name="connsiteX10" fmla="*/ 153279 w 1598601"/>
                    <a:gd name="connsiteY10" fmla="*/ 1074360 h 2407727"/>
                    <a:gd name="connsiteX11" fmla="*/ 45329 w 1598601"/>
                    <a:gd name="connsiteY11" fmla="*/ 1251632 h 2407727"/>
                    <a:gd name="connsiteX12" fmla="*/ 81313 w 1598601"/>
                    <a:gd name="connsiteY12" fmla="*/ 1510394 h 2407727"/>
                    <a:gd name="connsiteX13" fmla="*/ 163333 w 1598601"/>
                    <a:gd name="connsiteY13" fmla="*/ 1626810 h 2407727"/>
                    <a:gd name="connsiteX14" fmla="*/ 189754 w 1598601"/>
                    <a:gd name="connsiteY14" fmla="*/ 1656641 h 2407727"/>
                    <a:gd name="connsiteX15" fmla="*/ 192119 w 1598601"/>
                    <a:gd name="connsiteY15" fmla="*/ 1661321 h 2407727"/>
                    <a:gd name="connsiteX16" fmla="*/ 273929 w 1598601"/>
                    <a:gd name="connsiteY16" fmla="*/ 1631574 h 2407727"/>
                    <a:gd name="connsiteX17" fmla="*/ 373942 w 1598601"/>
                    <a:gd name="connsiteY17" fmla="*/ 1636338 h 2407727"/>
                    <a:gd name="connsiteX18" fmla="*/ 461254 w 1598601"/>
                    <a:gd name="connsiteY18" fmla="*/ 1680786 h 2407727"/>
                    <a:gd name="connsiteX19" fmla="*/ 331079 w 1598601"/>
                    <a:gd name="connsiteY19" fmla="*/ 1652211 h 2407727"/>
                    <a:gd name="connsiteX20" fmla="*/ 240591 w 1598601"/>
                    <a:gd name="connsiteY20" fmla="*/ 1676024 h 2407727"/>
                    <a:gd name="connsiteX21" fmla="*/ 208345 w 1598601"/>
                    <a:gd name="connsiteY21" fmla="*/ 1749054 h 2407727"/>
                    <a:gd name="connsiteX22" fmla="*/ 235299 w 1598601"/>
                    <a:gd name="connsiteY22" fmla="*/ 1903035 h 2407727"/>
                    <a:gd name="connsiteX23" fmla="*/ 378173 w 1598601"/>
                    <a:gd name="connsiteY23" fmla="*/ 2101473 h 2407727"/>
                    <a:gd name="connsiteX24" fmla="*/ 699377 w 1598601"/>
                    <a:gd name="connsiteY24" fmla="*/ 2250697 h 2407727"/>
                    <a:gd name="connsiteX25" fmla="*/ 1262411 w 1598601"/>
                    <a:gd name="connsiteY25" fmla="*/ 2225298 h 2407727"/>
                    <a:gd name="connsiteX26" fmla="*/ 1372242 w 1598601"/>
                    <a:gd name="connsiteY26" fmla="*/ 2219048 h 2407727"/>
                    <a:gd name="connsiteX27" fmla="*/ 1297427 w 1598601"/>
                    <a:gd name="connsiteY27" fmla="*/ 2207789 h 2407727"/>
                    <a:gd name="connsiteX28" fmla="*/ 1208938 w 1598601"/>
                    <a:gd name="connsiteY28" fmla="*/ 2135339 h 2407727"/>
                    <a:gd name="connsiteX29" fmla="*/ 1093610 w 1598601"/>
                    <a:gd name="connsiteY29" fmla="*/ 1860701 h 2407727"/>
                    <a:gd name="connsiteX30" fmla="*/ 998360 w 1598601"/>
                    <a:gd name="connsiteY30" fmla="*/ 1684489 h 2407727"/>
                    <a:gd name="connsiteX31" fmla="*/ 734864 w 1598601"/>
                    <a:gd name="connsiteY31" fmla="*/ 1461065 h 2407727"/>
                    <a:gd name="connsiteX32" fmla="*/ 712081 w 1598601"/>
                    <a:gd name="connsiteY32" fmla="*/ 1472825 h 2407727"/>
                    <a:gd name="connsiteX33" fmla="*/ 680859 w 1598601"/>
                    <a:gd name="connsiteY33" fmla="*/ 1465279 h 2407727"/>
                    <a:gd name="connsiteX34" fmla="*/ 640644 w 1598601"/>
                    <a:gd name="connsiteY34" fmla="*/ 1466474 h 2407727"/>
                    <a:gd name="connsiteX35" fmla="*/ 591429 w 1598601"/>
                    <a:gd name="connsiteY35" fmla="*/ 1471632 h 2407727"/>
                    <a:gd name="connsiteX36" fmla="*/ 552334 w 1598601"/>
                    <a:gd name="connsiteY36" fmla="*/ 1487363 h 2407727"/>
                    <a:gd name="connsiteX37" fmla="*/ 497850 w 1598601"/>
                    <a:gd name="connsiteY37" fmla="*/ 1548937 h 2407727"/>
                    <a:gd name="connsiteX38" fmla="*/ 478720 w 1598601"/>
                    <a:gd name="connsiteY38" fmla="*/ 1664016 h 2407727"/>
                    <a:gd name="connsiteX39" fmla="*/ 467710 w 1598601"/>
                    <a:gd name="connsiteY39" fmla="*/ 1576167 h 2407727"/>
                    <a:gd name="connsiteX40" fmla="*/ 498617 w 1598601"/>
                    <a:gd name="connsiteY40" fmla="*/ 1495003 h 2407727"/>
                    <a:gd name="connsiteX41" fmla="*/ 564523 w 1598601"/>
                    <a:gd name="connsiteY41" fmla="*/ 1436940 h 2407727"/>
                    <a:gd name="connsiteX42" fmla="*/ 535337 w 1598601"/>
                    <a:gd name="connsiteY42" fmla="*/ 1339339 h 2407727"/>
                    <a:gd name="connsiteX43" fmla="*/ 527400 w 1598601"/>
                    <a:gd name="connsiteY43" fmla="*/ 1177249 h 2407727"/>
                    <a:gd name="connsiteX44" fmla="*/ 530804 w 1598601"/>
                    <a:gd name="connsiteY44" fmla="*/ 1124461 h 2407727"/>
                    <a:gd name="connsiteX45" fmla="*/ 527863 w 1598601"/>
                    <a:gd name="connsiteY45" fmla="*/ 1122647 h 2407727"/>
                    <a:gd name="connsiteX46" fmla="*/ 423684 w 1598601"/>
                    <a:gd name="connsiteY46" fmla="*/ 1021444 h 2407727"/>
                    <a:gd name="connsiteX47" fmla="*/ 355024 w 1598601"/>
                    <a:gd name="connsiteY47" fmla="*/ 1004643 h 2407727"/>
                    <a:gd name="connsiteX48" fmla="*/ 845073 w 1598601"/>
                    <a:gd name="connsiteY48" fmla="*/ 894417 h 2407727"/>
                    <a:gd name="connsiteX49" fmla="*/ 817384 w 1598601"/>
                    <a:gd name="connsiteY49" fmla="*/ 931881 h 2407727"/>
                    <a:gd name="connsiteX50" fmla="*/ 768170 w 1598601"/>
                    <a:gd name="connsiteY50" fmla="*/ 1167360 h 2407727"/>
                    <a:gd name="connsiteX51" fmla="*/ 753354 w 1598601"/>
                    <a:gd name="connsiteY51" fmla="*/ 1423477 h 2407727"/>
                    <a:gd name="connsiteX52" fmla="*/ 743842 w 1598601"/>
                    <a:gd name="connsiteY52" fmla="*/ 1451649 h 2407727"/>
                    <a:gd name="connsiteX53" fmla="*/ 1058685 w 1598601"/>
                    <a:gd name="connsiteY53" fmla="*/ 1689251 h 2407727"/>
                    <a:gd name="connsiteX54" fmla="*/ 1209497 w 1598601"/>
                    <a:gd name="connsiteY54" fmla="*/ 2009927 h 2407727"/>
                    <a:gd name="connsiteX55" fmla="*/ 1327727 w 1598601"/>
                    <a:gd name="connsiteY55" fmla="*/ 2119294 h 2407727"/>
                    <a:gd name="connsiteX56" fmla="*/ 1457648 w 1598601"/>
                    <a:gd name="connsiteY56" fmla="*/ 2149650 h 2407727"/>
                    <a:gd name="connsiteX57" fmla="*/ 1455193 w 1598601"/>
                    <a:gd name="connsiteY57" fmla="*/ 2112222 h 2407727"/>
                    <a:gd name="connsiteX58" fmla="*/ 1428569 w 1598601"/>
                    <a:gd name="connsiteY58" fmla="*/ 1667027 h 2407727"/>
                    <a:gd name="connsiteX59" fmla="*/ 1216373 w 1598601"/>
                    <a:gd name="connsiteY59" fmla="*/ 1247927 h 2407727"/>
                    <a:gd name="connsiteX60" fmla="*/ 1204720 w 1598601"/>
                    <a:gd name="connsiteY60" fmla="*/ 1219703 h 2407727"/>
                    <a:gd name="connsiteX61" fmla="*/ 1200946 w 1598601"/>
                    <a:gd name="connsiteY61" fmla="*/ 1220857 h 2407727"/>
                    <a:gd name="connsiteX62" fmla="*/ 1158007 w 1598601"/>
                    <a:gd name="connsiteY62" fmla="*/ 1267925 h 2407727"/>
                    <a:gd name="connsiteX63" fmla="*/ 1144365 w 1598601"/>
                    <a:gd name="connsiteY63" fmla="*/ 1357161 h 2407727"/>
                    <a:gd name="connsiteX64" fmla="*/ 1134149 w 1598601"/>
                    <a:gd name="connsiteY64" fmla="*/ 1288646 h 2407727"/>
                    <a:gd name="connsiteX65" fmla="*/ 1157796 w 1598601"/>
                    <a:gd name="connsiteY65" fmla="*/ 1225976 h 2407727"/>
                    <a:gd name="connsiteX66" fmla="*/ 1185362 w 1598601"/>
                    <a:gd name="connsiteY66" fmla="*/ 1198193 h 2407727"/>
                    <a:gd name="connsiteX67" fmla="*/ 1193758 w 1598601"/>
                    <a:gd name="connsiteY67" fmla="*/ 1193150 h 2407727"/>
                    <a:gd name="connsiteX68" fmla="*/ 1190489 w 1598601"/>
                    <a:gd name="connsiteY68" fmla="*/ 1185234 h 2407727"/>
                    <a:gd name="connsiteX69" fmla="*/ 1148111 w 1598601"/>
                    <a:gd name="connsiteY69" fmla="*/ 1059015 h 2407727"/>
                    <a:gd name="connsiteX70" fmla="*/ 1043336 w 1598601"/>
                    <a:gd name="connsiteY70" fmla="*/ 934660 h 2407727"/>
                    <a:gd name="connsiteX71" fmla="*/ 873636 w 1598601"/>
                    <a:gd name="connsiteY71" fmla="*/ 898417 h 2407727"/>
                    <a:gd name="connsiteX72" fmla="*/ 845073 w 1598601"/>
                    <a:gd name="connsiteY72" fmla="*/ 894417 h 2407727"/>
                    <a:gd name="connsiteX73" fmla="*/ 897846 w 1598601"/>
                    <a:gd name="connsiteY73" fmla="*/ 1404 h 2407727"/>
                    <a:gd name="connsiteX74" fmla="*/ 962375 w 1598601"/>
                    <a:gd name="connsiteY74" fmla="*/ 77939 h 2407727"/>
                    <a:gd name="connsiteX75" fmla="*/ 874004 w 1598601"/>
                    <a:gd name="connsiteY75" fmla="*/ 182185 h 2407727"/>
                    <a:gd name="connsiteX76" fmla="*/ 500413 w 1598601"/>
                    <a:gd name="connsiteY76" fmla="*/ 426660 h 2407727"/>
                    <a:gd name="connsiteX77" fmla="*/ 426329 w 1598601"/>
                    <a:gd name="connsiteY77" fmla="*/ 604460 h 2407727"/>
                    <a:gd name="connsiteX78" fmla="*/ 424213 w 1598601"/>
                    <a:gd name="connsiteY78" fmla="*/ 839410 h 2407727"/>
                    <a:gd name="connsiteX79" fmla="*/ 529459 w 1598601"/>
                    <a:gd name="connsiteY79" fmla="*/ 1078081 h 2407727"/>
                    <a:gd name="connsiteX80" fmla="*/ 582963 w 1598601"/>
                    <a:gd name="connsiteY80" fmla="*/ 933468 h 2407727"/>
                    <a:gd name="connsiteX81" fmla="*/ 664984 w 1598601"/>
                    <a:gd name="connsiteY81" fmla="*/ 771543 h 2407727"/>
                    <a:gd name="connsiteX82" fmla="*/ 812092 w 1598601"/>
                    <a:gd name="connsiteY82" fmla="*/ 604461 h 2407727"/>
                    <a:gd name="connsiteX83" fmla="*/ 1016350 w 1598601"/>
                    <a:gd name="connsiteY83" fmla="*/ 512781 h 2407727"/>
                    <a:gd name="connsiteX84" fmla="*/ 1207380 w 1598601"/>
                    <a:gd name="connsiteY84" fmla="*/ 505372 h 2407727"/>
                    <a:gd name="connsiteX85" fmla="*/ 1214788 w 1598601"/>
                    <a:gd name="connsiteY85" fmla="*/ 543472 h 2407727"/>
                    <a:gd name="connsiteX86" fmla="*/ 1060800 w 1598601"/>
                    <a:gd name="connsiteY86" fmla="*/ 545060 h 2407727"/>
                    <a:gd name="connsiteX87" fmla="*/ 837493 w 1598601"/>
                    <a:gd name="connsiteY87" fmla="*/ 634490 h 2407727"/>
                    <a:gd name="connsiteX88" fmla="*/ 671863 w 1598601"/>
                    <a:gd name="connsiteY88" fmla="*/ 829751 h 2407727"/>
                    <a:gd name="connsiteX89" fmla="*/ 573437 w 1598601"/>
                    <a:gd name="connsiteY89" fmla="*/ 1077932 h 2407727"/>
                    <a:gd name="connsiteX90" fmla="*/ 569734 w 1598601"/>
                    <a:gd name="connsiteY90" fmla="*/ 1334577 h 2407727"/>
                    <a:gd name="connsiteX91" fmla="*/ 603600 w 1598601"/>
                    <a:gd name="connsiteY91" fmla="*/ 1439881 h 2407727"/>
                    <a:gd name="connsiteX92" fmla="*/ 711022 w 1598601"/>
                    <a:gd name="connsiteY92" fmla="*/ 1433531 h 2407727"/>
                    <a:gd name="connsiteX93" fmla="*/ 724250 w 1598601"/>
                    <a:gd name="connsiteY93" fmla="*/ 1340397 h 2407727"/>
                    <a:gd name="connsiteX94" fmla="*/ 735892 w 1598601"/>
                    <a:gd name="connsiteY94" fmla="*/ 1150426 h 2407727"/>
                    <a:gd name="connsiteX95" fmla="*/ 783517 w 1598601"/>
                    <a:gd name="connsiteY95" fmla="*/ 917064 h 2407727"/>
                    <a:gd name="connsiteX96" fmla="*/ 923217 w 1598601"/>
                    <a:gd name="connsiteY96" fmla="*/ 775247 h 2407727"/>
                    <a:gd name="connsiteX97" fmla="*/ 1099959 w 1598601"/>
                    <a:gd name="connsiteY97" fmla="*/ 722859 h 2407727"/>
                    <a:gd name="connsiteX98" fmla="*/ 1264000 w 1598601"/>
                    <a:gd name="connsiteY98" fmla="*/ 711747 h 2407727"/>
                    <a:gd name="connsiteX99" fmla="*/ 1255534 w 1598601"/>
                    <a:gd name="connsiteY99" fmla="*/ 749847 h 2407727"/>
                    <a:gd name="connsiteX100" fmla="*/ 1092022 w 1598601"/>
                    <a:gd name="connsiteY100" fmla="*/ 762019 h 2407727"/>
                    <a:gd name="connsiteX101" fmla="*/ 946500 w 1598601"/>
                    <a:gd name="connsiteY101" fmla="*/ 804881 h 2407727"/>
                    <a:gd name="connsiteX102" fmla="*/ 869672 w 1598601"/>
                    <a:gd name="connsiteY102" fmla="*/ 863189 h 2407727"/>
                    <a:gd name="connsiteX103" fmla="*/ 905959 w 1598601"/>
                    <a:gd name="connsiteY103" fmla="*/ 872677 h 2407727"/>
                    <a:gd name="connsiteX104" fmla="*/ 992007 w 1598601"/>
                    <a:gd name="connsiteY104" fmla="*/ 883331 h 2407727"/>
                    <a:gd name="connsiteX105" fmla="*/ 1110011 w 1598601"/>
                    <a:gd name="connsiteY105" fmla="*/ 928840 h 2407727"/>
                    <a:gd name="connsiteX106" fmla="*/ 1239127 w 1598601"/>
                    <a:gd name="connsiteY106" fmla="*/ 1097114 h 2407727"/>
                    <a:gd name="connsiteX107" fmla="*/ 1299982 w 1598601"/>
                    <a:gd name="connsiteY107" fmla="*/ 1226232 h 2407727"/>
                    <a:gd name="connsiteX108" fmla="*/ 1503711 w 1598601"/>
                    <a:gd name="connsiteY108" fmla="*/ 1583419 h 2407727"/>
                    <a:gd name="connsiteX109" fmla="*/ 1597902 w 1598601"/>
                    <a:gd name="connsiteY109" fmla="*/ 2111527 h 2407727"/>
                    <a:gd name="connsiteX110" fmla="*/ 1540224 w 1598601"/>
                    <a:gd name="connsiteY110" fmla="*/ 2282977 h 2407727"/>
                    <a:gd name="connsiteX111" fmla="*/ 1484628 w 1598601"/>
                    <a:gd name="connsiteY111" fmla="*/ 2314116 h 2407727"/>
                    <a:gd name="connsiteX112" fmla="*/ 1277756 w 1598601"/>
                    <a:gd name="connsiteY112" fmla="*/ 2367644 h 2407727"/>
                    <a:gd name="connsiteX113" fmla="*/ 747532 w 1598601"/>
                    <a:gd name="connsiteY113" fmla="*/ 2402039 h 2407727"/>
                    <a:gd name="connsiteX114" fmla="*/ 395107 w 1598601"/>
                    <a:gd name="connsiteY114" fmla="*/ 2244876 h 2407727"/>
                    <a:gd name="connsiteX115" fmla="*/ 226303 w 1598601"/>
                    <a:gd name="connsiteY115" fmla="*/ 2069194 h 2407727"/>
                    <a:gd name="connsiteX116" fmla="*/ 160520 w 1598601"/>
                    <a:gd name="connsiteY116" fmla="*/ 1894171 h 2407727"/>
                    <a:gd name="connsiteX117" fmla="*/ 152959 w 1598601"/>
                    <a:gd name="connsiteY117" fmla="*/ 1798547 h 2407727"/>
                    <a:gd name="connsiteX118" fmla="*/ 146943 w 1598601"/>
                    <a:gd name="connsiteY118" fmla="*/ 1722472 h 2407727"/>
                    <a:gd name="connsiteX119" fmla="*/ 138463 w 1598601"/>
                    <a:gd name="connsiteY119" fmla="*/ 1715710 h 2407727"/>
                    <a:gd name="connsiteX120" fmla="*/ 28396 w 1598601"/>
                    <a:gd name="connsiteY120" fmla="*/ 1512510 h 2407727"/>
                    <a:gd name="connsiteX121" fmla="*/ 7229 w 1598601"/>
                    <a:gd name="connsiteY121" fmla="*/ 1233110 h 2407727"/>
                    <a:gd name="connsiteX122" fmla="*/ 132641 w 1598601"/>
                    <a:gd name="connsiteY122" fmla="*/ 1023560 h 2407727"/>
                    <a:gd name="connsiteX123" fmla="*/ 191379 w 1598601"/>
                    <a:gd name="connsiteY123" fmla="*/ 783847 h 2407727"/>
                    <a:gd name="connsiteX124" fmla="*/ 195613 w 1598601"/>
                    <a:gd name="connsiteY124" fmla="*/ 441477 h 2407727"/>
                    <a:gd name="connsiteX125" fmla="*/ 185029 w 1598601"/>
                    <a:gd name="connsiteY125" fmla="*/ 267910 h 2407727"/>
                    <a:gd name="connsiteX126" fmla="*/ 142696 w 1598601"/>
                    <a:gd name="connsiteY126" fmla="*/ 128210 h 2407727"/>
                    <a:gd name="connsiteX127" fmla="*/ 297213 w 1598601"/>
                    <a:gd name="connsiteY127" fmla="*/ 73177 h 2407727"/>
                    <a:gd name="connsiteX128" fmla="*/ 352246 w 1598601"/>
                    <a:gd name="connsiteY128" fmla="*/ 221344 h 2407727"/>
                    <a:gd name="connsiteX129" fmla="*/ 441146 w 1598601"/>
                    <a:gd name="connsiteY129" fmla="*/ 263677 h 2407727"/>
                    <a:gd name="connsiteX130" fmla="*/ 843313 w 1598601"/>
                    <a:gd name="connsiteY130" fmla="*/ 7560 h 2407727"/>
                    <a:gd name="connsiteX131" fmla="*/ 897846 w 1598601"/>
                    <a:gd name="connsiteY131" fmla="*/ 1404 h 2407727"/>
                    <a:gd name="connsiteX0" fmla="*/ 1043608 w 1598601"/>
                    <a:gd name="connsiteY0" fmla="*/ 1286759 h 2407727"/>
                    <a:gd name="connsiteX1" fmla="*/ 1101811 w 1598601"/>
                    <a:gd name="connsiteY1" fmla="*/ 1309408 h 2407727"/>
                    <a:gd name="connsiteX2" fmla="*/ 1142465 w 1598601"/>
                    <a:gd name="connsiteY2" fmla="*/ 1361159 h 2407727"/>
                    <a:gd name="connsiteX3" fmla="*/ 1072349 w 1598601"/>
                    <a:gd name="connsiteY3" fmla="*/ 1313921 h 2407727"/>
                    <a:gd name="connsiteX4" fmla="*/ 1012601 w 1598601"/>
                    <a:gd name="connsiteY4" fmla="*/ 1315752 h 2407727"/>
                    <a:gd name="connsiteX5" fmla="*/ 985196 w 1598601"/>
                    <a:gd name="connsiteY5" fmla="*/ 1333403 h 2407727"/>
                    <a:gd name="connsiteX6" fmla="*/ 978371 w 1598601"/>
                    <a:gd name="connsiteY6" fmla="*/ 1299330 h 2407727"/>
                    <a:gd name="connsiteX7" fmla="*/ 1043608 w 1598601"/>
                    <a:gd name="connsiteY7" fmla="*/ 1286759 h 2407727"/>
                    <a:gd name="connsiteX8" fmla="*/ 355024 w 1598601"/>
                    <a:gd name="connsiteY8" fmla="*/ 1004643 h 2407727"/>
                    <a:gd name="connsiteX9" fmla="*/ 284512 w 1598601"/>
                    <a:gd name="connsiteY9" fmla="*/ 1008744 h 2407727"/>
                    <a:gd name="connsiteX10" fmla="*/ 153279 w 1598601"/>
                    <a:gd name="connsiteY10" fmla="*/ 1074360 h 2407727"/>
                    <a:gd name="connsiteX11" fmla="*/ 45329 w 1598601"/>
                    <a:gd name="connsiteY11" fmla="*/ 1251632 h 2407727"/>
                    <a:gd name="connsiteX12" fmla="*/ 81313 w 1598601"/>
                    <a:gd name="connsiteY12" fmla="*/ 1510394 h 2407727"/>
                    <a:gd name="connsiteX13" fmla="*/ 163333 w 1598601"/>
                    <a:gd name="connsiteY13" fmla="*/ 1626810 h 2407727"/>
                    <a:gd name="connsiteX14" fmla="*/ 189754 w 1598601"/>
                    <a:gd name="connsiteY14" fmla="*/ 1656641 h 2407727"/>
                    <a:gd name="connsiteX15" fmla="*/ 192119 w 1598601"/>
                    <a:gd name="connsiteY15" fmla="*/ 1661321 h 2407727"/>
                    <a:gd name="connsiteX16" fmla="*/ 273929 w 1598601"/>
                    <a:gd name="connsiteY16" fmla="*/ 1631574 h 2407727"/>
                    <a:gd name="connsiteX17" fmla="*/ 373942 w 1598601"/>
                    <a:gd name="connsiteY17" fmla="*/ 1636338 h 2407727"/>
                    <a:gd name="connsiteX18" fmla="*/ 461254 w 1598601"/>
                    <a:gd name="connsiteY18" fmla="*/ 1680786 h 2407727"/>
                    <a:gd name="connsiteX19" fmla="*/ 331079 w 1598601"/>
                    <a:gd name="connsiteY19" fmla="*/ 1652211 h 2407727"/>
                    <a:gd name="connsiteX20" fmla="*/ 240591 w 1598601"/>
                    <a:gd name="connsiteY20" fmla="*/ 1676024 h 2407727"/>
                    <a:gd name="connsiteX21" fmla="*/ 208345 w 1598601"/>
                    <a:gd name="connsiteY21" fmla="*/ 1749054 h 2407727"/>
                    <a:gd name="connsiteX22" fmla="*/ 235299 w 1598601"/>
                    <a:gd name="connsiteY22" fmla="*/ 1903035 h 2407727"/>
                    <a:gd name="connsiteX23" fmla="*/ 378173 w 1598601"/>
                    <a:gd name="connsiteY23" fmla="*/ 2101473 h 2407727"/>
                    <a:gd name="connsiteX24" fmla="*/ 699377 w 1598601"/>
                    <a:gd name="connsiteY24" fmla="*/ 2250697 h 2407727"/>
                    <a:gd name="connsiteX25" fmla="*/ 1262411 w 1598601"/>
                    <a:gd name="connsiteY25" fmla="*/ 2225298 h 2407727"/>
                    <a:gd name="connsiteX26" fmla="*/ 1372242 w 1598601"/>
                    <a:gd name="connsiteY26" fmla="*/ 2219048 h 2407727"/>
                    <a:gd name="connsiteX27" fmla="*/ 1303759 w 1598601"/>
                    <a:gd name="connsiteY27" fmla="*/ 2201420 h 2407727"/>
                    <a:gd name="connsiteX28" fmla="*/ 1208938 w 1598601"/>
                    <a:gd name="connsiteY28" fmla="*/ 2135339 h 2407727"/>
                    <a:gd name="connsiteX29" fmla="*/ 1093610 w 1598601"/>
                    <a:gd name="connsiteY29" fmla="*/ 1860701 h 2407727"/>
                    <a:gd name="connsiteX30" fmla="*/ 998360 w 1598601"/>
                    <a:gd name="connsiteY30" fmla="*/ 1684489 h 2407727"/>
                    <a:gd name="connsiteX31" fmla="*/ 734864 w 1598601"/>
                    <a:gd name="connsiteY31" fmla="*/ 1461065 h 2407727"/>
                    <a:gd name="connsiteX32" fmla="*/ 712081 w 1598601"/>
                    <a:gd name="connsiteY32" fmla="*/ 1472825 h 2407727"/>
                    <a:gd name="connsiteX33" fmla="*/ 680859 w 1598601"/>
                    <a:gd name="connsiteY33" fmla="*/ 1465279 h 2407727"/>
                    <a:gd name="connsiteX34" fmla="*/ 640644 w 1598601"/>
                    <a:gd name="connsiteY34" fmla="*/ 1466474 h 2407727"/>
                    <a:gd name="connsiteX35" fmla="*/ 591429 w 1598601"/>
                    <a:gd name="connsiteY35" fmla="*/ 1471632 h 2407727"/>
                    <a:gd name="connsiteX36" fmla="*/ 552334 w 1598601"/>
                    <a:gd name="connsiteY36" fmla="*/ 1487363 h 2407727"/>
                    <a:gd name="connsiteX37" fmla="*/ 497850 w 1598601"/>
                    <a:gd name="connsiteY37" fmla="*/ 1548937 h 2407727"/>
                    <a:gd name="connsiteX38" fmla="*/ 478720 w 1598601"/>
                    <a:gd name="connsiteY38" fmla="*/ 1664016 h 2407727"/>
                    <a:gd name="connsiteX39" fmla="*/ 467710 w 1598601"/>
                    <a:gd name="connsiteY39" fmla="*/ 1576167 h 2407727"/>
                    <a:gd name="connsiteX40" fmla="*/ 498617 w 1598601"/>
                    <a:gd name="connsiteY40" fmla="*/ 1495003 h 2407727"/>
                    <a:gd name="connsiteX41" fmla="*/ 564523 w 1598601"/>
                    <a:gd name="connsiteY41" fmla="*/ 1436940 h 2407727"/>
                    <a:gd name="connsiteX42" fmla="*/ 535337 w 1598601"/>
                    <a:gd name="connsiteY42" fmla="*/ 1339339 h 2407727"/>
                    <a:gd name="connsiteX43" fmla="*/ 527400 w 1598601"/>
                    <a:gd name="connsiteY43" fmla="*/ 1177249 h 2407727"/>
                    <a:gd name="connsiteX44" fmla="*/ 530804 w 1598601"/>
                    <a:gd name="connsiteY44" fmla="*/ 1124461 h 2407727"/>
                    <a:gd name="connsiteX45" fmla="*/ 527863 w 1598601"/>
                    <a:gd name="connsiteY45" fmla="*/ 1122647 h 2407727"/>
                    <a:gd name="connsiteX46" fmla="*/ 423684 w 1598601"/>
                    <a:gd name="connsiteY46" fmla="*/ 1021444 h 2407727"/>
                    <a:gd name="connsiteX47" fmla="*/ 355024 w 1598601"/>
                    <a:gd name="connsiteY47" fmla="*/ 1004643 h 2407727"/>
                    <a:gd name="connsiteX48" fmla="*/ 845073 w 1598601"/>
                    <a:gd name="connsiteY48" fmla="*/ 894417 h 2407727"/>
                    <a:gd name="connsiteX49" fmla="*/ 817384 w 1598601"/>
                    <a:gd name="connsiteY49" fmla="*/ 931881 h 2407727"/>
                    <a:gd name="connsiteX50" fmla="*/ 768170 w 1598601"/>
                    <a:gd name="connsiteY50" fmla="*/ 1167360 h 2407727"/>
                    <a:gd name="connsiteX51" fmla="*/ 753354 w 1598601"/>
                    <a:gd name="connsiteY51" fmla="*/ 1423477 h 2407727"/>
                    <a:gd name="connsiteX52" fmla="*/ 743842 w 1598601"/>
                    <a:gd name="connsiteY52" fmla="*/ 1451649 h 2407727"/>
                    <a:gd name="connsiteX53" fmla="*/ 1058685 w 1598601"/>
                    <a:gd name="connsiteY53" fmla="*/ 1689251 h 2407727"/>
                    <a:gd name="connsiteX54" fmla="*/ 1209497 w 1598601"/>
                    <a:gd name="connsiteY54" fmla="*/ 2009927 h 2407727"/>
                    <a:gd name="connsiteX55" fmla="*/ 1327727 w 1598601"/>
                    <a:gd name="connsiteY55" fmla="*/ 2119294 h 2407727"/>
                    <a:gd name="connsiteX56" fmla="*/ 1457648 w 1598601"/>
                    <a:gd name="connsiteY56" fmla="*/ 2149650 h 2407727"/>
                    <a:gd name="connsiteX57" fmla="*/ 1455193 w 1598601"/>
                    <a:gd name="connsiteY57" fmla="*/ 2112222 h 2407727"/>
                    <a:gd name="connsiteX58" fmla="*/ 1428569 w 1598601"/>
                    <a:gd name="connsiteY58" fmla="*/ 1667027 h 2407727"/>
                    <a:gd name="connsiteX59" fmla="*/ 1216373 w 1598601"/>
                    <a:gd name="connsiteY59" fmla="*/ 1247927 h 2407727"/>
                    <a:gd name="connsiteX60" fmla="*/ 1204720 w 1598601"/>
                    <a:gd name="connsiteY60" fmla="*/ 1219703 h 2407727"/>
                    <a:gd name="connsiteX61" fmla="*/ 1200946 w 1598601"/>
                    <a:gd name="connsiteY61" fmla="*/ 1220857 h 2407727"/>
                    <a:gd name="connsiteX62" fmla="*/ 1158007 w 1598601"/>
                    <a:gd name="connsiteY62" fmla="*/ 1267925 h 2407727"/>
                    <a:gd name="connsiteX63" fmla="*/ 1144365 w 1598601"/>
                    <a:gd name="connsiteY63" fmla="*/ 1357161 h 2407727"/>
                    <a:gd name="connsiteX64" fmla="*/ 1134149 w 1598601"/>
                    <a:gd name="connsiteY64" fmla="*/ 1288646 h 2407727"/>
                    <a:gd name="connsiteX65" fmla="*/ 1157796 w 1598601"/>
                    <a:gd name="connsiteY65" fmla="*/ 1225976 h 2407727"/>
                    <a:gd name="connsiteX66" fmla="*/ 1185362 w 1598601"/>
                    <a:gd name="connsiteY66" fmla="*/ 1198193 h 2407727"/>
                    <a:gd name="connsiteX67" fmla="*/ 1193758 w 1598601"/>
                    <a:gd name="connsiteY67" fmla="*/ 1193150 h 2407727"/>
                    <a:gd name="connsiteX68" fmla="*/ 1190489 w 1598601"/>
                    <a:gd name="connsiteY68" fmla="*/ 1185234 h 2407727"/>
                    <a:gd name="connsiteX69" fmla="*/ 1148111 w 1598601"/>
                    <a:gd name="connsiteY69" fmla="*/ 1059015 h 2407727"/>
                    <a:gd name="connsiteX70" fmla="*/ 1043336 w 1598601"/>
                    <a:gd name="connsiteY70" fmla="*/ 934660 h 2407727"/>
                    <a:gd name="connsiteX71" fmla="*/ 873636 w 1598601"/>
                    <a:gd name="connsiteY71" fmla="*/ 898417 h 2407727"/>
                    <a:gd name="connsiteX72" fmla="*/ 845073 w 1598601"/>
                    <a:gd name="connsiteY72" fmla="*/ 894417 h 2407727"/>
                    <a:gd name="connsiteX73" fmla="*/ 897846 w 1598601"/>
                    <a:gd name="connsiteY73" fmla="*/ 1404 h 2407727"/>
                    <a:gd name="connsiteX74" fmla="*/ 962375 w 1598601"/>
                    <a:gd name="connsiteY74" fmla="*/ 77939 h 2407727"/>
                    <a:gd name="connsiteX75" fmla="*/ 874004 w 1598601"/>
                    <a:gd name="connsiteY75" fmla="*/ 182185 h 2407727"/>
                    <a:gd name="connsiteX76" fmla="*/ 500413 w 1598601"/>
                    <a:gd name="connsiteY76" fmla="*/ 426660 h 2407727"/>
                    <a:gd name="connsiteX77" fmla="*/ 426329 w 1598601"/>
                    <a:gd name="connsiteY77" fmla="*/ 604460 h 2407727"/>
                    <a:gd name="connsiteX78" fmla="*/ 424213 w 1598601"/>
                    <a:gd name="connsiteY78" fmla="*/ 839410 h 2407727"/>
                    <a:gd name="connsiteX79" fmla="*/ 529459 w 1598601"/>
                    <a:gd name="connsiteY79" fmla="*/ 1078081 h 2407727"/>
                    <a:gd name="connsiteX80" fmla="*/ 582963 w 1598601"/>
                    <a:gd name="connsiteY80" fmla="*/ 933468 h 2407727"/>
                    <a:gd name="connsiteX81" fmla="*/ 664984 w 1598601"/>
                    <a:gd name="connsiteY81" fmla="*/ 771543 h 2407727"/>
                    <a:gd name="connsiteX82" fmla="*/ 812092 w 1598601"/>
                    <a:gd name="connsiteY82" fmla="*/ 604461 h 2407727"/>
                    <a:gd name="connsiteX83" fmla="*/ 1016350 w 1598601"/>
                    <a:gd name="connsiteY83" fmla="*/ 512781 h 2407727"/>
                    <a:gd name="connsiteX84" fmla="*/ 1207380 w 1598601"/>
                    <a:gd name="connsiteY84" fmla="*/ 505372 h 2407727"/>
                    <a:gd name="connsiteX85" fmla="*/ 1214788 w 1598601"/>
                    <a:gd name="connsiteY85" fmla="*/ 543472 h 2407727"/>
                    <a:gd name="connsiteX86" fmla="*/ 1060800 w 1598601"/>
                    <a:gd name="connsiteY86" fmla="*/ 545060 h 2407727"/>
                    <a:gd name="connsiteX87" fmla="*/ 837493 w 1598601"/>
                    <a:gd name="connsiteY87" fmla="*/ 634490 h 2407727"/>
                    <a:gd name="connsiteX88" fmla="*/ 671863 w 1598601"/>
                    <a:gd name="connsiteY88" fmla="*/ 829751 h 2407727"/>
                    <a:gd name="connsiteX89" fmla="*/ 573437 w 1598601"/>
                    <a:gd name="connsiteY89" fmla="*/ 1077932 h 2407727"/>
                    <a:gd name="connsiteX90" fmla="*/ 569734 w 1598601"/>
                    <a:gd name="connsiteY90" fmla="*/ 1334577 h 2407727"/>
                    <a:gd name="connsiteX91" fmla="*/ 603600 w 1598601"/>
                    <a:gd name="connsiteY91" fmla="*/ 1439881 h 2407727"/>
                    <a:gd name="connsiteX92" fmla="*/ 711022 w 1598601"/>
                    <a:gd name="connsiteY92" fmla="*/ 1433531 h 2407727"/>
                    <a:gd name="connsiteX93" fmla="*/ 724250 w 1598601"/>
                    <a:gd name="connsiteY93" fmla="*/ 1340397 h 2407727"/>
                    <a:gd name="connsiteX94" fmla="*/ 735892 w 1598601"/>
                    <a:gd name="connsiteY94" fmla="*/ 1150426 h 2407727"/>
                    <a:gd name="connsiteX95" fmla="*/ 783517 w 1598601"/>
                    <a:gd name="connsiteY95" fmla="*/ 917064 h 2407727"/>
                    <a:gd name="connsiteX96" fmla="*/ 923217 w 1598601"/>
                    <a:gd name="connsiteY96" fmla="*/ 775247 h 2407727"/>
                    <a:gd name="connsiteX97" fmla="*/ 1099959 w 1598601"/>
                    <a:gd name="connsiteY97" fmla="*/ 722859 h 2407727"/>
                    <a:gd name="connsiteX98" fmla="*/ 1264000 w 1598601"/>
                    <a:gd name="connsiteY98" fmla="*/ 711747 h 2407727"/>
                    <a:gd name="connsiteX99" fmla="*/ 1255534 w 1598601"/>
                    <a:gd name="connsiteY99" fmla="*/ 749847 h 2407727"/>
                    <a:gd name="connsiteX100" fmla="*/ 1092022 w 1598601"/>
                    <a:gd name="connsiteY100" fmla="*/ 762019 h 2407727"/>
                    <a:gd name="connsiteX101" fmla="*/ 946500 w 1598601"/>
                    <a:gd name="connsiteY101" fmla="*/ 804881 h 2407727"/>
                    <a:gd name="connsiteX102" fmla="*/ 869672 w 1598601"/>
                    <a:gd name="connsiteY102" fmla="*/ 863189 h 2407727"/>
                    <a:gd name="connsiteX103" fmla="*/ 905959 w 1598601"/>
                    <a:gd name="connsiteY103" fmla="*/ 872677 h 2407727"/>
                    <a:gd name="connsiteX104" fmla="*/ 992007 w 1598601"/>
                    <a:gd name="connsiteY104" fmla="*/ 883331 h 2407727"/>
                    <a:gd name="connsiteX105" fmla="*/ 1110011 w 1598601"/>
                    <a:gd name="connsiteY105" fmla="*/ 928840 h 2407727"/>
                    <a:gd name="connsiteX106" fmla="*/ 1239127 w 1598601"/>
                    <a:gd name="connsiteY106" fmla="*/ 1097114 h 2407727"/>
                    <a:gd name="connsiteX107" fmla="*/ 1299982 w 1598601"/>
                    <a:gd name="connsiteY107" fmla="*/ 1226232 h 2407727"/>
                    <a:gd name="connsiteX108" fmla="*/ 1503711 w 1598601"/>
                    <a:gd name="connsiteY108" fmla="*/ 1583419 h 2407727"/>
                    <a:gd name="connsiteX109" fmla="*/ 1597902 w 1598601"/>
                    <a:gd name="connsiteY109" fmla="*/ 2111527 h 2407727"/>
                    <a:gd name="connsiteX110" fmla="*/ 1540224 w 1598601"/>
                    <a:gd name="connsiteY110" fmla="*/ 2282977 h 2407727"/>
                    <a:gd name="connsiteX111" fmla="*/ 1484628 w 1598601"/>
                    <a:gd name="connsiteY111" fmla="*/ 2314116 h 2407727"/>
                    <a:gd name="connsiteX112" fmla="*/ 1277756 w 1598601"/>
                    <a:gd name="connsiteY112" fmla="*/ 2367644 h 2407727"/>
                    <a:gd name="connsiteX113" fmla="*/ 747532 w 1598601"/>
                    <a:gd name="connsiteY113" fmla="*/ 2402039 h 2407727"/>
                    <a:gd name="connsiteX114" fmla="*/ 395107 w 1598601"/>
                    <a:gd name="connsiteY114" fmla="*/ 2244876 h 2407727"/>
                    <a:gd name="connsiteX115" fmla="*/ 226303 w 1598601"/>
                    <a:gd name="connsiteY115" fmla="*/ 2069194 h 2407727"/>
                    <a:gd name="connsiteX116" fmla="*/ 160520 w 1598601"/>
                    <a:gd name="connsiteY116" fmla="*/ 1894171 h 2407727"/>
                    <a:gd name="connsiteX117" fmla="*/ 152959 w 1598601"/>
                    <a:gd name="connsiteY117" fmla="*/ 1798547 h 2407727"/>
                    <a:gd name="connsiteX118" fmla="*/ 146943 w 1598601"/>
                    <a:gd name="connsiteY118" fmla="*/ 1722472 h 2407727"/>
                    <a:gd name="connsiteX119" fmla="*/ 138463 w 1598601"/>
                    <a:gd name="connsiteY119" fmla="*/ 1715710 h 2407727"/>
                    <a:gd name="connsiteX120" fmla="*/ 28396 w 1598601"/>
                    <a:gd name="connsiteY120" fmla="*/ 1512510 h 2407727"/>
                    <a:gd name="connsiteX121" fmla="*/ 7229 w 1598601"/>
                    <a:gd name="connsiteY121" fmla="*/ 1233110 h 2407727"/>
                    <a:gd name="connsiteX122" fmla="*/ 132641 w 1598601"/>
                    <a:gd name="connsiteY122" fmla="*/ 1023560 h 2407727"/>
                    <a:gd name="connsiteX123" fmla="*/ 191379 w 1598601"/>
                    <a:gd name="connsiteY123" fmla="*/ 783847 h 2407727"/>
                    <a:gd name="connsiteX124" fmla="*/ 195613 w 1598601"/>
                    <a:gd name="connsiteY124" fmla="*/ 441477 h 2407727"/>
                    <a:gd name="connsiteX125" fmla="*/ 185029 w 1598601"/>
                    <a:gd name="connsiteY125" fmla="*/ 267910 h 2407727"/>
                    <a:gd name="connsiteX126" fmla="*/ 142696 w 1598601"/>
                    <a:gd name="connsiteY126" fmla="*/ 128210 h 2407727"/>
                    <a:gd name="connsiteX127" fmla="*/ 297213 w 1598601"/>
                    <a:gd name="connsiteY127" fmla="*/ 73177 h 2407727"/>
                    <a:gd name="connsiteX128" fmla="*/ 352246 w 1598601"/>
                    <a:gd name="connsiteY128" fmla="*/ 221344 h 2407727"/>
                    <a:gd name="connsiteX129" fmla="*/ 441146 w 1598601"/>
                    <a:gd name="connsiteY129" fmla="*/ 263677 h 2407727"/>
                    <a:gd name="connsiteX130" fmla="*/ 843313 w 1598601"/>
                    <a:gd name="connsiteY130" fmla="*/ 7560 h 2407727"/>
                    <a:gd name="connsiteX131" fmla="*/ 897846 w 1598601"/>
                    <a:gd name="connsiteY131" fmla="*/ 1404 h 2407727"/>
                    <a:gd name="connsiteX0" fmla="*/ 1043608 w 1598601"/>
                    <a:gd name="connsiteY0" fmla="*/ 1286759 h 2407727"/>
                    <a:gd name="connsiteX1" fmla="*/ 1101811 w 1598601"/>
                    <a:gd name="connsiteY1" fmla="*/ 1309408 h 2407727"/>
                    <a:gd name="connsiteX2" fmla="*/ 1142465 w 1598601"/>
                    <a:gd name="connsiteY2" fmla="*/ 1361159 h 2407727"/>
                    <a:gd name="connsiteX3" fmla="*/ 1072349 w 1598601"/>
                    <a:gd name="connsiteY3" fmla="*/ 1313921 h 2407727"/>
                    <a:gd name="connsiteX4" fmla="*/ 1012601 w 1598601"/>
                    <a:gd name="connsiteY4" fmla="*/ 1315752 h 2407727"/>
                    <a:gd name="connsiteX5" fmla="*/ 985196 w 1598601"/>
                    <a:gd name="connsiteY5" fmla="*/ 1333403 h 2407727"/>
                    <a:gd name="connsiteX6" fmla="*/ 978371 w 1598601"/>
                    <a:gd name="connsiteY6" fmla="*/ 1299330 h 2407727"/>
                    <a:gd name="connsiteX7" fmla="*/ 1043608 w 1598601"/>
                    <a:gd name="connsiteY7" fmla="*/ 1286759 h 2407727"/>
                    <a:gd name="connsiteX8" fmla="*/ 355024 w 1598601"/>
                    <a:gd name="connsiteY8" fmla="*/ 1004643 h 2407727"/>
                    <a:gd name="connsiteX9" fmla="*/ 284512 w 1598601"/>
                    <a:gd name="connsiteY9" fmla="*/ 1008744 h 2407727"/>
                    <a:gd name="connsiteX10" fmla="*/ 153279 w 1598601"/>
                    <a:gd name="connsiteY10" fmla="*/ 1074360 h 2407727"/>
                    <a:gd name="connsiteX11" fmla="*/ 45329 w 1598601"/>
                    <a:gd name="connsiteY11" fmla="*/ 1251632 h 2407727"/>
                    <a:gd name="connsiteX12" fmla="*/ 81313 w 1598601"/>
                    <a:gd name="connsiteY12" fmla="*/ 1510394 h 2407727"/>
                    <a:gd name="connsiteX13" fmla="*/ 163333 w 1598601"/>
                    <a:gd name="connsiteY13" fmla="*/ 1626810 h 2407727"/>
                    <a:gd name="connsiteX14" fmla="*/ 189754 w 1598601"/>
                    <a:gd name="connsiteY14" fmla="*/ 1656641 h 2407727"/>
                    <a:gd name="connsiteX15" fmla="*/ 192119 w 1598601"/>
                    <a:gd name="connsiteY15" fmla="*/ 1661321 h 2407727"/>
                    <a:gd name="connsiteX16" fmla="*/ 273929 w 1598601"/>
                    <a:gd name="connsiteY16" fmla="*/ 1631574 h 2407727"/>
                    <a:gd name="connsiteX17" fmla="*/ 373942 w 1598601"/>
                    <a:gd name="connsiteY17" fmla="*/ 1636338 h 2407727"/>
                    <a:gd name="connsiteX18" fmla="*/ 461254 w 1598601"/>
                    <a:gd name="connsiteY18" fmla="*/ 1680786 h 2407727"/>
                    <a:gd name="connsiteX19" fmla="*/ 331079 w 1598601"/>
                    <a:gd name="connsiteY19" fmla="*/ 1652211 h 2407727"/>
                    <a:gd name="connsiteX20" fmla="*/ 240591 w 1598601"/>
                    <a:gd name="connsiteY20" fmla="*/ 1676024 h 2407727"/>
                    <a:gd name="connsiteX21" fmla="*/ 208345 w 1598601"/>
                    <a:gd name="connsiteY21" fmla="*/ 1749054 h 2407727"/>
                    <a:gd name="connsiteX22" fmla="*/ 235299 w 1598601"/>
                    <a:gd name="connsiteY22" fmla="*/ 1903035 h 2407727"/>
                    <a:gd name="connsiteX23" fmla="*/ 378173 w 1598601"/>
                    <a:gd name="connsiteY23" fmla="*/ 2101473 h 2407727"/>
                    <a:gd name="connsiteX24" fmla="*/ 699377 w 1598601"/>
                    <a:gd name="connsiteY24" fmla="*/ 2250697 h 2407727"/>
                    <a:gd name="connsiteX25" fmla="*/ 1262411 w 1598601"/>
                    <a:gd name="connsiteY25" fmla="*/ 2225298 h 2407727"/>
                    <a:gd name="connsiteX26" fmla="*/ 1372242 w 1598601"/>
                    <a:gd name="connsiteY26" fmla="*/ 2219048 h 2407727"/>
                    <a:gd name="connsiteX27" fmla="*/ 1305870 w 1598601"/>
                    <a:gd name="connsiteY27" fmla="*/ 2199298 h 2407727"/>
                    <a:gd name="connsiteX28" fmla="*/ 1208938 w 1598601"/>
                    <a:gd name="connsiteY28" fmla="*/ 2135339 h 2407727"/>
                    <a:gd name="connsiteX29" fmla="*/ 1093610 w 1598601"/>
                    <a:gd name="connsiteY29" fmla="*/ 1860701 h 2407727"/>
                    <a:gd name="connsiteX30" fmla="*/ 998360 w 1598601"/>
                    <a:gd name="connsiteY30" fmla="*/ 1684489 h 2407727"/>
                    <a:gd name="connsiteX31" fmla="*/ 734864 w 1598601"/>
                    <a:gd name="connsiteY31" fmla="*/ 1461065 h 2407727"/>
                    <a:gd name="connsiteX32" fmla="*/ 712081 w 1598601"/>
                    <a:gd name="connsiteY32" fmla="*/ 1472825 h 2407727"/>
                    <a:gd name="connsiteX33" fmla="*/ 680859 w 1598601"/>
                    <a:gd name="connsiteY33" fmla="*/ 1465279 h 2407727"/>
                    <a:gd name="connsiteX34" fmla="*/ 640644 w 1598601"/>
                    <a:gd name="connsiteY34" fmla="*/ 1466474 h 2407727"/>
                    <a:gd name="connsiteX35" fmla="*/ 591429 w 1598601"/>
                    <a:gd name="connsiteY35" fmla="*/ 1471632 h 2407727"/>
                    <a:gd name="connsiteX36" fmla="*/ 552334 w 1598601"/>
                    <a:gd name="connsiteY36" fmla="*/ 1487363 h 2407727"/>
                    <a:gd name="connsiteX37" fmla="*/ 497850 w 1598601"/>
                    <a:gd name="connsiteY37" fmla="*/ 1548937 h 2407727"/>
                    <a:gd name="connsiteX38" fmla="*/ 478720 w 1598601"/>
                    <a:gd name="connsiteY38" fmla="*/ 1664016 h 2407727"/>
                    <a:gd name="connsiteX39" fmla="*/ 467710 w 1598601"/>
                    <a:gd name="connsiteY39" fmla="*/ 1576167 h 2407727"/>
                    <a:gd name="connsiteX40" fmla="*/ 498617 w 1598601"/>
                    <a:gd name="connsiteY40" fmla="*/ 1495003 h 2407727"/>
                    <a:gd name="connsiteX41" fmla="*/ 564523 w 1598601"/>
                    <a:gd name="connsiteY41" fmla="*/ 1436940 h 2407727"/>
                    <a:gd name="connsiteX42" fmla="*/ 535337 w 1598601"/>
                    <a:gd name="connsiteY42" fmla="*/ 1339339 h 2407727"/>
                    <a:gd name="connsiteX43" fmla="*/ 527400 w 1598601"/>
                    <a:gd name="connsiteY43" fmla="*/ 1177249 h 2407727"/>
                    <a:gd name="connsiteX44" fmla="*/ 530804 w 1598601"/>
                    <a:gd name="connsiteY44" fmla="*/ 1124461 h 2407727"/>
                    <a:gd name="connsiteX45" fmla="*/ 527863 w 1598601"/>
                    <a:gd name="connsiteY45" fmla="*/ 1122647 h 2407727"/>
                    <a:gd name="connsiteX46" fmla="*/ 423684 w 1598601"/>
                    <a:gd name="connsiteY46" fmla="*/ 1021444 h 2407727"/>
                    <a:gd name="connsiteX47" fmla="*/ 355024 w 1598601"/>
                    <a:gd name="connsiteY47" fmla="*/ 1004643 h 2407727"/>
                    <a:gd name="connsiteX48" fmla="*/ 845073 w 1598601"/>
                    <a:gd name="connsiteY48" fmla="*/ 894417 h 2407727"/>
                    <a:gd name="connsiteX49" fmla="*/ 817384 w 1598601"/>
                    <a:gd name="connsiteY49" fmla="*/ 931881 h 2407727"/>
                    <a:gd name="connsiteX50" fmla="*/ 768170 w 1598601"/>
                    <a:gd name="connsiteY50" fmla="*/ 1167360 h 2407727"/>
                    <a:gd name="connsiteX51" fmla="*/ 753354 w 1598601"/>
                    <a:gd name="connsiteY51" fmla="*/ 1423477 h 2407727"/>
                    <a:gd name="connsiteX52" fmla="*/ 743842 w 1598601"/>
                    <a:gd name="connsiteY52" fmla="*/ 1451649 h 2407727"/>
                    <a:gd name="connsiteX53" fmla="*/ 1058685 w 1598601"/>
                    <a:gd name="connsiteY53" fmla="*/ 1689251 h 2407727"/>
                    <a:gd name="connsiteX54" fmla="*/ 1209497 w 1598601"/>
                    <a:gd name="connsiteY54" fmla="*/ 2009927 h 2407727"/>
                    <a:gd name="connsiteX55" fmla="*/ 1327727 w 1598601"/>
                    <a:gd name="connsiteY55" fmla="*/ 2119294 h 2407727"/>
                    <a:gd name="connsiteX56" fmla="*/ 1457648 w 1598601"/>
                    <a:gd name="connsiteY56" fmla="*/ 2149650 h 2407727"/>
                    <a:gd name="connsiteX57" fmla="*/ 1455193 w 1598601"/>
                    <a:gd name="connsiteY57" fmla="*/ 2112222 h 2407727"/>
                    <a:gd name="connsiteX58" fmla="*/ 1428569 w 1598601"/>
                    <a:gd name="connsiteY58" fmla="*/ 1667027 h 2407727"/>
                    <a:gd name="connsiteX59" fmla="*/ 1216373 w 1598601"/>
                    <a:gd name="connsiteY59" fmla="*/ 1247927 h 2407727"/>
                    <a:gd name="connsiteX60" fmla="*/ 1204720 w 1598601"/>
                    <a:gd name="connsiteY60" fmla="*/ 1219703 h 2407727"/>
                    <a:gd name="connsiteX61" fmla="*/ 1200946 w 1598601"/>
                    <a:gd name="connsiteY61" fmla="*/ 1220857 h 2407727"/>
                    <a:gd name="connsiteX62" fmla="*/ 1158007 w 1598601"/>
                    <a:gd name="connsiteY62" fmla="*/ 1267925 h 2407727"/>
                    <a:gd name="connsiteX63" fmla="*/ 1144365 w 1598601"/>
                    <a:gd name="connsiteY63" fmla="*/ 1357161 h 2407727"/>
                    <a:gd name="connsiteX64" fmla="*/ 1134149 w 1598601"/>
                    <a:gd name="connsiteY64" fmla="*/ 1288646 h 2407727"/>
                    <a:gd name="connsiteX65" fmla="*/ 1157796 w 1598601"/>
                    <a:gd name="connsiteY65" fmla="*/ 1225976 h 2407727"/>
                    <a:gd name="connsiteX66" fmla="*/ 1185362 w 1598601"/>
                    <a:gd name="connsiteY66" fmla="*/ 1198193 h 2407727"/>
                    <a:gd name="connsiteX67" fmla="*/ 1193758 w 1598601"/>
                    <a:gd name="connsiteY67" fmla="*/ 1193150 h 2407727"/>
                    <a:gd name="connsiteX68" fmla="*/ 1190489 w 1598601"/>
                    <a:gd name="connsiteY68" fmla="*/ 1185234 h 2407727"/>
                    <a:gd name="connsiteX69" fmla="*/ 1148111 w 1598601"/>
                    <a:gd name="connsiteY69" fmla="*/ 1059015 h 2407727"/>
                    <a:gd name="connsiteX70" fmla="*/ 1043336 w 1598601"/>
                    <a:gd name="connsiteY70" fmla="*/ 934660 h 2407727"/>
                    <a:gd name="connsiteX71" fmla="*/ 873636 w 1598601"/>
                    <a:gd name="connsiteY71" fmla="*/ 898417 h 2407727"/>
                    <a:gd name="connsiteX72" fmla="*/ 845073 w 1598601"/>
                    <a:gd name="connsiteY72" fmla="*/ 894417 h 2407727"/>
                    <a:gd name="connsiteX73" fmla="*/ 897846 w 1598601"/>
                    <a:gd name="connsiteY73" fmla="*/ 1404 h 2407727"/>
                    <a:gd name="connsiteX74" fmla="*/ 962375 w 1598601"/>
                    <a:gd name="connsiteY74" fmla="*/ 77939 h 2407727"/>
                    <a:gd name="connsiteX75" fmla="*/ 874004 w 1598601"/>
                    <a:gd name="connsiteY75" fmla="*/ 182185 h 2407727"/>
                    <a:gd name="connsiteX76" fmla="*/ 500413 w 1598601"/>
                    <a:gd name="connsiteY76" fmla="*/ 426660 h 2407727"/>
                    <a:gd name="connsiteX77" fmla="*/ 426329 w 1598601"/>
                    <a:gd name="connsiteY77" fmla="*/ 604460 h 2407727"/>
                    <a:gd name="connsiteX78" fmla="*/ 424213 w 1598601"/>
                    <a:gd name="connsiteY78" fmla="*/ 839410 h 2407727"/>
                    <a:gd name="connsiteX79" fmla="*/ 529459 w 1598601"/>
                    <a:gd name="connsiteY79" fmla="*/ 1078081 h 2407727"/>
                    <a:gd name="connsiteX80" fmla="*/ 582963 w 1598601"/>
                    <a:gd name="connsiteY80" fmla="*/ 933468 h 2407727"/>
                    <a:gd name="connsiteX81" fmla="*/ 664984 w 1598601"/>
                    <a:gd name="connsiteY81" fmla="*/ 771543 h 2407727"/>
                    <a:gd name="connsiteX82" fmla="*/ 812092 w 1598601"/>
                    <a:gd name="connsiteY82" fmla="*/ 604461 h 2407727"/>
                    <a:gd name="connsiteX83" fmla="*/ 1016350 w 1598601"/>
                    <a:gd name="connsiteY83" fmla="*/ 512781 h 2407727"/>
                    <a:gd name="connsiteX84" fmla="*/ 1207380 w 1598601"/>
                    <a:gd name="connsiteY84" fmla="*/ 505372 h 2407727"/>
                    <a:gd name="connsiteX85" fmla="*/ 1214788 w 1598601"/>
                    <a:gd name="connsiteY85" fmla="*/ 543472 h 2407727"/>
                    <a:gd name="connsiteX86" fmla="*/ 1060800 w 1598601"/>
                    <a:gd name="connsiteY86" fmla="*/ 545060 h 2407727"/>
                    <a:gd name="connsiteX87" fmla="*/ 837493 w 1598601"/>
                    <a:gd name="connsiteY87" fmla="*/ 634490 h 2407727"/>
                    <a:gd name="connsiteX88" fmla="*/ 671863 w 1598601"/>
                    <a:gd name="connsiteY88" fmla="*/ 829751 h 2407727"/>
                    <a:gd name="connsiteX89" fmla="*/ 573437 w 1598601"/>
                    <a:gd name="connsiteY89" fmla="*/ 1077932 h 2407727"/>
                    <a:gd name="connsiteX90" fmla="*/ 569734 w 1598601"/>
                    <a:gd name="connsiteY90" fmla="*/ 1334577 h 2407727"/>
                    <a:gd name="connsiteX91" fmla="*/ 603600 w 1598601"/>
                    <a:gd name="connsiteY91" fmla="*/ 1439881 h 2407727"/>
                    <a:gd name="connsiteX92" fmla="*/ 711022 w 1598601"/>
                    <a:gd name="connsiteY92" fmla="*/ 1433531 h 2407727"/>
                    <a:gd name="connsiteX93" fmla="*/ 724250 w 1598601"/>
                    <a:gd name="connsiteY93" fmla="*/ 1340397 h 2407727"/>
                    <a:gd name="connsiteX94" fmla="*/ 735892 w 1598601"/>
                    <a:gd name="connsiteY94" fmla="*/ 1150426 h 2407727"/>
                    <a:gd name="connsiteX95" fmla="*/ 783517 w 1598601"/>
                    <a:gd name="connsiteY95" fmla="*/ 917064 h 2407727"/>
                    <a:gd name="connsiteX96" fmla="*/ 923217 w 1598601"/>
                    <a:gd name="connsiteY96" fmla="*/ 775247 h 2407727"/>
                    <a:gd name="connsiteX97" fmla="*/ 1099959 w 1598601"/>
                    <a:gd name="connsiteY97" fmla="*/ 722859 h 2407727"/>
                    <a:gd name="connsiteX98" fmla="*/ 1264000 w 1598601"/>
                    <a:gd name="connsiteY98" fmla="*/ 711747 h 2407727"/>
                    <a:gd name="connsiteX99" fmla="*/ 1255534 w 1598601"/>
                    <a:gd name="connsiteY99" fmla="*/ 749847 h 2407727"/>
                    <a:gd name="connsiteX100" fmla="*/ 1092022 w 1598601"/>
                    <a:gd name="connsiteY100" fmla="*/ 762019 h 2407727"/>
                    <a:gd name="connsiteX101" fmla="*/ 946500 w 1598601"/>
                    <a:gd name="connsiteY101" fmla="*/ 804881 h 2407727"/>
                    <a:gd name="connsiteX102" fmla="*/ 869672 w 1598601"/>
                    <a:gd name="connsiteY102" fmla="*/ 863189 h 2407727"/>
                    <a:gd name="connsiteX103" fmla="*/ 905959 w 1598601"/>
                    <a:gd name="connsiteY103" fmla="*/ 872677 h 2407727"/>
                    <a:gd name="connsiteX104" fmla="*/ 992007 w 1598601"/>
                    <a:gd name="connsiteY104" fmla="*/ 883331 h 2407727"/>
                    <a:gd name="connsiteX105" fmla="*/ 1110011 w 1598601"/>
                    <a:gd name="connsiteY105" fmla="*/ 928840 h 2407727"/>
                    <a:gd name="connsiteX106" fmla="*/ 1239127 w 1598601"/>
                    <a:gd name="connsiteY106" fmla="*/ 1097114 h 2407727"/>
                    <a:gd name="connsiteX107" fmla="*/ 1299982 w 1598601"/>
                    <a:gd name="connsiteY107" fmla="*/ 1226232 h 2407727"/>
                    <a:gd name="connsiteX108" fmla="*/ 1503711 w 1598601"/>
                    <a:gd name="connsiteY108" fmla="*/ 1583419 h 2407727"/>
                    <a:gd name="connsiteX109" fmla="*/ 1597902 w 1598601"/>
                    <a:gd name="connsiteY109" fmla="*/ 2111527 h 2407727"/>
                    <a:gd name="connsiteX110" fmla="*/ 1540224 w 1598601"/>
                    <a:gd name="connsiteY110" fmla="*/ 2282977 h 2407727"/>
                    <a:gd name="connsiteX111" fmla="*/ 1484628 w 1598601"/>
                    <a:gd name="connsiteY111" fmla="*/ 2314116 h 2407727"/>
                    <a:gd name="connsiteX112" fmla="*/ 1277756 w 1598601"/>
                    <a:gd name="connsiteY112" fmla="*/ 2367644 h 2407727"/>
                    <a:gd name="connsiteX113" fmla="*/ 747532 w 1598601"/>
                    <a:gd name="connsiteY113" fmla="*/ 2402039 h 2407727"/>
                    <a:gd name="connsiteX114" fmla="*/ 395107 w 1598601"/>
                    <a:gd name="connsiteY114" fmla="*/ 2244876 h 2407727"/>
                    <a:gd name="connsiteX115" fmla="*/ 226303 w 1598601"/>
                    <a:gd name="connsiteY115" fmla="*/ 2069194 h 2407727"/>
                    <a:gd name="connsiteX116" fmla="*/ 160520 w 1598601"/>
                    <a:gd name="connsiteY116" fmla="*/ 1894171 h 2407727"/>
                    <a:gd name="connsiteX117" fmla="*/ 152959 w 1598601"/>
                    <a:gd name="connsiteY117" fmla="*/ 1798547 h 2407727"/>
                    <a:gd name="connsiteX118" fmla="*/ 146943 w 1598601"/>
                    <a:gd name="connsiteY118" fmla="*/ 1722472 h 2407727"/>
                    <a:gd name="connsiteX119" fmla="*/ 138463 w 1598601"/>
                    <a:gd name="connsiteY119" fmla="*/ 1715710 h 2407727"/>
                    <a:gd name="connsiteX120" fmla="*/ 28396 w 1598601"/>
                    <a:gd name="connsiteY120" fmla="*/ 1512510 h 2407727"/>
                    <a:gd name="connsiteX121" fmla="*/ 7229 w 1598601"/>
                    <a:gd name="connsiteY121" fmla="*/ 1233110 h 2407727"/>
                    <a:gd name="connsiteX122" fmla="*/ 132641 w 1598601"/>
                    <a:gd name="connsiteY122" fmla="*/ 1023560 h 2407727"/>
                    <a:gd name="connsiteX123" fmla="*/ 191379 w 1598601"/>
                    <a:gd name="connsiteY123" fmla="*/ 783847 h 2407727"/>
                    <a:gd name="connsiteX124" fmla="*/ 195613 w 1598601"/>
                    <a:gd name="connsiteY124" fmla="*/ 441477 h 2407727"/>
                    <a:gd name="connsiteX125" fmla="*/ 185029 w 1598601"/>
                    <a:gd name="connsiteY125" fmla="*/ 267910 h 2407727"/>
                    <a:gd name="connsiteX126" fmla="*/ 142696 w 1598601"/>
                    <a:gd name="connsiteY126" fmla="*/ 128210 h 2407727"/>
                    <a:gd name="connsiteX127" fmla="*/ 297213 w 1598601"/>
                    <a:gd name="connsiteY127" fmla="*/ 73177 h 2407727"/>
                    <a:gd name="connsiteX128" fmla="*/ 352246 w 1598601"/>
                    <a:gd name="connsiteY128" fmla="*/ 221344 h 2407727"/>
                    <a:gd name="connsiteX129" fmla="*/ 441146 w 1598601"/>
                    <a:gd name="connsiteY129" fmla="*/ 263677 h 2407727"/>
                    <a:gd name="connsiteX130" fmla="*/ 843313 w 1598601"/>
                    <a:gd name="connsiteY130" fmla="*/ 7560 h 2407727"/>
                    <a:gd name="connsiteX131" fmla="*/ 897846 w 1598601"/>
                    <a:gd name="connsiteY131" fmla="*/ 1404 h 2407727"/>
                    <a:gd name="connsiteX0" fmla="*/ 1043608 w 1598601"/>
                    <a:gd name="connsiteY0" fmla="*/ 1286759 h 2407727"/>
                    <a:gd name="connsiteX1" fmla="*/ 1101811 w 1598601"/>
                    <a:gd name="connsiteY1" fmla="*/ 1309408 h 2407727"/>
                    <a:gd name="connsiteX2" fmla="*/ 1142465 w 1598601"/>
                    <a:gd name="connsiteY2" fmla="*/ 1361159 h 2407727"/>
                    <a:gd name="connsiteX3" fmla="*/ 1072349 w 1598601"/>
                    <a:gd name="connsiteY3" fmla="*/ 1313921 h 2407727"/>
                    <a:gd name="connsiteX4" fmla="*/ 1012601 w 1598601"/>
                    <a:gd name="connsiteY4" fmla="*/ 1315752 h 2407727"/>
                    <a:gd name="connsiteX5" fmla="*/ 985196 w 1598601"/>
                    <a:gd name="connsiteY5" fmla="*/ 1333403 h 2407727"/>
                    <a:gd name="connsiteX6" fmla="*/ 978371 w 1598601"/>
                    <a:gd name="connsiteY6" fmla="*/ 1299330 h 2407727"/>
                    <a:gd name="connsiteX7" fmla="*/ 1043608 w 1598601"/>
                    <a:gd name="connsiteY7" fmla="*/ 1286759 h 2407727"/>
                    <a:gd name="connsiteX8" fmla="*/ 355024 w 1598601"/>
                    <a:gd name="connsiteY8" fmla="*/ 1004643 h 2407727"/>
                    <a:gd name="connsiteX9" fmla="*/ 284512 w 1598601"/>
                    <a:gd name="connsiteY9" fmla="*/ 1008744 h 2407727"/>
                    <a:gd name="connsiteX10" fmla="*/ 153279 w 1598601"/>
                    <a:gd name="connsiteY10" fmla="*/ 1074360 h 2407727"/>
                    <a:gd name="connsiteX11" fmla="*/ 45329 w 1598601"/>
                    <a:gd name="connsiteY11" fmla="*/ 1251632 h 2407727"/>
                    <a:gd name="connsiteX12" fmla="*/ 81313 w 1598601"/>
                    <a:gd name="connsiteY12" fmla="*/ 1510394 h 2407727"/>
                    <a:gd name="connsiteX13" fmla="*/ 163333 w 1598601"/>
                    <a:gd name="connsiteY13" fmla="*/ 1626810 h 2407727"/>
                    <a:gd name="connsiteX14" fmla="*/ 189754 w 1598601"/>
                    <a:gd name="connsiteY14" fmla="*/ 1656641 h 2407727"/>
                    <a:gd name="connsiteX15" fmla="*/ 192119 w 1598601"/>
                    <a:gd name="connsiteY15" fmla="*/ 1661321 h 2407727"/>
                    <a:gd name="connsiteX16" fmla="*/ 273929 w 1598601"/>
                    <a:gd name="connsiteY16" fmla="*/ 1631574 h 2407727"/>
                    <a:gd name="connsiteX17" fmla="*/ 373942 w 1598601"/>
                    <a:gd name="connsiteY17" fmla="*/ 1636338 h 2407727"/>
                    <a:gd name="connsiteX18" fmla="*/ 461254 w 1598601"/>
                    <a:gd name="connsiteY18" fmla="*/ 1680786 h 2407727"/>
                    <a:gd name="connsiteX19" fmla="*/ 331079 w 1598601"/>
                    <a:gd name="connsiteY19" fmla="*/ 1652211 h 2407727"/>
                    <a:gd name="connsiteX20" fmla="*/ 240591 w 1598601"/>
                    <a:gd name="connsiteY20" fmla="*/ 1676024 h 2407727"/>
                    <a:gd name="connsiteX21" fmla="*/ 208345 w 1598601"/>
                    <a:gd name="connsiteY21" fmla="*/ 1749054 h 2407727"/>
                    <a:gd name="connsiteX22" fmla="*/ 235299 w 1598601"/>
                    <a:gd name="connsiteY22" fmla="*/ 1903035 h 2407727"/>
                    <a:gd name="connsiteX23" fmla="*/ 378173 w 1598601"/>
                    <a:gd name="connsiteY23" fmla="*/ 2101473 h 2407727"/>
                    <a:gd name="connsiteX24" fmla="*/ 699377 w 1598601"/>
                    <a:gd name="connsiteY24" fmla="*/ 2250697 h 2407727"/>
                    <a:gd name="connsiteX25" fmla="*/ 1262411 w 1598601"/>
                    <a:gd name="connsiteY25" fmla="*/ 2225298 h 2407727"/>
                    <a:gd name="connsiteX26" fmla="*/ 1372242 w 1598601"/>
                    <a:gd name="connsiteY26" fmla="*/ 2219048 h 2407727"/>
                    <a:gd name="connsiteX27" fmla="*/ 1305870 w 1598601"/>
                    <a:gd name="connsiteY27" fmla="*/ 2199298 h 2407727"/>
                    <a:gd name="connsiteX28" fmla="*/ 1219489 w 1598601"/>
                    <a:gd name="connsiteY28" fmla="*/ 2131093 h 2407727"/>
                    <a:gd name="connsiteX29" fmla="*/ 1093610 w 1598601"/>
                    <a:gd name="connsiteY29" fmla="*/ 1860701 h 2407727"/>
                    <a:gd name="connsiteX30" fmla="*/ 998360 w 1598601"/>
                    <a:gd name="connsiteY30" fmla="*/ 1684489 h 2407727"/>
                    <a:gd name="connsiteX31" fmla="*/ 734864 w 1598601"/>
                    <a:gd name="connsiteY31" fmla="*/ 1461065 h 2407727"/>
                    <a:gd name="connsiteX32" fmla="*/ 712081 w 1598601"/>
                    <a:gd name="connsiteY32" fmla="*/ 1472825 h 2407727"/>
                    <a:gd name="connsiteX33" fmla="*/ 680859 w 1598601"/>
                    <a:gd name="connsiteY33" fmla="*/ 1465279 h 2407727"/>
                    <a:gd name="connsiteX34" fmla="*/ 640644 w 1598601"/>
                    <a:gd name="connsiteY34" fmla="*/ 1466474 h 2407727"/>
                    <a:gd name="connsiteX35" fmla="*/ 591429 w 1598601"/>
                    <a:gd name="connsiteY35" fmla="*/ 1471632 h 2407727"/>
                    <a:gd name="connsiteX36" fmla="*/ 552334 w 1598601"/>
                    <a:gd name="connsiteY36" fmla="*/ 1487363 h 2407727"/>
                    <a:gd name="connsiteX37" fmla="*/ 497850 w 1598601"/>
                    <a:gd name="connsiteY37" fmla="*/ 1548937 h 2407727"/>
                    <a:gd name="connsiteX38" fmla="*/ 478720 w 1598601"/>
                    <a:gd name="connsiteY38" fmla="*/ 1664016 h 2407727"/>
                    <a:gd name="connsiteX39" fmla="*/ 467710 w 1598601"/>
                    <a:gd name="connsiteY39" fmla="*/ 1576167 h 2407727"/>
                    <a:gd name="connsiteX40" fmla="*/ 498617 w 1598601"/>
                    <a:gd name="connsiteY40" fmla="*/ 1495003 h 2407727"/>
                    <a:gd name="connsiteX41" fmla="*/ 564523 w 1598601"/>
                    <a:gd name="connsiteY41" fmla="*/ 1436940 h 2407727"/>
                    <a:gd name="connsiteX42" fmla="*/ 535337 w 1598601"/>
                    <a:gd name="connsiteY42" fmla="*/ 1339339 h 2407727"/>
                    <a:gd name="connsiteX43" fmla="*/ 527400 w 1598601"/>
                    <a:gd name="connsiteY43" fmla="*/ 1177249 h 2407727"/>
                    <a:gd name="connsiteX44" fmla="*/ 530804 w 1598601"/>
                    <a:gd name="connsiteY44" fmla="*/ 1124461 h 2407727"/>
                    <a:gd name="connsiteX45" fmla="*/ 527863 w 1598601"/>
                    <a:gd name="connsiteY45" fmla="*/ 1122647 h 2407727"/>
                    <a:gd name="connsiteX46" fmla="*/ 423684 w 1598601"/>
                    <a:gd name="connsiteY46" fmla="*/ 1021444 h 2407727"/>
                    <a:gd name="connsiteX47" fmla="*/ 355024 w 1598601"/>
                    <a:gd name="connsiteY47" fmla="*/ 1004643 h 2407727"/>
                    <a:gd name="connsiteX48" fmla="*/ 845073 w 1598601"/>
                    <a:gd name="connsiteY48" fmla="*/ 894417 h 2407727"/>
                    <a:gd name="connsiteX49" fmla="*/ 817384 w 1598601"/>
                    <a:gd name="connsiteY49" fmla="*/ 931881 h 2407727"/>
                    <a:gd name="connsiteX50" fmla="*/ 768170 w 1598601"/>
                    <a:gd name="connsiteY50" fmla="*/ 1167360 h 2407727"/>
                    <a:gd name="connsiteX51" fmla="*/ 753354 w 1598601"/>
                    <a:gd name="connsiteY51" fmla="*/ 1423477 h 2407727"/>
                    <a:gd name="connsiteX52" fmla="*/ 743842 w 1598601"/>
                    <a:gd name="connsiteY52" fmla="*/ 1451649 h 2407727"/>
                    <a:gd name="connsiteX53" fmla="*/ 1058685 w 1598601"/>
                    <a:gd name="connsiteY53" fmla="*/ 1689251 h 2407727"/>
                    <a:gd name="connsiteX54" fmla="*/ 1209497 w 1598601"/>
                    <a:gd name="connsiteY54" fmla="*/ 2009927 h 2407727"/>
                    <a:gd name="connsiteX55" fmla="*/ 1327727 w 1598601"/>
                    <a:gd name="connsiteY55" fmla="*/ 2119294 h 2407727"/>
                    <a:gd name="connsiteX56" fmla="*/ 1457648 w 1598601"/>
                    <a:gd name="connsiteY56" fmla="*/ 2149650 h 2407727"/>
                    <a:gd name="connsiteX57" fmla="*/ 1455193 w 1598601"/>
                    <a:gd name="connsiteY57" fmla="*/ 2112222 h 2407727"/>
                    <a:gd name="connsiteX58" fmla="*/ 1428569 w 1598601"/>
                    <a:gd name="connsiteY58" fmla="*/ 1667027 h 2407727"/>
                    <a:gd name="connsiteX59" fmla="*/ 1216373 w 1598601"/>
                    <a:gd name="connsiteY59" fmla="*/ 1247927 h 2407727"/>
                    <a:gd name="connsiteX60" fmla="*/ 1204720 w 1598601"/>
                    <a:gd name="connsiteY60" fmla="*/ 1219703 h 2407727"/>
                    <a:gd name="connsiteX61" fmla="*/ 1200946 w 1598601"/>
                    <a:gd name="connsiteY61" fmla="*/ 1220857 h 2407727"/>
                    <a:gd name="connsiteX62" fmla="*/ 1158007 w 1598601"/>
                    <a:gd name="connsiteY62" fmla="*/ 1267925 h 2407727"/>
                    <a:gd name="connsiteX63" fmla="*/ 1144365 w 1598601"/>
                    <a:gd name="connsiteY63" fmla="*/ 1357161 h 2407727"/>
                    <a:gd name="connsiteX64" fmla="*/ 1134149 w 1598601"/>
                    <a:gd name="connsiteY64" fmla="*/ 1288646 h 2407727"/>
                    <a:gd name="connsiteX65" fmla="*/ 1157796 w 1598601"/>
                    <a:gd name="connsiteY65" fmla="*/ 1225976 h 2407727"/>
                    <a:gd name="connsiteX66" fmla="*/ 1185362 w 1598601"/>
                    <a:gd name="connsiteY66" fmla="*/ 1198193 h 2407727"/>
                    <a:gd name="connsiteX67" fmla="*/ 1193758 w 1598601"/>
                    <a:gd name="connsiteY67" fmla="*/ 1193150 h 2407727"/>
                    <a:gd name="connsiteX68" fmla="*/ 1190489 w 1598601"/>
                    <a:gd name="connsiteY68" fmla="*/ 1185234 h 2407727"/>
                    <a:gd name="connsiteX69" fmla="*/ 1148111 w 1598601"/>
                    <a:gd name="connsiteY69" fmla="*/ 1059015 h 2407727"/>
                    <a:gd name="connsiteX70" fmla="*/ 1043336 w 1598601"/>
                    <a:gd name="connsiteY70" fmla="*/ 934660 h 2407727"/>
                    <a:gd name="connsiteX71" fmla="*/ 873636 w 1598601"/>
                    <a:gd name="connsiteY71" fmla="*/ 898417 h 2407727"/>
                    <a:gd name="connsiteX72" fmla="*/ 845073 w 1598601"/>
                    <a:gd name="connsiteY72" fmla="*/ 894417 h 2407727"/>
                    <a:gd name="connsiteX73" fmla="*/ 897846 w 1598601"/>
                    <a:gd name="connsiteY73" fmla="*/ 1404 h 2407727"/>
                    <a:gd name="connsiteX74" fmla="*/ 962375 w 1598601"/>
                    <a:gd name="connsiteY74" fmla="*/ 77939 h 2407727"/>
                    <a:gd name="connsiteX75" fmla="*/ 874004 w 1598601"/>
                    <a:gd name="connsiteY75" fmla="*/ 182185 h 2407727"/>
                    <a:gd name="connsiteX76" fmla="*/ 500413 w 1598601"/>
                    <a:gd name="connsiteY76" fmla="*/ 426660 h 2407727"/>
                    <a:gd name="connsiteX77" fmla="*/ 426329 w 1598601"/>
                    <a:gd name="connsiteY77" fmla="*/ 604460 h 2407727"/>
                    <a:gd name="connsiteX78" fmla="*/ 424213 w 1598601"/>
                    <a:gd name="connsiteY78" fmla="*/ 839410 h 2407727"/>
                    <a:gd name="connsiteX79" fmla="*/ 529459 w 1598601"/>
                    <a:gd name="connsiteY79" fmla="*/ 1078081 h 2407727"/>
                    <a:gd name="connsiteX80" fmla="*/ 582963 w 1598601"/>
                    <a:gd name="connsiteY80" fmla="*/ 933468 h 2407727"/>
                    <a:gd name="connsiteX81" fmla="*/ 664984 w 1598601"/>
                    <a:gd name="connsiteY81" fmla="*/ 771543 h 2407727"/>
                    <a:gd name="connsiteX82" fmla="*/ 812092 w 1598601"/>
                    <a:gd name="connsiteY82" fmla="*/ 604461 h 2407727"/>
                    <a:gd name="connsiteX83" fmla="*/ 1016350 w 1598601"/>
                    <a:gd name="connsiteY83" fmla="*/ 512781 h 2407727"/>
                    <a:gd name="connsiteX84" fmla="*/ 1207380 w 1598601"/>
                    <a:gd name="connsiteY84" fmla="*/ 505372 h 2407727"/>
                    <a:gd name="connsiteX85" fmla="*/ 1214788 w 1598601"/>
                    <a:gd name="connsiteY85" fmla="*/ 543472 h 2407727"/>
                    <a:gd name="connsiteX86" fmla="*/ 1060800 w 1598601"/>
                    <a:gd name="connsiteY86" fmla="*/ 545060 h 2407727"/>
                    <a:gd name="connsiteX87" fmla="*/ 837493 w 1598601"/>
                    <a:gd name="connsiteY87" fmla="*/ 634490 h 2407727"/>
                    <a:gd name="connsiteX88" fmla="*/ 671863 w 1598601"/>
                    <a:gd name="connsiteY88" fmla="*/ 829751 h 2407727"/>
                    <a:gd name="connsiteX89" fmla="*/ 573437 w 1598601"/>
                    <a:gd name="connsiteY89" fmla="*/ 1077932 h 2407727"/>
                    <a:gd name="connsiteX90" fmla="*/ 569734 w 1598601"/>
                    <a:gd name="connsiteY90" fmla="*/ 1334577 h 2407727"/>
                    <a:gd name="connsiteX91" fmla="*/ 603600 w 1598601"/>
                    <a:gd name="connsiteY91" fmla="*/ 1439881 h 2407727"/>
                    <a:gd name="connsiteX92" fmla="*/ 711022 w 1598601"/>
                    <a:gd name="connsiteY92" fmla="*/ 1433531 h 2407727"/>
                    <a:gd name="connsiteX93" fmla="*/ 724250 w 1598601"/>
                    <a:gd name="connsiteY93" fmla="*/ 1340397 h 2407727"/>
                    <a:gd name="connsiteX94" fmla="*/ 735892 w 1598601"/>
                    <a:gd name="connsiteY94" fmla="*/ 1150426 h 2407727"/>
                    <a:gd name="connsiteX95" fmla="*/ 783517 w 1598601"/>
                    <a:gd name="connsiteY95" fmla="*/ 917064 h 2407727"/>
                    <a:gd name="connsiteX96" fmla="*/ 923217 w 1598601"/>
                    <a:gd name="connsiteY96" fmla="*/ 775247 h 2407727"/>
                    <a:gd name="connsiteX97" fmla="*/ 1099959 w 1598601"/>
                    <a:gd name="connsiteY97" fmla="*/ 722859 h 2407727"/>
                    <a:gd name="connsiteX98" fmla="*/ 1264000 w 1598601"/>
                    <a:gd name="connsiteY98" fmla="*/ 711747 h 2407727"/>
                    <a:gd name="connsiteX99" fmla="*/ 1255534 w 1598601"/>
                    <a:gd name="connsiteY99" fmla="*/ 749847 h 2407727"/>
                    <a:gd name="connsiteX100" fmla="*/ 1092022 w 1598601"/>
                    <a:gd name="connsiteY100" fmla="*/ 762019 h 2407727"/>
                    <a:gd name="connsiteX101" fmla="*/ 946500 w 1598601"/>
                    <a:gd name="connsiteY101" fmla="*/ 804881 h 2407727"/>
                    <a:gd name="connsiteX102" fmla="*/ 869672 w 1598601"/>
                    <a:gd name="connsiteY102" fmla="*/ 863189 h 2407727"/>
                    <a:gd name="connsiteX103" fmla="*/ 905959 w 1598601"/>
                    <a:gd name="connsiteY103" fmla="*/ 872677 h 2407727"/>
                    <a:gd name="connsiteX104" fmla="*/ 992007 w 1598601"/>
                    <a:gd name="connsiteY104" fmla="*/ 883331 h 2407727"/>
                    <a:gd name="connsiteX105" fmla="*/ 1110011 w 1598601"/>
                    <a:gd name="connsiteY105" fmla="*/ 928840 h 2407727"/>
                    <a:gd name="connsiteX106" fmla="*/ 1239127 w 1598601"/>
                    <a:gd name="connsiteY106" fmla="*/ 1097114 h 2407727"/>
                    <a:gd name="connsiteX107" fmla="*/ 1299982 w 1598601"/>
                    <a:gd name="connsiteY107" fmla="*/ 1226232 h 2407727"/>
                    <a:gd name="connsiteX108" fmla="*/ 1503711 w 1598601"/>
                    <a:gd name="connsiteY108" fmla="*/ 1583419 h 2407727"/>
                    <a:gd name="connsiteX109" fmla="*/ 1597902 w 1598601"/>
                    <a:gd name="connsiteY109" fmla="*/ 2111527 h 2407727"/>
                    <a:gd name="connsiteX110" fmla="*/ 1540224 w 1598601"/>
                    <a:gd name="connsiteY110" fmla="*/ 2282977 h 2407727"/>
                    <a:gd name="connsiteX111" fmla="*/ 1484628 w 1598601"/>
                    <a:gd name="connsiteY111" fmla="*/ 2314116 h 2407727"/>
                    <a:gd name="connsiteX112" fmla="*/ 1277756 w 1598601"/>
                    <a:gd name="connsiteY112" fmla="*/ 2367644 h 2407727"/>
                    <a:gd name="connsiteX113" fmla="*/ 747532 w 1598601"/>
                    <a:gd name="connsiteY113" fmla="*/ 2402039 h 2407727"/>
                    <a:gd name="connsiteX114" fmla="*/ 395107 w 1598601"/>
                    <a:gd name="connsiteY114" fmla="*/ 2244876 h 2407727"/>
                    <a:gd name="connsiteX115" fmla="*/ 226303 w 1598601"/>
                    <a:gd name="connsiteY115" fmla="*/ 2069194 h 2407727"/>
                    <a:gd name="connsiteX116" fmla="*/ 160520 w 1598601"/>
                    <a:gd name="connsiteY116" fmla="*/ 1894171 h 2407727"/>
                    <a:gd name="connsiteX117" fmla="*/ 152959 w 1598601"/>
                    <a:gd name="connsiteY117" fmla="*/ 1798547 h 2407727"/>
                    <a:gd name="connsiteX118" fmla="*/ 146943 w 1598601"/>
                    <a:gd name="connsiteY118" fmla="*/ 1722472 h 2407727"/>
                    <a:gd name="connsiteX119" fmla="*/ 138463 w 1598601"/>
                    <a:gd name="connsiteY119" fmla="*/ 1715710 h 2407727"/>
                    <a:gd name="connsiteX120" fmla="*/ 28396 w 1598601"/>
                    <a:gd name="connsiteY120" fmla="*/ 1512510 h 2407727"/>
                    <a:gd name="connsiteX121" fmla="*/ 7229 w 1598601"/>
                    <a:gd name="connsiteY121" fmla="*/ 1233110 h 2407727"/>
                    <a:gd name="connsiteX122" fmla="*/ 132641 w 1598601"/>
                    <a:gd name="connsiteY122" fmla="*/ 1023560 h 2407727"/>
                    <a:gd name="connsiteX123" fmla="*/ 191379 w 1598601"/>
                    <a:gd name="connsiteY123" fmla="*/ 783847 h 2407727"/>
                    <a:gd name="connsiteX124" fmla="*/ 195613 w 1598601"/>
                    <a:gd name="connsiteY124" fmla="*/ 441477 h 2407727"/>
                    <a:gd name="connsiteX125" fmla="*/ 185029 w 1598601"/>
                    <a:gd name="connsiteY125" fmla="*/ 267910 h 2407727"/>
                    <a:gd name="connsiteX126" fmla="*/ 142696 w 1598601"/>
                    <a:gd name="connsiteY126" fmla="*/ 128210 h 2407727"/>
                    <a:gd name="connsiteX127" fmla="*/ 297213 w 1598601"/>
                    <a:gd name="connsiteY127" fmla="*/ 73177 h 2407727"/>
                    <a:gd name="connsiteX128" fmla="*/ 352246 w 1598601"/>
                    <a:gd name="connsiteY128" fmla="*/ 221344 h 2407727"/>
                    <a:gd name="connsiteX129" fmla="*/ 441146 w 1598601"/>
                    <a:gd name="connsiteY129" fmla="*/ 263677 h 2407727"/>
                    <a:gd name="connsiteX130" fmla="*/ 843313 w 1598601"/>
                    <a:gd name="connsiteY130" fmla="*/ 7560 h 2407727"/>
                    <a:gd name="connsiteX131" fmla="*/ 897846 w 1598601"/>
                    <a:gd name="connsiteY131" fmla="*/ 1404 h 2407727"/>
                    <a:gd name="connsiteX0" fmla="*/ 1043608 w 1598601"/>
                    <a:gd name="connsiteY0" fmla="*/ 1286759 h 2407727"/>
                    <a:gd name="connsiteX1" fmla="*/ 1101811 w 1598601"/>
                    <a:gd name="connsiteY1" fmla="*/ 1309408 h 2407727"/>
                    <a:gd name="connsiteX2" fmla="*/ 1142465 w 1598601"/>
                    <a:gd name="connsiteY2" fmla="*/ 1361159 h 2407727"/>
                    <a:gd name="connsiteX3" fmla="*/ 1072349 w 1598601"/>
                    <a:gd name="connsiteY3" fmla="*/ 1313921 h 2407727"/>
                    <a:gd name="connsiteX4" fmla="*/ 1012601 w 1598601"/>
                    <a:gd name="connsiteY4" fmla="*/ 1315752 h 2407727"/>
                    <a:gd name="connsiteX5" fmla="*/ 985196 w 1598601"/>
                    <a:gd name="connsiteY5" fmla="*/ 1333403 h 2407727"/>
                    <a:gd name="connsiteX6" fmla="*/ 978371 w 1598601"/>
                    <a:gd name="connsiteY6" fmla="*/ 1299330 h 2407727"/>
                    <a:gd name="connsiteX7" fmla="*/ 1043608 w 1598601"/>
                    <a:gd name="connsiteY7" fmla="*/ 1286759 h 2407727"/>
                    <a:gd name="connsiteX8" fmla="*/ 355024 w 1598601"/>
                    <a:gd name="connsiteY8" fmla="*/ 1004643 h 2407727"/>
                    <a:gd name="connsiteX9" fmla="*/ 284512 w 1598601"/>
                    <a:gd name="connsiteY9" fmla="*/ 1008744 h 2407727"/>
                    <a:gd name="connsiteX10" fmla="*/ 153279 w 1598601"/>
                    <a:gd name="connsiteY10" fmla="*/ 1074360 h 2407727"/>
                    <a:gd name="connsiteX11" fmla="*/ 45329 w 1598601"/>
                    <a:gd name="connsiteY11" fmla="*/ 1251632 h 2407727"/>
                    <a:gd name="connsiteX12" fmla="*/ 81313 w 1598601"/>
                    <a:gd name="connsiteY12" fmla="*/ 1510394 h 2407727"/>
                    <a:gd name="connsiteX13" fmla="*/ 163333 w 1598601"/>
                    <a:gd name="connsiteY13" fmla="*/ 1626810 h 2407727"/>
                    <a:gd name="connsiteX14" fmla="*/ 189754 w 1598601"/>
                    <a:gd name="connsiteY14" fmla="*/ 1656641 h 2407727"/>
                    <a:gd name="connsiteX15" fmla="*/ 192119 w 1598601"/>
                    <a:gd name="connsiteY15" fmla="*/ 1661321 h 2407727"/>
                    <a:gd name="connsiteX16" fmla="*/ 273929 w 1598601"/>
                    <a:gd name="connsiteY16" fmla="*/ 1631574 h 2407727"/>
                    <a:gd name="connsiteX17" fmla="*/ 373942 w 1598601"/>
                    <a:gd name="connsiteY17" fmla="*/ 1636338 h 2407727"/>
                    <a:gd name="connsiteX18" fmla="*/ 461254 w 1598601"/>
                    <a:gd name="connsiteY18" fmla="*/ 1680786 h 2407727"/>
                    <a:gd name="connsiteX19" fmla="*/ 331079 w 1598601"/>
                    <a:gd name="connsiteY19" fmla="*/ 1652211 h 2407727"/>
                    <a:gd name="connsiteX20" fmla="*/ 240591 w 1598601"/>
                    <a:gd name="connsiteY20" fmla="*/ 1676024 h 2407727"/>
                    <a:gd name="connsiteX21" fmla="*/ 208345 w 1598601"/>
                    <a:gd name="connsiteY21" fmla="*/ 1749054 h 2407727"/>
                    <a:gd name="connsiteX22" fmla="*/ 235299 w 1598601"/>
                    <a:gd name="connsiteY22" fmla="*/ 1903035 h 2407727"/>
                    <a:gd name="connsiteX23" fmla="*/ 378173 w 1598601"/>
                    <a:gd name="connsiteY23" fmla="*/ 2101473 h 2407727"/>
                    <a:gd name="connsiteX24" fmla="*/ 699377 w 1598601"/>
                    <a:gd name="connsiteY24" fmla="*/ 2250697 h 2407727"/>
                    <a:gd name="connsiteX25" fmla="*/ 1262411 w 1598601"/>
                    <a:gd name="connsiteY25" fmla="*/ 2225298 h 2407727"/>
                    <a:gd name="connsiteX26" fmla="*/ 1372242 w 1598601"/>
                    <a:gd name="connsiteY26" fmla="*/ 2219048 h 2407727"/>
                    <a:gd name="connsiteX27" fmla="*/ 1305870 w 1598601"/>
                    <a:gd name="connsiteY27" fmla="*/ 2199298 h 2407727"/>
                    <a:gd name="connsiteX28" fmla="*/ 1219489 w 1598601"/>
                    <a:gd name="connsiteY28" fmla="*/ 2131093 h 2407727"/>
                    <a:gd name="connsiteX29" fmla="*/ 1093610 w 1598601"/>
                    <a:gd name="connsiteY29" fmla="*/ 1860701 h 2407727"/>
                    <a:gd name="connsiteX30" fmla="*/ 998360 w 1598601"/>
                    <a:gd name="connsiteY30" fmla="*/ 1684489 h 2407727"/>
                    <a:gd name="connsiteX31" fmla="*/ 734864 w 1598601"/>
                    <a:gd name="connsiteY31" fmla="*/ 1461065 h 2407727"/>
                    <a:gd name="connsiteX32" fmla="*/ 712081 w 1598601"/>
                    <a:gd name="connsiteY32" fmla="*/ 1472825 h 2407727"/>
                    <a:gd name="connsiteX33" fmla="*/ 680859 w 1598601"/>
                    <a:gd name="connsiteY33" fmla="*/ 1465279 h 2407727"/>
                    <a:gd name="connsiteX34" fmla="*/ 640644 w 1598601"/>
                    <a:gd name="connsiteY34" fmla="*/ 1466474 h 2407727"/>
                    <a:gd name="connsiteX35" fmla="*/ 591429 w 1598601"/>
                    <a:gd name="connsiteY35" fmla="*/ 1471632 h 2407727"/>
                    <a:gd name="connsiteX36" fmla="*/ 552334 w 1598601"/>
                    <a:gd name="connsiteY36" fmla="*/ 1487363 h 2407727"/>
                    <a:gd name="connsiteX37" fmla="*/ 497850 w 1598601"/>
                    <a:gd name="connsiteY37" fmla="*/ 1548937 h 2407727"/>
                    <a:gd name="connsiteX38" fmla="*/ 478720 w 1598601"/>
                    <a:gd name="connsiteY38" fmla="*/ 1664016 h 2407727"/>
                    <a:gd name="connsiteX39" fmla="*/ 467710 w 1598601"/>
                    <a:gd name="connsiteY39" fmla="*/ 1576167 h 2407727"/>
                    <a:gd name="connsiteX40" fmla="*/ 498617 w 1598601"/>
                    <a:gd name="connsiteY40" fmla="*/ 1495003 h 2407727"/>
                    <a:gd name="connsiteX41" fmla="*/ 564523 w 1598601"/>
                    <a:gd name="connsiteY41" fmla="*/ 1436940 h 2407727"/>
                    <a:gd name="connsiteX42" fmla="*/ 535337 w 1598601"/>
                    <a:gd name="connsiteY42" fmla="*/ 1339339 h 2407727"/>
                    <a:gd name="connsiteX43" fmla="*/ 527400 w 1598601"/>
                    <a:gd name="connsiteY43" fmla="*/ 1177249 h 2407727"/>
                    <a:gd name="connsiteX44" fmla="*/ 530804 w 1598601"/>
                    <a:gd name="connsiteY44" fmla="*/ 1124461 h 2407727"/>
                    <a:gd name="connsiteX45" fmla="*/ 527863 w 1598601"/>
                    <a:gd name="connsiteY45" fmla="*/ 1122647 h 2407727"/>
                    <a:gd name="connsiteX46" fmla="*/ 423684 w 1598601"/>
                    <a:gd name="connsiteY46" fmla="*/ 1021444 h 2407727"/>
                    <a:gd name="connsiteX47" fmla="*/ 355024 w 1598601"/>
                    <a:gd name="connsiteY47" fmla="*/ 1004643 h 2407727"/>
                    <a:gd name="connsiteX48" fmla="*/ 845073 w 1598601"/>
                    <a:gd name="connsiteY48" fmla="*/ 894417 h 2407727"/>
                    <a:gd name="connsiteX49" fmla="*/ 817384 w 1598601"/>
                    <a:gd name="connsiteY49" fmla="*/ 931881 h 2407727"/>
                    <a:gd name="connsiteX50" fmla="*/ 768170 w 1598601"/>
                    <a:gd name="connsiteY50" fmla="*/ 1167360 h 2407727"/>
                    <a:gd name="connsiteX51" fmla="*/ 753354 w 1598601"/>
                    <a:gd name="connsiteY51" fmla="*/ 1423477 h 2407727"/>
                    <a:gd name="connsiteX52" fmla="*/ 743842 w 1598601"/>
                    <a:gd name="connsiteY52" fmla="*/ 1451649 h 2407727"/>
                    <a:gd name="connsiteX53" fmla="*/ 1058685 w 1598601"/>
                    <a:gd name="connsiteY53" fmla="*/ 1689251 h 2407727"/>
                    <a:gd name="connsiteX54" fmla="*/ 1209497 w 1598601"/>
                    <a:gd name="connsiteY54" fmla="*/ 2009927 h 2407727"/>
                    <a:gd name="connsiteX55" fmla="*/ 1327727 w 1598601"/>
                    <a:gd name="connsiteY55" fmla="*/ 2119294 h 2407727"/>
                    <a:gd name="connsiteX56" fmla="*/ 1457648 w 1598601"/>
                    <a:gd name="connsiteY56" fmla="*/ 2149650 h 2407727"/>
                    <a:gd name="connsiteX57" fmla="*/ 1455193 w 1598601"/>
                    <a:gd name="connsiteY57" fmla="*/ 2112222 h 2407727"/>
                    <a:gd name="connsiteX58" fmla="*/ 1428569 w 1598601"/>
                    <a:gd name="connsiteY58" fmla="*/ 1667027 h 2407727"/>
                    <a:gd name="connsiteX59" fmla="*/ 1216373 w 1598601"/>
                    <a:gd name="connsiteY59" fmla="*/ 1247927 h 2407727"/>
                    <a:gd name="connsiteX60" fmla="*/ 1204720 w 1598601"/>
                    <a:gd name="connsiteY60" fmla="*/ 1219703 h 2407727"/>
                    <a:gd name="connsiteX61" fmla="*/ 1200946 w 1598601"/>
                    <a:gd name="connsiteY61" fmla="*/ 1220857 h 2407727"/>
                    <a:gd name="connsiteX62" fmla="*/ 1158007 w 1598601"/>
                    <a:gd name="connsiteY62" fmla="*/ 1267925 h 2407727"/>
                    <a:gd name="connsiteX63" fmla="*/ 1144365 w 1598601"/>
                    <a:gd name="connsiteY63" fmla="*/ 1357161 h 2407727"/>
                    <a:gd name="connsiteX64" fmla="*/ 1134149 w 1598601"/>
                    <a:gd name="connsiteY64" fmla="*/ 1288646 h 2407727"/>
                    <a:gd name="connsiteX65" fmla="*/ 1157796 w 1598601"/>
                    <a:gd name="connsiteY65" fmla="*/ 1225976 h 2407727"/>
                    <a:gd name="connsiteX66" fmla="*/ 1185362 w 1598601"/>
                    <a:gd name="connsiteY66" fmla="*/ 1198193 h 2407727"/>
                    <a:gd name="connsiteX67" fmla="*/ 1193758 w 1598601"/>
                    <a:gd name="connsiteY67" fmla="*/ 1193150 h 2407727"/>
                    <a:gd name="connsiteX68" fmla="*/ 1190489 w 1598601"/>
                    <a:gd name="connsiteY68" fmla="*/ 1185234 h 2407727"/>
                    <a:gd name="connsiteX69" fmla="*/ 1148111 w 1598601"/>
                    <a:gd name="connsiteY69" fmla="*/ 1059015 h 2407727"/>
                    <a:gd name="connsiteX70" fmla="*/ 1043336 w 1598601"/>
                    <a:gd name="connsiteY70" fmla="*/ 934660 h 2407727"/>
                    <a:gd name="connsiteX71" fmla="*/ 873636 w 1598601"/>
                    <a:gd name="connsiteY71" fmla="*/ 898417 h 2407727"/>
                    <a:gd name="connsiteX72" fmla="*/ 845073 w 1598601"/>
                    <a:gd name="connsiteY72" fmla="*/ 894417 h 2407727"/>
                    <a:gd name="connsiteX73" fmla="*/ 897846 w 1598601"/>
                    <a:gd name="connsiteY73" fmla="*/ 1404 h 2407727"/>
                    <a:gd name="connsiteX74" fmla="*/ 962375 w 1598601"/>
                    <a:gd name="connsiteY74" fmla="*/ 77939 h 2407727"/>
                    <a:gd name="connsiteX75" fmla="*/ 874004 w 1598601"/>
                    <a:gd name="connsiteY75" fmla="*/ 182185 h 2407727"/>
                    <a:gd name="connsiteX76" fmla="*/ 500413 w 1598601"/>
                    <a:gd name="connsiteY76" fmla="*/ 426660 h 2407727"/>
                    <a:gd name="connsiteX77" fmla="*/ 426329 w 1598601"/>
                    <a:gd name="connsiteY77" fmla="*/ 604460 h 2407727"/>
                    <a:gd name="connsiteX78" fmla="*/ 424213 w 1598601"/>
                    <a:gd name="connsiteY78" fmla="*/ 839410 h 2407727"/>
                    <a:gd name="connsiteX79" fmla="*/ 529459 w 1598601"/>
                    <a:gd name="connsiteY79" fmla="*/ 1078081 h 2407727"/>
                    <a:gd name="connsiteX80" fmla="*/ 582963 w 1598601"/>
                    <a:gd name="connsiteY80" fmla="*/ 933468 h 2407727"/>
                    <a:gd name="connsiteX81" fmla="*/ 664984 w 1598601"/>
                    <a:gd name="connsiteY81" fmla="*/ 771543 h 2407727"/>
                    <a:gd name="connsiteX82" fmla="*/ 812092 w 1598601"/>
                    <a:gd name="connsiteY82" fmla="*/ 604461 h 2407727"/>
                    <a:gd name="connsiteX83" fmla="*/ 1016350 w 1598601"/>
                    <a:gd name="connsiteY83" fmla="*/ 512781 h 2407727"/>
                    <a:gd name="connsiteX84" fmla="*/ 1207380 w 1598601"/>
                    <a:gd name="connsiteY84" fmla="*/ 505372 h 2407727"/>
                    <a:gd name="connsiteX85" fmla="*/ 1214788 w 1598601"/>
                    <a:gd name="connsiteY85" fmla="*/ 543472 h 2407727"/>
                    <a:gd name="connsiteX86" fmla="*/ 1060800 w 1598601"/>
                    <a:gd name="connsiteY86" fmla="*/ 545060 h 2407727"/>
                    <a:gd name="connsiteX87" fmla="*/ 837493 w 1598601"/>
                    <a:gd name="connsiteY87" fmla="*/ 634490 h 2407727"/>
                    <a:gd name="connsiteX88" fmla="*/ 671863 w 1598601"/>
                    <a:gd name="connsiteY88" fmla="*/ 829751 h 2407727"/>
                    <a:gd name="connsiteX89" fmla="*/ 573437 w 1598601"/>
                    <a:gd name="connsiteY89" fmla="*/ 1077932 h 2407727"/>
                    <a:gd name="connsiteX90" fmla="*/ 569734 w 1598601"/>
                    <a:gd name="connsiteY90" fmla="*/ 1334577 h 2407727"/>
                    <a:gd name="connsiteX91" fmla="*/ 603600 w 1598601"/>
                    <a:gd name="connsiteY91" fmla="*/ 1439881 h 2407727"/>
                    <a:gd name="connsiteX92" fmla="*/ 711022 w 1598601"/>
                    <a:gd name="connsiteY92" fmla="*/ 1433531 h 2407727"/>
                    <a:gd name="connsiteX93" fmla="*/ 724250 w 1598601"/>
                    <a:gd name="connsiteY93" fmla="*/ 1340397 h 2407727"/>
                    <a:gd name="connsiteX94" fmla="*/ 735892 w 1598601"/>
                    <a:gd name="connsiteY94" fmla="*/ 1150426 h 2407727"/>
                    <a:gd name="connsiteX95" fmla="*/ 783517 w 1598601"/>
                    <a:gd name="connsiteY95" fmla="*/ 917064 h 2407727"/>
                    <a:gd name="connsiteX96" fmla="*/ 923217 w 1598601"/>
                    <a:gd name="connsiteY96" fmla="*/ 775247 h 2407727"/>
                    <a:gd name="connsiteX97" fmla="*/ 1099959 w 1598601"/>
                    <a:gd name="connsiteY97" fmla="*/ 722859 h 2407727"/>
                    <a:gd name="connsiteX98" fmla="*/ 1264000 w 1598601"/>
                    <a:gd name="connsiteY98" fmla="*/ 711747 h 2407727"/>
                    <a:gd name="connsiteX99" fmla="*/ 1255534 w 1598601"/>
                    <a:gd name="connsiteY99" fmla="*/ 749847 h 2407727"/>
                    <a:gd name="connsiteX100" fmla="*/ 1092022 w 1598601"/>
                    <a:gd name="connsiteY100" fmla="*/ 762019 h 2407727"/>
                    <a:gd name="connsiteX101" fmla="*/ 946500 w 1598601"/>
                    <a:gd name="connsiteY101" fmla="*/ 804881 h 2407727"/>
                    <a:gd name="connsiteX102" fmla="*/ 869672 w 1598601"/>
                    <a:gd name="connsiteY102" fmla="*/ 863189 h 2407727"/>
                    <a:gd name="connsiteX103" fmla="*/ 905959 w 1598601"/>
                    <a:gd name="connsiteY103" fmla="*/ 872677 h 2407727"/>
                    <a:gd name="connsiteX104" fmla="*/ 992007 w 1598601"/>
                    <a:gd name="connsiteY104" fmla="*/ 883331 h 2407727"/>
                    <a:gd name="connsiteX105" fmla="*/ 1110011 w 1598601"/>
                    <a:gd name="connsiteY105" fmla="*/ 928840 h 2407727"/>
                    <a:gd name="connsiteX106" fmla="*/ 1239127 w 1598601"/>
                    <a:gd name="connsiteY106" fmla="*/ 1097114 h 2407727"/>
                    <a:gd name="connsiteX107" fmla="*/ 1299982 w 1598601"/>
                    <a:gd name="connsiteY107" fmla="*/ 1226232 h 2407727"/>
                    <a:gd name="connsiteX108" fmla="*/ 1503711 w 1598601"/>
                    <a:gd name="connsiteY108" fmla="*/ 1583419 h 2407727"/>
                    <a:gd name="connsiteX109" fmla="*/ 1597902 w 1598601"/>
                    <a:gd name="connsiteY109" fmla="*/ 2111527 h 2407727"/>
                    <a:gd name="connsiteX110" fmla="*/ 1540224 w 1598601"/>
                    <a:gd name="connsiteY110" fmla="*/ 2282977 h 2407727"/>
                    <a:gd name="connsiteX111" fmla="*/ 1484628 w 1598601"/>
                    <a:gd name="connsiteY111" fmla="*/ 2314116 h 2407727"/>
                    <a:gd name="connsiteX112" fmla="*/ 1277756 w 1598601"/>
                    <a:gd name="connsiteY112" fmla="*/ 2367644 h 2407727"/>
                    <a:gd name="connsiteX113" fmla="*/ 747532 w 1598601"/>
                    <a:gd name="connsiteY113" fmla="*/ 2402039 h 2407727"/>
                    <a:gd name="connsiteX114" fmla="*/ 395107 w 1598601"/>
                    <a:gd name="connsiteY114" fmla="*/ 2244876 h 2407727"/>
                    <a:gd name="connsiteX115" fmla="*/ 226303 w 1598601"/>
                    <a:gd name="connsiteY115" fmla="*/ 2069194 h 2407727"/>
                    <a:gd name="connsiteX116" fmla="*/ 160520 w 1598601"/>
                    <a:gd name="connsiteY116" fmla="*/ 1894171 h 2407727"/>
                    <a:gd name="connsiteX117" fmla="*/ 152959 w 1598601"/>
                    <a:gd name="connsiteY117" fmla="*/ 1798547 h 2407727"/>
                    <a:gd name="connsiteX118" fmla="*/ 146943 w 1598601"/>
                    <a:gd name="connsiteY118" fmla="*/ 1722472 h 2407727"/>
                    <a:gd name="connsiteX119" fmla="*/ 138463 w 1598601"/>
                    <a:gd name="connsiteY119" fmla="*/ 1715710 h 2407727"/>
                    <a:gd name="connsiteX120" fmla="*/ 28396 w 1598601"/>
                    <a:gd name="connsiteY120" fmla="*/ 1512510 h 2407727"/>
                    <a:gd name="connsiteX121" fmla="*/ 7229 w 1598601"/>
                    <a:gd name="connsiteY121" fmla="*/ 1233110 h 2407727"/>
                    <a:gd name="connsiteX122" fmla="*/ 132641 w 1598601"/>
                    <a:gd name="connsiteY122" fmla="*/ 1023560 h 2407727"/>
                    <a:gd name="connsiteX123" fmla="*/ 191379 w 1598601"/>
                    <a:gd name="connsiteY123" fmla="*/ 783847 h 2407727"/>
                    <a:gd name="connsiteX124" fmla="*/ 195613 w 1598601"/>
                    <a:gd name="connsiteY124" fmla="*/ 441477 h 2407727"/>
                    <a:gd name="connsiteX125" fmla="*/ 185029 w 1598601"/>
                    <a:gd name="connsiteY125" fmla="*/ 267910 h 2407727"/>
                    <a:gd name="connsiteX126" fmla="*/ 142696 w 1598601"/>
                    <a:gd name="connsiteY126" fmla="*/ 128210 h 2407727"/>
                    <a:gd name="connsiteX127" fmla="*/ 297213 w 1598601"/>
                    <a:gd name="connsiteY127" fmla="*/ 73177 h 2407727"/>
                    <a:gd name="connsiteX128" fmla="*/ 352246 w 1598601"/>
                    <a:gd name="connsiteY128" fmla="*/ 221344 h 2407727"/>
                    <a:gd name="connsiteX129" fmla="*/ 441146 w 1598601"/>
                    <a:gd name="connsiteY129" fmla="*/ 263677 h 2407727"/>
                    <a:gd name="connsiteX130" fmla="*/ 843313 w 1598601"/>
                    <a:gd name="connsiteY130" fmla="*/ 7560 h 2407727"/>
                    <a:gd name="connsiteX131" fmla="*/ 897846 w 1598601"/>
                    <a:gd name="connsiteY131" fmla="*/ 1404 h 24077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</a:cxnLst>
                  <a:rect l="l" t="t" r="r" b="b"/>
                  <a:pathLst>
                    <a:path w="1598601" h="2407727">
                      <a:moveTo>
                        <a:pt x="1043608" y="1286759"/>
                      </a:moveTo>
                      <a:cubicBezTo>
                        <a:pt x="1064181" y="1288440"/>
                        <a:pt x="1085334" y="1297008"/>
                        <a:pt x="1101811" y="1309408"/>
                      </a:cubicBezTo>
                      <a:cubicBezTo>
                        <a:pt x="1118287" y="1321808"/>
                        <a:pt x="1146923" y="1359106"/>
                        <a:pt x="1142465" y="1361159"/>
                      </a:cubicBezTo>
                      <a:cubicBezTo>
                        <a:pt x="1138007" y="1363210"/>
                        <a:pt x="1093994" y="1321489"/>
                        <a:pt x="1072349" y="1313921"/>
                      </a:cubicBezTo>
                      <a:cubicBezTo>
                        <a:pt x="1050706" y="1306352"/>
                        <a:pt x="1027127" y="1312504"/>
                        <a:pt x="1012601" y="1315752"/>
                      </a:cubicBezTo>
                      <a:cubicBezTo>
                        <a:pt x="998076" y="1318999"/>
                        <a:pt x="990901" y="1336139"/>
                        <a:pt x="985196" y="1333403"/>
                      </a:cubicBezTo>
                      <a:cubicBezTo>
                        <a:pt x="979490" y="1330666"/>
                        <a:pt x="968636" y="1307104"/>
                        <a:pt x="978371" y="1299330"/>
                      </a:cubicBezTo>
                      <a:cubicBezTo>
                        <a:pt x="988106" y="1291558"/>
                        <a:pt x="1023035" y="1285080"/>
                        <a:pt x="1043608" y="1286759"/>
                      </a:cubicBezTo>
                      <a:close/>
                      <a:moveTo>
                        <a:pt x="355024" y="1004643"/>
                      </a:moveTo>
                      <a:cubicBezTo>
                        <a:pt x="331189" y="1002747"/>
                        <a:pt x="307046" y="1004335"/>
                        <a:pt x="284512" y="1008744"/>
                      </a:cubicBezTo>
                      <a:cubicBezTo>
                        <a:pt x="239445" y="1017563"/>
                        <a:pt x="193143" y="1033879"/>
                        <a:pt x="153279" y="1074360"/>
                      </a:cubicBezTo>
                      <a:cubicBezTo>
                        <a:pt x="113415" y="1114841"/>
                        <a:pt x="57323" y="1178960"/>
                        <a:pt x="45329" y="1251632"/>
                      </a:cubicBezTo>
                      <a:cubicBezTo>
                        <a:pt x="33335" y="1324304"/>
                        <a:pt x="61646" y="1447864"/>
                        <a:pt x="81313" y="1510394"/>
                      </a:cubicBezTo>
                      <a:cubicBezTo>
                        <a:pt x="100980" y="1572924"/>
                        <a:pt x="143137" y="1598235"/>
                        <a:pt x="163333" y="1626810"/>
                      </a:cubicBezTo>
                      <a:cubicBezTo>
                        <a:pt x="173431" y="1641098"/>
                        <a:pt x="182733" y="1649255"/>
                        <a:pt x="189754" y="1656641"/>
                      </a:cubicBezTo>
                      <a:lnTo>
                        <a:pt x="192119" y="1661321"/>
                      </a:lnTo>
                      <a:lnTo>
                        <a:pt x="273929" y="1631574"/>
                      </a:lnTo>
                      <a:cubicBezTo>
                        <a:pt x="306208" y="1626018"/>
                        <a:pt x="342721" y="1628136"/>
                        <a:pt x="373942" y="1636338"/>
                      </a:cubicBezTo>
                      <a:cubicBezTo>
                        <a:pt x="405163" y="1644540"/>
                        <a:pt x="467075" y="1676817"/>
                        <a:pt x="461254" y="1680786"/>
                      </a:cubicBezTo>
                      <a:cubicBezTo>
                        <a:pt x="455433" y="1684755"/>
                        <a:pt x="367856" y="1653005"/>
                        <a:pt x="331079" y="1652211"/>
                      </a:cubicBezTo>
                      <a:cubicBezTo>
                        <a:pt x="294302" y="1651417"/>
                        <a:pt x="261046" y="1659884"/>
                        <a:pt x="240591" y="1676024"/>
                      </a:cubicBezTo>
                      <a:cubicBezTo>
                        <a:pt x="220136" y="1692164"/>
                        <a:pt x="209227" y="1711219"/>
                        <a:pt x="208345" y="1749054"/>
                      </a:cubicBezTo>
                      <a:cubicBezTo>
                        <a:pt x="212887" y="1792447"/>
                        <a:pt x="213206" y="1854484"/>
                        <a:pt x="235299" y="1903035"/>
                      </a:cubicBezTo>
                      <a:cubicBezTo>
                        <a:pt x="264756" y="1967770"/>
                        <a:pt x="300827" y="2043529"/>
                        <a:pt x="378173" y="2101473"/>
                      </a:cubicBezTo>
                      <a:cubicBezTo>
                        <a:pt x="455519" y="2159417"/>
                        <a:pt x="552004" y="2230059"/>
                        <a:pt x="699377" y="2250697"/>
                      </a:cubicBezTo>
                      <a:cubicBezTo>
                        <a:pt x="846750" y="2271335"/>
                        <a:pt x="1136646" y="2233147"/>
                        <a:pt x="1262411" y="2225298"/>
                      </a:cubicBezTo>
                      <a:lnTo>
                        <a:pt x="1372242" y="2219048"/>
                      </a:lnTo>
                      <a:lnTo>
                        <a:pt x="1305870" y="2199298"/>
                      </a:lnTo>
                      <a:cubicBezTo>
                        <a:pt x="1279379" y="2180612"/>
                        <a:pt x="1273860" y="2185402"/>
                        <a:pt x="1219489" y="2131093"/>
                      </a:cubicBezTo>
                      <a:cubicBezTo>
                        <a:pt x="1172365" y="2084023"/>
                        <a:pt x="1130465" y="1935135"/>
                        <a:pt x="1093610" y="1860701"/>
                      </a:cubicBezTo>
                      <a:cubicBezTo>
                        <a:pt x="1056755" y="1786267"/>
                        <a:pt x="1058151" y="1751095"/>
                        <a:pt x="998360" y="1684489"/>
                      </a:cubicBezTo>
                      <a:cubicBezTo>
                        <a:pt x="938569" y="1617883"/>
                        <a:pt x="782577" y="1496342"/>
                        <a:pt x="734864" y="1461065"/>
                      </a:cubicBezTo>
                      <a:lnTo>
                        <a:pt x="712081" y="1472825"/>
                      </a:lnTo>
                      <a:cubicBezTo>
                        <a:pt x="705819" y="1480057"/>
                        <a:pt x="692765" y="1466337"/>
                        <a:pt x="680859" y="1465279"/>
                      </a:cubicBezTo>
                      <a:cubicBezTo>
                        <a:pt x="668953" y="1464221"/>
                        <a:pt x="655549" y="1465415"/>
                        <a:pt x="640644" y="1466474"/>
                      </a:cubicBezTo>
                      <a:cubicBezTo>
                        <a:pt x="625739" y="1467533"/>
                        <a:pt x="612155" y="1480121"/>
                        <a:pt x="591429" y="1471632"/>
                      </a:cubicBezTo>
                      <a:cubicBezTo>
                        <a:pt x="578397" y="1476876"/>
                        <a:pt x="567930" y="1474479"/>
                        <a:pt x="552334" y="1487363"/>
                      </a:cubicBezTo>
                      <a:cubicBezTo>
                        <a:pt x="536738" y="1500247"/>
                        <a:pt x="510118" y="1519495"/>
                        <a:pt x="497850" y="1548937"/>
                      </a:cubicBezTo>
                      <a:cubicBezTo>
                        <a:pt x="485581" y="1578379"/>
                        <a:pt x="484523" y="1661082"/>
                        <a:pt x="478720" y="1664016"/>
                      </a:cubicBezTo>
                      <a:cubicBezTo>
                        <a:pt x="472916" y="1666949"/>
                        <a:pt x="464393" y="1604336"/>
                        <a:pt x="467710" y="1576167"/>
                      </a:cubicBezTo>
                      <a:cubicBezTo>
                        <a:pt x="471026" y="1547998"/>
                        <a:pt x="482482" y="1518208"/>
                        <a:pt x="498617" y="1495003"/>
                      </a:cubicBezTo>
                      <a:cubicBezTo>
                        <a:pt x="514753" y="1471799"/>
                        <a:pt x="548863" y="1440492"/>
                        <a:pt x="564523" y="1436940"/>
                      </a:cubicBezTo>
                      <a:cubicBezTo>
                        <a:pt x="554794" y="1404406"/>
                        <a:pt x="541524" y="1382621"/>
                        <a:pt x="535337" y="1339339"/>
                      </a:cubicBezTo>
                      <a:cubicBezTo>
                        <a:pt x="529150" y="1296057"/>
                        <a:pt x="526584" y="1240032"/>
                        <a:pt x="527400" y="1177249"/>
                      </a:cubicBezTo>
                      <a:lnTo>
                        <a:pt x="530804" y="1124461"/>
                      </a:lnTo>
                      <a:lnTo>
                        <a:pt x="527863" y="1122647"/>
                      </a:lnTo>
                      <a:cubicBezTo>
                        <a:pt x="505093" y="1102804"/>
                        <a:pt x="455633" y="1035732"/>
                        <a:pt x="423684" y="1021444"/>
                      </a:cubicBezTo>
                      <a:cubicBezTo>
                        <a:pt x="402385" y="1011919"/>
                        <a:pt x="378859" y="1006539"/>
                        <a:pt x="355024" y="1004643"/>
                      </a:cubicBezTo>
                      <a:close/>
                      <a:moveTo>
                        <a:pt x="845073" y="894417"/>
                      </a:moveTo>
                      <a:lnTo>
                        <a:pt x="817384" y="931881"/>
                      </a:lnTo>
                      <a:cubicBezTo>
                        <a:pt x="787662" y="992294"/>
                        <a:pt x="778842" y="1085427"/>
                        <a:pt x="768170" y="1167360"/>
                      </a:cubicBezTo>
                      <a:cubicBezTo>
                        <a:pt x="757498" y="1249293"/>
                        <a:pt x="757409" y="1376096"/>
                        <a:pt x="753354" y="1423477"/>
                      </a:cubicBezTo>
                      <a:cubicBezTo>
                        <a:pt x="749299" y="1470858"/>
                        <a:pt x="747660" y="1445201"/>
                        <a:pt x="743842" y="1451649"/>
                      </a:cubicBezTo>
                      <a:cubicBezTo>
                        <a:pt x="848790" y="1530850"/>
                        <a:pt x="981076" y="1596205"/>
                        <a:pt x="1058685" y="1689251"/>
                      </a:cubicBezTo>
                      <a:cubicBezTo>
                        <a:pt x="1136294" y="1782297"/>
                        <a:pt x="1164657" y="1938253"/>
                        <a:pt x="1209497" y="2009927"/>
                      </a:cubicBezTo>
                      <a:cubicBezTo>
                        <a:pt x="1254337" y="2081601"/>
                        <a:pt x="1262677" y="2087557"/>
                        <a:pt x="1327727" y="2119294"/>
                      </a:cubicBezTo>
                      <a:lnTo>
                        <a:pt x="1457648" y="2149650"/>
                      </a:lnTo>
                      <a:lnTo>
                        <a:pt x="1455193" y="2112222"/>
                      </a:lnTo>
                      <a:cubicBezTo>
                        <a:pt x="1451180" y="1993534"/>
                        <a:pt x="1468372" y="1811076"/>
                        <a:pt x="1428569" y="1667027"/>
                      </a:cubicBezTo>
                      <a:cubicBezTo>
                        <a:pt x="1388766" y="1522978"/>
                        <a:pt x="1263116" y="1349262"/>
                        <a:pt x="1216373" y="1247927"/>
                      </a:cubicBezTo>
                      <a:lnTo>
                        <a:pt x="1204720" y="1219703"/>
                      </a:lnTo>
                      <a:lnTo>
                        <a:pt x="1200946" y="1220857"/>
                      </a:lnTo>
                      <a:cubicBezTo>
                        <a:pt x="1188422" y="1230371"/>
                        <a:pt x="1167437" y="1245208"/>
                        <a:pt x="1158007" y="1267925"/>
                      </a:cubicBezTo>
                      <a:cubicBezTo>
                        <a:pt x="1148577" y="1290643"/>
                        <a:pt x="1148995" y="1354968"/>
                        <a:pt x="1144365" y="1357161"/>
                      </a:cubicBezTo>
                      <a:cubicBezTo>
                        <a:pt x="1139736" y="1359354"/>
                        <a:pt x="1131910" y="1310512"/>
                        <a:pt x="1134149" y="1288646"/>
                      </a:cubicBezTo>
                      <a:cubicBezTo>
                        <a:pt x="1136388" y="1266783"/>
                        <a:pt x="1144730" y="1243773"/>
                        <a:pt x="1157796" y="1225976"/>
                      </a:cubicBezTo>
                      <a:cubicBezTo>
                        <a:pt x="1164330" y="1217078"/>
                        <a:pt x="1174878" y="1206680"/>
                        <a:pt x="1185362" y="1198193"/>
                      </a:cubicBezTo>
                      <a:lnTo>
                        <a:pt x="1193758" y="1193150"/>
                      </a:lnTo>
                      <a:lnTo>
                        <a:pt x="1190489" y="1185234"/>
                      </a:lnTo>
                      <a:cubicBezTo>
                        <a:pt x="1172221" y="1133809"/>
                        <a:pt x="1172121" y="1110080"/>
                        <a:pt x="1148111" y="1059015"/>
                      </a:cubicBezTo>
                      <a:cubicBezTo>
                        <a:pt x="1116097" y="990929"/>
                        <a:pt x="1098193" y="963147"/>
                        <a:pt x="1043336" y="934660"/>
                      </a:cubicBezTo>
                      <a:cubicBezTo>
                        <a:pt x="1009050" y="916856"/>
                        <a:pt x="928325" y="905873"/>
                        <a:pt x="873636" y="898417"/>
                      </a:cubicBezTo>
                      <a:lnTo>
                        <a:pt x="845073" y="894417"/>
                      </a:lnTo>
                      <a:close/>
                      <a:moveTo>
                        <a:pt x="897846" y="1404"/>
                      </a:moveTo>
                      <a:cubicBezTo>
                        <a:pt x="942350" y="10024"/>
                        <a:pt x="958539" y="56111"/>
                        <a:pt x="962375" y="77939"/>
                      </a:cubicBezTo>
                      <a:cubicBezTo>
                        <a:pt x="967490" y="107043"/>
                        <a:pt x="950998" y="124065"/>
                        <a:pt x="874004" y="182185"/>
                      </a:cubicBezTo>
                      <a:cubicBezTo>
                        <a:pt x="797010" y="240305"/>
                        <a:pt x="575026" y="356281"/>
                        <a:pt x="500413" y="426660"/>
                      </a:cubicBezTo>
                      <a:cubicBezTo>
                        <a:pt x="425801" y="497039"/>
                        <a:pt x="439029" y="535668"/>
                        <a:pt x="426329" y="604460"/>
                      </a:cubicBezTo>
                      <a:cubicBezTo>
                        <a:pt x="413629" y="673252"/>
                        <a:pt x="407025" y="760473"/>
                        <a:pt x="424213" y="839410"/>
                      </a:cubicBezTo>
                      <a:cubicBezTo>
                        <a:pt x="441401" y="918347"/>
                        <a:pt x="501323" y="1014300"/>
                        <a:pt x="529459" y="1078081"/>
                      </a:cubicBezTo>
                      <a:cubicBezTo>
                        <a:pt x="542001" y="1051573"/>
                        <a:pt x="560376" y="984558"/>
                        <a:pt x="582963" y="933468"/>
                      </a:cubicBezTo>
                      <a:cubicBezTo>
                        <a:pt x="605550" y="882378"/>
                        <a:pt x="626796" y="826378"/>
                        <a:pt x="664984" y="771543"/>
                      </a:cubicBezTo>
                      <a:cubicBezTo>
                        <a:pt x="703172" y="716709"/>
                        <a:pt x="743477" y="652615"/>
                        <a:pt x="812092" y="604461"/>
                      </a:cubicBezTo>
                      <a:cubicBezTo>
                        <a:pt x="880707" y="556307"/>
                        <a:pt x="950469" y="529296"/>
                        <a:pt x="1016350" y="512781"/>
                      </a:cubicBezTo>
                      <a:cubicBezTo>
                        <a:pt x="1082231" y="496266"/>
                        <a:pt x="1174307" y="500257"/>
                        <a:pt x="1207380" y="505372"/>
                      </a:cubicBezTo>
                      <a:cubicBezTo>
                        <a:pt x="1240453" y="510487"/>
                        <a:pt x="1239218" y="536857"/>
                        <a:pt x="1214788" y="543472"/>
                      </a:cubicBezTo>
                      <a:cubicBezTo>
                        <a:pt x="1190358" y="550087"/>
                        <a:pt x="1130034" y="537828"/>
                        <a:pt x="1060800" y="545060"/>
                      </a:cubicBezTo>
                      <a:cubicBezTo>
                        <a:pt x="991566" y="552292"/>
                        <a:pt x="902316" y="587042"/>
                        <a:pt x="837493" y="634490"/>
                      </a:cubicBezTo>
                      <a:cubicBezTo>
                        <a:pt x="772670" y="681938"/>
                        <a:pt x="715872" y="755844"/>
                        <a:pt x="671863" y="829751"/>
                      </a:cubicBezTo>
                      <a:cubicBezTo>
                        <a:pt x="627854" y="903658"/>
                        <a:pt x="590458" y="993794"/>
                        <a:pt x="573437" y="1077932"/>
                      </a:cubicBezTo>
                      <a:cubicBezTo>
                        <a:pt x="556416" y="1162070"/>
                        <a:pt x="564707" y="1274252"/>
                        <a:pt x="569734" y="1334577"/>
                      </a:cubicBezTo>
                      <a:cubicBezTo>
                        <a:pt x="574761" y="1394902"/>
                        <a:pt x="580052" y="1423389"/>
                        <a:pt x="603600" y="1439881"/>
                      </a:cubicBezTo>
                      <a:cubicBezTo>
                        <a:pt x="627148" y="1456373"/>
                        <a:pt x="690914" y="1450112"/>
                        <a:pt x="711022" y="1433531"/>
                      </a:cubicBezTo>
                      <a:cubicBezTo>
                        <a:pt x="731130" y="1416950"/>
                        <a:pt x="720105" y="1387581"/>
                        <a:pt x="724250" y="1340397"/>
                      </a:cubicBezTo>
                      <a:cubicBezTo>
                        <a:pt x="728395" y="1293213"/>
                        <a:pt x="726014" y="1220981"/>
                        <a:pt x="735892" y="1150426"/>
                      </a:cubicBezTo>
                      <a:cubicBezTo>
                        <a:pt x="745770" y="1079871"/>
                        <a:pt x="752296" y="979594"/>
                        <a:pt x="783517" y="917064"/>
                      </a:cubicBezTo>
                      <a:cubicBezTo>
                        <a:pt x="814738" y="854534"/>
                        <a:pt x="867302" y="804439"/>
                        <a:pt x="923217" y="775247"/>
                      </a:cubicBezTo>
                      <a:cubicBezTo>
                        <a:pt x="979132" y="746055"/>
                        <a:pt x="1043162" y="733442"/>
                        <a:pt x="1099959" y="722859"/>
                      </a:cubicBezTo>
                      <a:cubicBezTo>
                        <a:pt x="1156756" y="712276"/>
                        <a:pt x="1238071" y="707249"/>
                        <a:pt x="1264000" y="711747"/>
                      </a:cubicBezTo>
                      <a:cubicBezTo>
                        <a:pt x="1289929" y="716245"/>
                        <a:pt x="1284197" y="741468"/>
                        <a:pt x="1255534" y="749847"/>
                      </a:cubicBezTo>
                      <a:cubicBezTo>
                        <a:pt x="1226871" y="758226"/>
                        <a:pt x="1130828" y="756022"/>
                        <a:pt x="1092022" y="762019"/>
                      </a:cubicBezTo>
                      <a:cubicBezTo>
                        <a:pt x="1053216" y="768016"/>
                        <a:pt x="983558" y="788019"/>
                        <a:pt x="946500" y="804881"/>
                      </a:cubicBezTo>
                      <a:cubicBezTo>
                        <a:pt x="909442" y="821743"/>
                        <a:pt x="891489" y="842694"/>
                        <a:pt x="869672" y="863189"/>
                      </a:cubicBezTo>
                      <a:cubicBezTo>
                        <a:pt x="881768" y="866352"/>
                        <a:pt x="885570" y="869320"/>
                        <a:pt x="905959" y="872677"/>
                      </a:cubicBezTo>
                      <a:cubicBezTo>
                        <a:pt x="926348" y="876034"/>
                        <a:pt x="943500" y="876540"/>
                        <a:pt x="992007" y="883331"/>
                      </a:cubicBezTo>
                      <a:cubicBezTo>
                        <a:pt x="1040514" y="890122"/>
                        <a:pt x="1068824" y="893210"/>
                        <a:pt x="1110011" y="928840"/>
                      </a:cubicBezTo>
                      <a:cubicBezTo>
                        <a:pt x="1151198" y="964470"/>
                        <a:pt x="1207465" y="1047549"/>
                        <a:pt x="1239127" y="1097114"/>
                      </a:cubicBezTo>
                      <a:cubicBezTo>
                        <a:pt x="1270789" y="1146679"/>
                        <a:pt x="1255885" y="1145181"/>
                        <a:pt x="1299982" y="1226232"/>
                      </a:cubicBezTo>
                      <a:cubicBezTo>
                        <a:pt x="1344079" y="1307283"/>
                        <a:pt x="1454058" y="1435870"/>
                        <a:pt x="1503711" y="1583419"/>
                      </a:cubicBezTo>
                      <a:cubicBezTo>
                        <a:pt x="1553364" y="1730968"/>
                        <a:pt x="1591817" y="1994934"/>
                        <a:pt x="1597902" y="2111527"/>
                      </a:cubicBezTo>
                      <a:cubicBezTo>
                        <a:pt x="1603987" y="2228120"/>
                        <a:pt x="1569152" y="2276627"/>
                        <a:pt x="1540224" y="2282977"/>
                      </a:cubicBezTo>
                      <a:lnTo>
                        <a:pt x="1484628" y="2314116"/>
                      </a:lnTo>
                      <a:cubicBezTo>
                        <a:pt x="1471211" y="2319832"/>
                        <a:pt x="1400605" y="2352990"/>
                        <a:pt x="1277756" y="2367644"/>
                      </a:cubicBezTo>
                      <a:cubicBezTo>
                        <a:pt x="1154907" y="2382298"/>
                        <a:pt x="894640" y="2422500"/>
                        <a:pt x="747532" y="2402039"/>
                      </a:cubicBezTo>
                      <a:cubicBezTo>
                        <a:pt x="600424" y="2381578"/>
                        <a:pt x="481978" y="2300350"/>
                        <a:pt x="395107" y="2244876"/>
                      </a:cubicBezTo>
                      <a:cubicBezTo>
                        <a:pt x="308236" y="2189402"/>
                        <a:pt x="265401" y="2127645"/>
                        <a:pt x="226303" y="2069194"/>
                      </a:cubicBezTo>
                      <a:cubicBezTo>
                        <a:pt x="187205" y="2010743"/>
                        <a:pt x="171931" y="1994051"/>
                        <a:pt x="160520" y="1894171"/>
                      </a:cubicBezTo>
                      <a:cubicBezTo>
                        <a:pt x="160116" y="1866794"/>
                        <a:pt x="156537" y="1832670"/>
                        <a:pt x="152959" y="1798547"/>
                      </a:cubicBezTo>
                      <a:lnTo>
                        <a:pt x="146943" y="1722472"/>
                      </a:lnTo>
                      <a:lnTo>
                        <a:pt x="138463" y="1715710"/>
                      </a:lnTo>
                      <a:cubicBezTo>
                        <a:pt x="108124" y="1680079"/>
                        <a:pt x="50268" y="1592943"/>
                        <a:pt x="28396" y="1512510"/>
                      </a:cubicBezTo>
                      <a:cubicBezTo>
                        <a:pt x="6524" y="1432077"/>
                        <a:pt x="-10145" y="1314602"/>
                        <a:pt x="7229" y="1233110"/>
                      </a:cubicBezTo>
                      <a:cubicBezTo>
                        <a:pt x="24603" y="1151618"/>
                        <a:pt x="101949" y="1098437"/>
                        <a:pt x="132641" y="1023560"/>
                      </a:cubicBezTo>
                      <a:cubicBezTo>
                        <a:pt x="163333" y="948683"/>
                        <a:pt x="180884" y="880861"/>
                        <a:pt x="191379" y="783847"/>
                      </a:cubicBezTo>
                      <a:cubicBezTo>
                        <a:pt x="201874" y="686833"/>
                        <a:pt x="196671" y="527466"/>
                        <a:pt x="195613" y="441477"/>
                      </a:cubicBezTo>
                      <a:cubicBezTo>
                        <a:pt x="194555" y="355488"/>
                        <a:pt x="193848" y="320121"/>
                        <a:pt x="185029" y="267910"/>
                      </a:cubicBezTo>
                      <a:cubicBezTo>
                        <a:pt x="176210" y="215699"/>
                        <a:pt x="125410" y="161371"/>
                        <a:pt x="142696" y="128210"/>
                      </a:cubicBezTo>
                      <a:cubicBezTo>
                        <a:pt x="159982" y="95049"/>
                        <a:pt x="262288" y="57655"/>
                        <a:pt x="297213" y="73177"/>
                      </a:cubicBezTo>
                      <a:cubicBezTo>
                        <a:pt x="332138" y="88699"/>
                        <a:pt x="328257" y="189594"/>
                        <a:pt x="352246" y="221344"/>
                      </a:cubicBezTo>
                      <a:cubicBezTo>
                        <a:pt x="376235" y="253094"/>
                        <a:pt x="359302" y="299308"/>
                        <a:pt x="441146" y="263677"/>
                      </a:cubicBezTo>
                      <a:cubicBezTo>
                        <a:pt x="522990" y="228046"/>
                        <a:pt x="756442" y="38516"/>
                        <a:pt x="843313" y="7560"/>
                      </a:cubicBezTo>
                      <a:cubicBezTo>
                        <a:pt x="865031" y="-179"/>
                        <a:pt x="883012" y="-1469"/>
                        <a:pt x="897846" y="1404"/>
                      </a:cubicBezTo>
                      <a:close/>
                    </a:path>
                  </a:pathLst>
                </a:custGeom>
                <a:solidFill>
                  <a:srgbClr val="EF614B"/>
                </a:solidFill>
                <a:ln>
                  <a:solidFill>
                    <a:srgbClr val="EF614B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x-none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</p:grpSp>
        <p:pic>
          <p:nvPicPr>
            <p:cNvPr id="30" name="Graphic 29" descr="Warning">
              <a:extLst>
                <a:ext uri="{FF2B5EF4-FFF2-40B4-BE49-F238E27FC236}">
                  <a16:creationId xmlns:a16="http://schemas.microsoft.com/office/drawing/2014/main" id="{E505F564-0BF0-4F6E-BEE4-F61568CDB4D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1008994" y="3825117"/>
              <a:ext cx="436036" cy="436036"/>
            </a:xfrm>
            <a:prstGeom prst="rect">
              <a:avLst/>
            </a:prstGeom>
          </p:spPr>
        </p:pic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7A4C5316-2A10-4BEA-8F03-C83DDD0EDC65}"/>
              </a:ext>
            </a:extLst>
          </p:cNvPr>
          <p:cNvGrpSpPr/>
          <p:nvPr/>
        </p:nvGrpSpPr>
        <p:grpSpPr>
          <a:xfrm>
            <a:off x="900580" y="2199069"/>
            <a:ext cx="10606137" cy="2279470"/>
            <a:chOff x="1849407" y="2644568"/>
            <a:chExt cx="8497677" cy="1826321"/>
          </a:xfrm>
        </p:grpSpPr>
        <p:pic>
          <p:nvPicPr>
            <p:cNvPr id="32" name="Picture 3">
              <a:extLst>
                <a:ext uri="{FF2B5EF4-FFF2-40B4-BE49-F238E27FC236}">
                  <a16:creationId xmlns:a16="http://schemas.microsoft.com/office/drawing/2014/main" id="{96EDB431-7442-4A31-95B5-B46725101DF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978027" y="3445619"/>
              <a:ext cx="1248156" cy="9103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blipFill dpi="0" rotWithShape="0">
                    <a:blip/>
                    <a:srcRect/>
                    <a:stretch>
                      <a:fillRect/>
                    </a:stretch>
                  </a:blip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pic>
          <p:nvPicPr>
            <p:cNvPr id="33" name="Picture 3">
              <a:extLst>
                <a:ext uri="{FF2B5EF4-FFF2-40B4-BE49-F238E27FC236}">
                  <a16:creationId xmlns:a16="http://schemas.microsoft.com/office/drawing/2014/main" id="{65E17485-115E-4AF1-92BD-2D06EC68018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3158539" y="3445618"/>
              <a:ext cx="1309879" cy="10252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blipFill dpi="0" rotWithShape="0">
                    <a:blip/>
                    <a:srcRect/>
                    <a:stretch>
                      <a:fillRect/>
                    </a:stretch>
                  </a:blip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pic>
          <p:nvPicPr>
            <p:cNvPr id="34" name="Picture 3">
              <a:extLst>
                <a:ext uri="{FF2B5EF4-FFF2-40B4-BE49-F238E27FC236}">
                  <a16:creationId xmlns:a16="http://schemas.microsoft.com/office/drawing/2014/main" id="{B92900EC-3A2B-41EA-95F7-D685135BA9D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7046128" y="3431033"/>
              <a:ext cx="1014353" cy="8958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blipFill dpi="0" rotWithShape="0">
                    <a:blip/>
                    <a:srcRect/>
                    <a:stretch>
                      <a:fillRect/>
                    </a:stretch>
                  </a:blip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8FB00204-37E7-487A-A680-5BA5E84D7ED1}"/>
                </a:ext>
              </a:extLst>
            </p:cNvPr>
            <p:cNvSpPr txBox="1"/>
            <p:nvPr/>
          </p:nvSpPr>
          <p:spPr>
            <a:xfrm>
              <a:off x="1849407" y="2851819"/>
              <a:ext cx="1103568" cy="1479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456371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200" b="1" i="0" u="none" strike="noStrike" kern="1200" cap="none" spc="0" normalizeH="0" baseline="0" noProof="0">
                  <a:ln>
                    <a:noFill/>
                  </a:ln>
                  <a:solidFill>
                    <a:srgbClr val="212121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Verdana" panose="020B0604030504040204" pitchFamily="34" charset="0"/>
                </a:rPr>
                <a:t>Здоровая артерия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AEBFD9CB-A6C3-4639-AF3D-371D02891A01}"/>
                </a:ext>
              </a:extLst>
            </p:cNvPr>
            <p:cNvSpPr txBox="1"/>
            <p:nvPr/>
          </p:nvSpPr>
          <p:spPr>
            <a:xfrm>
              <a:off x="2741683" y="2851819"/>
              <a:ext cx="1759313" cy="29591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456371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212121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Verdana" panose="020B0604030504040204" pitchFamily="34" charset="0"/>
                </a:rPr>
                <a:t> Эндотелиальная дисфункция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A2EA0717-E92D-4791-9313-4B76F6C8E1B1}"/>
                </a:ext>
              </a:extLst>
            </p:cNvPr>
            <p:cNvSpPr txBox="1"/>
            <p:nvPr/>
          </p:nvSpPr>
          <p:spPr>
            <a:xfrm>
              <a:off x="4705920" y="2851819"/>
              <a:ext cx="1662368" cy="12576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685632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200" b="1" i="0" u="none" strike="noStrike" kern="1200" cap="none" spc="0" normalizeH="0" baseline="0" noProof="0">
                  <a:ln>
                    <a:noFill/>
                  </a:ln>
                  <a:solidFill>
                    <a:srgbClr val="212121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Verdana" panose="020B0604030504040204" pitchFamily="34" charset="0"/>
                </a:rPr>
                <a:t>Ремоделирование сосудов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FA0066AC-4BB2-42DF-9AA4-E65E66FFC906}"/>
                </a:ext>
              </a:extLst>
            </p:cNvPr>
            <p:cNvSpPr txBox="1"/>
            <p:nvPr/>
          </p:nvSpPr>
          <p:spPr>
            <a:xfrm>
              <a:off x="6744636" y="2851819"/>
              <a:ext cx="1397855" cy="50304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685632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212121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Verdana" panose="020B0604030504040204" pitchFamily="34" charset="0"/>
                </a:rPr>
                <a:t>Плексиформное изменение и тромбоз in situ </a:t>
              </a:r>
              <a:b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212121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Verdana" panose="020B0604030504040204" pitchFamily="34" charset="0"/>
                </a:rPr>
              </a:br>
              <a:endPara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DDFB6AD1-9646-4287-9213-685B0BB61FD0}"/>
                </a:ext>
              </a:extLst>
            </p:cNvPr>
            <p:cNvSpPr txBox="1"/>
            <p:nvPr/>
          </p:nvSpPr>
          <p:spPr>
            <a:xfrm>
              <a:off x="8274625" y="2851819"/>
              <a:ext cx="2072459" cy="25152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685632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212121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Verdana" panose="020B0604030504040204" pitchFamily="34" charset="0"/>
                </a:rPr>
                <a:t>Правожелудочковая сердечная недостаточность</a:t>
              </a:r>
            </a:p>
          </p:txBody>
        </p:sp>
        <p:cxnSp>
          <p:nvCxnSpPr>
            <p:cNvPr id="40" name="Straight Arrow Connector 39">
              <a:extLst>
                <a:ext uri="{FF2B5EF4-FFF2-40B4-BE49-F238E27FC236}">
                  <a16:creationId xmlns:a16="http://schemas.microsoft.com/office/drawing/2014/main" id="{C76699BE-EBAA-469B-8DAB-BA0CAD24EC2B}"/>
                </a:ext>
              </a:extLst>
            </p:cNvPr>
            <p:cNvCxnSpPr>
              <a:cxnSpLocks/>
            </p:cNvCxnSpPr>
            <p:nvPr/>
          </p:nvCxnSpPr>
          <p:spPr>
            <a:xfrm>
              <a:off x="3095683" y="2644568"/>
              <a:ext cx="7078904" cy="1993"/>
            </a:xfrm>
            <a:prstGeom prst="straightConnector1">
              <a:avLst/>
            </a:prstGeom>
            <a:noFill/>
            <a:ln w="22225" cap="flat" cmpd="sng" algn="ctr">
              <a:solidFill>
                <a:srgbClr val="1C75BC"/>
              </a:solidFill>
              <a:prstDash val="solid"/>
              <a:tailEnd type="arrow"/>
            </a:ln>
            <a:effectLst/>
          </p:spPr>
        </p:cxnSp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B7DEFA73-D53E-4584-B32F-1E0CC950B2E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5713103" y="3445618"/>
              <a:ext cx="1002991" cy="89039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blipFill dpi="0" rotWithShape="0">
                    <a:blip/>
                    <a:srcRect/>
                    <a:stretch>
                      <a:fillRect/>
                    </a:stretch>
                  </a:blip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A960E80C-4A21-40EA-9F40-C23C97B08B1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4602494" y="3445618"/>
              <a:ext cx="995713" cy="8839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blipFill dpi="0" rotWithShape="0">
                    <a:blip/>
                    <a:srcRect/>
                    <a:stretch>
                      <a:fillRect/>
                    </a:stretch>
                  </a:blip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5221623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BB52EE1D-8260-944E-9F04-4043E79AF27E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noFill/>
          </a:ln>
        </p:spPr>
        <p:txBody>
          <a:bodyPr rtlCol="0">
            <a:noAutofit/>
          </a:bodyPr>
          <a:lstStyle/>
          <a:p>
            <a:pPr rtl="0"/>
            <a:r>
              <a:rPr lang="ru" sz="2400" dirty="0"/>
              <a:t>Изменение сердечной и легочной функции предшествует развитию явных симптомов и постановке диагноза ЛАГ</a:t>
            </a:r>
            <a:endParaRPr lang="en-GB" sz="2400" baseline="300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38B832-DAA1-4279-B9E3-E981CBB5959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rtlCol="0"/>
          <a:lstStyle/>
          <a:p>
            <a:pPr rtl="0"/>
            <a:r>
              <a:rPr lang="ru" dirty="0">
                <a:ea typeface="Verdana" panose="020B0604030504040204" pitchFamily="34" charset="0"/>
                <a:cs typeface="Arial" pitchFamily="34" charset="0"/>
              </a:rPr>
              <a:t>ФК — функциональный класс, срДЛА — среднее давление в легочной артерии, ЛСС — легочное сосудистое сопротивление, ПЖ — правый желудочек, </a:t>
            </a:r>
            <a:br>
              <a:rPr lang="ru" dirty="0">
                <a:ea typeface="Verdana" panose="020B0604030504040204" pitchFamily="34" charset="0"/>
                <a:cs typeface="Arial" pitchFamily="34" charset="0"/>
              </a:rPr>
            </a:br>
            <a:r>
              <a:rPr lang="ru" dirty="0">
                <a:ea typeface="Verdana" panose="020B0604030504040204" pitchFamily="34" charset="0"/>
                <a:cs typeface="Arial" pitchFamily="34" charset="0"/>
              </a:rPr>
              <a:t>ВОЗ — Всемирная организация здравоохранения.</a:t>
            </a:r>
          </a:p>
          <a:p>
            <a:r>
              <a:rPr lang="en-GB" dirty="0">
                <a:ea typeface="Verdana" panose="020B0604030504040204" pitchFamily="34" charset="0"/>
                <a:cs typeface="Arial" pitchFamily="34" charset="0"/>
              </a:rPr>
              <a:t>Austin ED, </a:t>
            </a:r>
            <a:r>
              <a:rPr lang="en-GB" i="1" dirty="0">
                <a:ea typeface="Verdana" panose="020B0604030504040204" pitchFamily="34" charset="0"/>
                <a:cs typeface="Arial" pitchFamily="34" charset="0"/>
              </a:rPr>
              <a:t>et al. Ann Am Thorac Soc </a:t>
            </a:r>
            <a:r>
              <a:rPr lang="en-GB" dirty="0">
                <a:ea typeface="Verdana" panose="020B0604030504040204" pitchFamily="34" charset="0"/>
                <a:cs typeface="Arial" pitchFamily="34" charset="0"/>
              </a:rPr>
              <a:t>2014; 11:S178-85.</a:t>
            </a:r>
            <a:endParaRPr lang="en-GB" dirty="0"/>
          </a:p>
          <a:p>
            <a:pPr rtl="0"/>
            <a:endParaRPr lang="ru" dirty="0">
              <a:ea typeface="Verdana" panose="020B0604030504040204" pitchFamily="34" charset="0"/>
              <a:cs typeface="Arial" pitchFamily="34" charset="0"/>
            </a:endParaRPr>
          </a:p>
          <a:p>
            <a:pPr rtl="0"/>
            <a:r>
              <a:rPr lang="ru" i="1" dirty="0">
                <a:ea typeface="Verdana" panose="020B0604030504040204" pitchFamily="34" charset="0"/>
                <a:cs typeface="Arial" pitchFamily="34" charset="0"/>
              </a:rPr>
              <a:t> </a:t>
            </a:r>
            <a:endParaRPr lang="en-GB" dirty="0"/>
          </a:p>
        </p:txBody>
      </p:sp>
      <p:sp>
        <p:nvSpPr>
          <p:cNvPr id="43" name="Freeform 69">
            <a:extLst>
              <a:ext uri="{FF2B5EF4-FFF2-40B4-BE49-F238E27FC236}">
                <a16:creationId xmlns:a16="http://schemas.microsoft.com/office/drawing/2014/main" id="{AC217B72-D8F8-40BF-81D7-9407968376D4}"/>
              </a:ext>
            </a:extLst>
          </p:cNvPr>
          <p:cNvSpPr/>
          <p:nvPr/>
        </p:nvSpPr>
        <p:spPr>
          <a:xfrm>
            <a:off x="6013054" y="4729228"/>
            <a:ext cx="662045" cy="152551"/>
          </a:xfrm>
          <a:custGeom>
            <a:avLst/>
            <a:gdLst>
              <a:gd name="connsiteX0" fmla="*/ 0 w 471488"/>
              <a:gd name="connsiteY0" fmla="*/ 133350 h 135641"/>
              <a:gd name="connsiteX1" fmla="*/ 147638 w 471488"/>
              <a:gd name="connsiteY1" fmla="*/ 133350 h 135641"/>
              <a:gd name="connsiteX2" fmla="*/ 261938 w 471488"/>
              <a:gd name="connsiteY2" fmla="*/ 109538 h 135641"/>
              <a:gd name="connsiteX3" fmla="*/ 471488 w 471488"/>
              <a:gd name="connsiteY3" fmla="*/ 0 h 1356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1488" h="135641">
                <a:moveTo>
                  <a:pt x="0" y="133350"/>
                </a:moveTo>
                <a:cubicBezTo>
                  <a:pt x="51991" y="135334"/>
                  <a:pt x="103982" y="137319"/>
                  <a:pt x="147638" y="133350"/>
                </a:cubicBezTo>
                <a:cubicBezTo>
                  <a:pt x="191294" y="129381"/>
                  <a:pt x="207963" y="131763"/>
                  <a:pt x="261938" y="109538"/>
                </a:cubicBezTo>
                <a:cubicBezTo>
                  <a:pt x="315913" y="87313"/>
                  <a:pt x="393700" y="43656"/>
                  <a:pt x="471488" y="0"/>
                </a:cubicBezTo>
              </a:path>
            </a:pathLst>
          </a:custGeom>
          <a:noFill/>
          <a:ln w="57150" cap="flat" cmpd="sng" algn="ctr">
            <a:solidFill>
              <a:srgbClr val="7E2E78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896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764" b="0" i="0" u="none" strike="noStrike" kern="0" cap="none" spc="0" normalizeH="0" baseline="0" noProof="0" dirty="0">
              <a:ln>
                <a:noFill/>
              </a:ln>
              <a:solidFill>
                <a:srgbClr val="212121"/>
              </a:solidFill>
              <a:effectLst/>
              <a:uLnTx/>
              <a:uFillTx/>
              <a:latin typeface="Arial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2AD0E480-AB24-45D0-A5F6-EF913B951740}"/>
              </a:ext>
            </a:extLst>
          </p:cNvPr>
          <p:cNvCxnSpPr>
            <a:cxnSpLocks/>
          </p:cNvCxnSpPr>
          <p:nvPr/>
        </p:nvCxnSpPr>
        <p:spPr>
          <a:xfrm>
            <a:off x="3130953" y="3920313"/>
            <a:ext cx="4645457" cy="0"/>
          </a:xfrm>
          <a:prstGeom prst="line">
            <a:avLst/>
          </a:prstGeom>
          <a:noFill/>
          <a:ln w="57150" cap="flat" cmpd="sng" algn="ctr">
            <a:solidFill>
              <a:srgbClr val="003479"/>
            </a:solidFill>
            <a:prstDash val="solid"/>
          </a:ln>
          <a:effectLst/>
        </p:spPr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76596FC8-35D4-4809-BCF9-6B0BE61DA5CE}"/>
              </a:ext>
            </a:extLst>
          </p:cNvPr>
          <p:cNvCxnSpPr/>
          <p:nvPr/>
        </p:nvCxnSpPr>
        <p:spPr>
          <a:xfrm>
            <a:off x="8205301" y="3959352"/>
            <a:ext cx="1622790" cy="485631"/>
          </a:xfrm>
          <a:prstGeom prst="straightConnector1">
            <a:avLst/>
          </a:prstGeom>
          <a:noFill/>
          <a:ln w="57150" cap="flat" cmpd="sng" algn="ctr">
            <a:solidFill>
              <a:srgbClr val="003479"/>
            </a:solidFill>
            <a:prstDash val="solid"/>
            <a:headEnd type="none" w="med" len="med"/>
            <a:tailEnd type="arrow" w="med" len="med"/>
          </a:ln>
          <a:effectLst/>
        </p:spPr>
      </p:cxnSp>
      <p:grpSp>
        <p:nvGrpSpPr>
          <p:cNvPr id="46" name="Group 45">
            <a:extLst>
              <a:ext uri="{FF2B5EF4-FFF2-40B4-BE49-F238E27FC236}">
                <a16:creationId xmlns:a16="http://schemas.microsoft.com/office/drawing/2014/main" id="{39A67F75-1D2A-450E-BD60-11706BCBBFCC}"/>
              </a:ext>
            </a:extLst>
          </p:cNvPr>
          <p:cNvGrpSpPr/>
          <p:nvPr/>
        </p:nvGrpSpPr>
        <p:grpSpPr>
          <a:xfrm>
            <a:off x="3148059" y="2574063"/>
            <a:ext cx="6661617" cy="2474756"/>
            <a:chOff x="3079750" y="3009799"/>
            <a:chExt cx="4744196" cy="2200436"/>
          </a:xfrm>
        </p:grpSpPr>
        <p:sp>
          <p:nvSpPr>
            <p:cNvPr id="89" name="Freeform 33">
              <a:extLst>
                <a:ext uri="{FF2B5EF4-FFF2-40B4-BE49-F238E27FC236}">
                  <a16:creationId xmlns:a16="http://schemas.microsoft.com/office/drawing/2014/main" id="{5F96EBCB-0B61-4C54-9D3B-E42BDC555AD8}"/>
                </a:ext>
              </a:extLst>
            </p:cNvPr>
            <p:cNvSpPr/>
            <p:nvPr/>
          </p:nvSpPr>
          <p:spPr>
            <a:xfrm>
              <a:off x="3079750" y="3009799"/>
              <a:ext cx="1479550" cy="387451"/>
            </a:xfrm>
            <a:custGeom>
              <a:avLst/>
              <a:gdLst>
                <a:gd name="connsiteX0" fmla="*/ 0 w 1479550"/>
                <a:gd name="connsiteY0" fmla="*/ 38201 h 387451"/>
                <a:gd name="connsiteX1" fmla="*/ 209550 w 1479550"/>
                <a:gd name="connsiteY1" fmla="*/ 12801 h 387451"/>
                <a:gd name="connsiteX2" fmla="*/ 387350 w 1479550"/>
                <a:gd name="connsiteY2" fmla="*/ 101 h 387451"/>
                <a:gd name="connsiteX3" fmla="*/ 590550 w 1479550"/>
                <a:gd name="connsiteY3" fmla="*/ 19151 h 387451"/>
                <a:gd name="connsiteX4" fmla="*/ 692150 w 1479550"/>
                <a:gd name="connsiteY4" fmla="*/ 25501 h 387451"/>
                <a:gd name="connsiteX5" fmla="*/ 876300 w 1479550"/>
                <a:gd name="connsiteY5" fmla="*/ 57251 h 387451"/>
                <a:gd name="connsiteX6" fmla="*/ 1073150 w 1479550"/>
                <a:gd name="connsiteY6" fmla="*/ 133451 h 387451"/>
                <a:gd name="connsiteX7" fmla="*/ 1257300 w 1479550"/>
                <a:gd name="connsiteY7" fmla="*/ 235051 h 387451"/>
                <a:gd name="connsiteX8" fmla="*/ 1479550 w 1479550"/>
                <a:gd name="connsiteY8" fmla="*/ 387451 h 387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79550" h="387451">
                  <a:moveTo>
                    <a:pt x="0" y="38201"/>
                  </a:moveTo>
                  <a:cubicBezTo>
                    <a:pt x="72496" y="28676"/>
                    <a:pt x="144992" y="19151"/>
                    <a:pt x="209550" y="12801"/>
                  </a:cubicBezTo>
                  <a:cubicBezTo>
                    <a:pt x="274108" y="6451"/>
                    <a:pt x="323850" y="-957"/>
                    <a:pt x="387350" y="101"/>
                  </a:cubicBezTo>
                  <a:cubicBezTo>
                    <a:pt x="450850" y="1159"/>
                    <a:pt x="539750" y="14918"/>
                    <a:pt x="590550" y="19151"/>
                  </a:cubicBezTo>
                  <a:cubicBezTo>
                    <a:pt x="641350" y="23384"/>
                    <a:pt x="644525" y="19151"/>
                    <a:pt x="692150" y="25501"/>
                  </a:cubicBezTo>
                  <a:cubicBezTo>
                    <a:pt x="739775" y="31851"/>
                    <a:pt x="812800" y="39259"/>
                    <a:pt x="876300" y="57251"/>
                  </a:cubicBezTo>
                  <a:cubicBezTo>
                    <a:pt x="939800" y="75243"/>
                    <a:pt x="1009650" y="103818"/>
                    <a:pt x="1073150" y="133451"/>
                  </a:cubicBezTo>
                  <a:cubicBezTo>
                    <a:pt x="1136650" y="163084"/>
                    <a:pt x="1189567" y="192718"/>
                    <a:pt x="1257300" y="235051"/>
                  </a:cubicBezTo>
                  <a:cubicBezTo>
                    <a:pt x="1325033" y="277384"/>
                    <a:pt x="1402291" y="332417"/>
                    <a:pt x="1479550" y="387451"/>
                  </a:cubicBezTo>
                </a:path>
              </a:pathLst>
            </a:custGeom>
            <a:noFill/>
            <a:ln w="57150" cap="flat" cmpd="sng" algn="ctr">
              <a:solidFill>
                <a:srgbClr val="00A0D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96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764" b="0" i="0" u="none" strike="noStrike" kern="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cxnSp>
          <p:nvCxnSpPr>
            <p:cNvPr id="93" name="Straight Arrow Connector 92">
              <a:extLst>
                <a:ext uri="{FF2B5EF4-FFF2-40B4-BE49-F238E27FC236}">
                  <a16:creationId xmlns:a16="http://schemas.microsoft.com/office/drawing/2014/main" id="{EA541D11-479F-4A51-976D-4A34EA9EAEF5}"/>
                </a:ext>
              </a:extLst>
            </p:cNvPr>
            <p:cNvCxnSpPr>
              <a:cxnSpLocks/>
              <a:stCxn id="89" idx="8"/>
            </p:cNvCxnSpPr>
            <p:nvPr/>
          </p:nvCxnSpPr>
          <p:spPr>
            <a:xfrm>
              <a:off x="4559300" y="3397250"/>
              <a:ext cx="2144175" cy="1593229"/>
            </a:xfrm>
            <a:prstGeom prst="straightConnector1">
              <a:avLst/>
            </a:prstGeom>
            <a:noFill/>
            <a:ln w="57150" cap="flat" cmpd="sng" algn="ctr">
              <a:solidFill>
                <a:srgbClr val="00A0DF"/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sp>
          <p:nvSpPr>
            <p:cNvPr id="94" name="Freeform 42">
              <a:extLst>
                <a:ext uri="{FF2B5EF4-FFF2-40B4-BE49-F238E27FC236}">
                  <a16:creationId xmlns:a16="http://schemas.microsoft.com/office/drawing/2014/main" id="{FEACE156-BA46-4289-910B-A22A5A2D258B}"/>
                </a:ext>
              </a:extLst>
            </p:cNvPr>
            <p:cNvSpPr/>
            <p:nvPr/>
          </p:nvSpPr>
          <p:spPr>
            <a:xfrm>
              <a:off x="6623796" y="4935129"/>
              <a:ext cx="1200150" cy="275106"/>
            </a:xfrm>
            <a:custGeom>
              <a:avLst/>
              <a:gdLst>
                <a:gd name="connsiteX0" fmla="*/ 0 w 1085850"/>
                <a:gd name="connsiteY0" fmla="*/ 0 h 275106"/>
                <a:gd name="connsiteX1" fmla="*/ 203200 w 1085850"/>
                <a:gd name="connsiteY1" fmla="*/ 133350 h 275106"/>
                <a:gd name="connsiteX2" fmla="*/ 444500 w 1085850"/>
                <a:gd name="connsiteY2" fmla="*/ 222250 h 275106"/>
                <a:gd name="connsiteX3" fmla="*/ 831850 w 1085850"/>
                <a:gd name="connsiteY3" fmla="*/ 273050 h 275106"/>
                <a:gd name="connsiteX4" fmla="*/ 1085850 w 1085850"/>
                <a:gd name="connsiteY4" fmla="*/ 260350 h 275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85850" h="275106">
                  <a:moveTo>
                    <a:pt x="0" y="0"/>
                  </a:moveTo>
                  <a:cubicBezTo>
                    <a:pt x="64558" y="48154"/>
                    <a:pt x="129117" y="96308"/>
                    <a:pt x="203200" y="133350"/>
                  </a:cubicBezTo>
                  <a:cubicBezTo>
                    <a:pt x="277283" y="170392"/>
                    <a:pt x="339725" y="198967"/>
                    <a:pt x="444500" y="222250"/>
                  </a:cubicBezTo>
                  <a:cubicBezTo>
                    <a:pt x="549275" y="245533"/>
                    <a:pt x="724958" y="266700"/>
                    <a:pt x="831850" y="273050"/>
                  </a:cubicBezTo>
                  <a:cubicBezTo>
                    <a:pt x="938742" y="279400"/>
                    <a:pt x="1012296" y="269875"/>
                    <a:pt x="1085850" y="260350"/>
                  </a:cubicBezTo>
                </a:path>
              </a:pathLst>
            </a:custGeom>
            <a:noFill/>
            <a:ln w="57150" cap="flat" cmpd="sng" algn="ctr">
              <a:solidFill>
                <a:srgbClr val="00A0DF"/>
              </a:solidFill>
              <a:prstDash val="solid"/>
              <a:headEnd type="none" w="med" len="med"/>
              <a:tailEnd type="arrow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896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764" b="0" i="0" u="none" strike="noStrike" kern="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47" name="Freeform 46">
            <a:extLst>
              <a:ext uri="{FF2B5EF4-FFF2-40B4-BE49-F238E27FC236}">
                <a16:creationId xmlns:a16="http://schemas.microsoft.com/office/drawing/2014/main" id="{3647928D-DCF1-4391-8542-BE716F772561}"/>
              </a:ext>
            </a:extLst>
          </p:cNvPr>
          <p:cNvSpPr/>
          <p:nvPr/>
        </p:nvSpPr>
        <p:spPr>
          <a:xfrm>
            <a:off x="7776412" y="3916736"/>
            <a:ext cx="436904" cy="46972"/>
          </a:xfrm>
          <a:custGeom>
            <a:avLst/>
            <a:gdLst>
              <a:gd name="connsiteX0" fmla="*/ 0 w 311150"/>
              <a:gd name="connsiteY0" fmla="*/ 3666 h 41766"/>
              <a:gd name="connsiteX1" fmla="*/ 171450 w 311150"/>
              <a:gd name="connsiteY1" fmla="*/ 3666 h 41766"/>
              <a:gd name="connsiteX2" fmla="*/ 311150 w 311150"/>
              <a:gd name="connsiteY2" fmla="*/ 41766 h 417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1150" h="41766">
                <a:moveTo>
                  <a:pt x="0" y="3666"/>
                </a:moveTo>
                <a:cubicBezTo>
                  <a:pt x="59796" y="491"/>
                  <a:pt x="119592" y="-2684"/>
                  <a:pt x="171450" y="3666"/>
                </a:cubicBezTo>
                <a:cubicBezTo>
                  <a:pt x="223308" y="10016"/>
                  <a:pt x="267229" y="25891"/>
                  <a:pt x="311150" y="41766"/>
                </a:cubicBezTo>
              </a:path>
            </a:pathLst>
          </a:custGeom>
          <a:solidFill>
            <a:srgbClr val="003479"/>
          </a:solidFill>
          <a:ln w="57150" cap="flat" cmpd="sng" algn="ctr">
            <a:solidFill>
              <a:srgbClr val="003479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896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764" b="0" i="0" u="none" strike="noStrike" kern="0" cap="none" spc="0" normalizeH="0" baseline="0" noProof="0" dirty="0">
              <a:ln>
                <a:noFill/>
              </a:ln>
              <a:solidFill>
                <a:srgbClr val="212121"/>
              </a:solidFill>
              <a:effectLst/>
              <a:uLnTx/>
              <a:uFillTx/>
              <a:latin typeface="Arial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1C75AC5A-9A12-4D12-9A95-64FE7A77D1CC}"/>
              </a:ext>
            </a:extLst>
          </p:cNvPr>
          <p:cNvCxnSpPr>
            <a:cxnSpLocks/>
            <a:endCxn id="49" idx="0"/>
          </p:cNvCxnSpPr>
          <p:nvPr/>
        </p:nvCxnSpPr>
        <p:spPr>
          <a:xfrm>
            <a:off x="3156976" y="4746061"/>
            <a:ext cx="2868860" cy="0"/>
          </a:xfrm>
          <a:prstGeom prst="line">
            <a:avLst/>
          </a:prstGeom>
          <a:noFill/>
          <a:ln w="57150" cap="flat" cmpd="sng" algn="ctr">
            <a:solidFill>
              <a:srgbClr val="7E2E78">
                <a:lumMod val="60000"/>
                <a:lumOff val="40000"/>
              </a:srgbClr>
            </a:solidFill>
            <a:prstDash val="solid"/>
          </a:ln>
          <a:effectLst/>
        </p:spPr>
      </p:cxnSp>
      <p:sp>
        <p:nvSpPr>
          <p:cNvPr id="49" name="Freeform 61">
            <a:extLst>
              <a:ext uri="{FF2B5EF4-FFF2-40B4-BE49-F238E27FC236}">
                <a16:creationId xmlns:a16="http://schemas.microsoft.com/office/drawing/2014/main" id="{DB430986-058A-44DC-A8E2-DEF3AC23C67C}"/>
              </a:ext>
            </a:extLst>
          </p:cNvPr>
          <p:cNvSpPr/>
          <p:nvPr/>
        </p:nvSpPr>
        <p:spPr>
          <a:xfrm>
            <a:off x="6025838" y="4553239"/>
            <a:ext cx="715541" cy="195401"/>
          </a:xfrm>
          <a:custGeom>
            <a:avLst/>
            <a:gdLst>
              <a:gd name="connsiteX0" fmla="*/ 0 w 509587"/>
              <a:gd name="connsiteY0" fmla="*/ 171450 h 173741"/>
              <a:gd name="connsiteX1" fmla="*/ 138112 w 509587"/>
              <a:gd name="connsiteY1" fmla="*/ 171450 h 173741"/>
              <a:gd name="connsiteX2" fmla="*/ 238125 w 509587"/>
              <a:gd name="connsiteY2" fmla="*/ 147637 h 173741"/>
              <a:gd name="connsiteX3" fmla="*/ 395287 w 509587"/>
              <a:gd name="connsiteY3" fmla="*/ 71437 h 173741"/>
              <a:gd name="connsiteX4" fmla="*/ 509587 w 509587"/>
              <a:gd name="connsiteY4" fmla="*/ 0 h 1737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9587" h="173741">
                <a:moveTo>
                  <a:pt x="0" y="171450"/>
                </a:moveTo>
                <a:cubicBezTo>
                  <a:pt x="49212" y="173434"/>
                  <a:pt x="98424" y="175419"/>
                  <a:pt x="138112" y="171450"/>
                </a:cubicBezTo>
                <a:cubicBezTo>
                  <a:pt x="177800" y="167481"/>
                  <a:pt x="195263" y="164306"/>
                  <a:pt x="238125" y="147637"/>
                </a:cubicBezTo>
                <a:cubicBezTo>
                  <a:pt x="280987" y="130968"/>
                  <a:pt x="350044" y="96043"/>
                  <a:pt x="395287" y="71437"/>
                </a:cubicBezTo>
                <a:cubicBezTo>
                  <a:pt x="440530" y="46831"/>
                  <a:pt x="475058" y="23415"/>
                  <a:pt x="509587" y="0"/>
                </a:cubicBezTo>
              </a:path>
            </a:pathLst>
          </a:custGeom>
          <a:noFill/>
          <a:ln w="57150" cap="flat" cmpd="sng" algn="ctr">
            <a:solidFill>
              <a:srgbClr val="7E2E78">
                <a:lumMod val="60000"/>
                <a:lumOff val="4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896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764" b="0" i="0" u="none" strike="noStrike" kern="0" cap="none" spc="0" normalizeH="0" baseline="0" noProof="0" dirty="0">
              <a:ln>
                <a:noFill/>
              </a:ln>
              <a:solidFill>
                <a:srgbClr val="212121"/>
              </a:solidFill>
              <a:effectLst/>
              <a:uLnTx/>
              <a:uFillTx/>
              <a:latin typeface="Arial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0" name="Freeform 63">
            <a:extLst>
              <a:ext uri="{FF2B5EF4-FFF2-40B4-BE49-F238E27FC236}">
                <a16:creationId xmlns:a16="http://schemas.microsoft.com/office/drawing/2014/main" id="{EE9A70B8-3103-43E7-A2E7-AF4120C9356F}"/>
              </a:ext>
            </a:extLst>
          </p:cNvPr>
          <p:cNvSpPr/>
          <p:nvPr/>
        </p:nvSpPr>
        <p:spPr>
          <a:xfrm>
            <a:off x="6732281" y="3516283"/>
            <a:ext cx="3544279" cy="1039687"/>
          </a:xfrm>
          <a:custGeom>
            <a:avLst/>
            <a:gdLst>
              <a:gd name="connsiteX0" fmla="*/ 2524125 w 2524125"/>
              <a:gd name="connsiteY0" fmla="*/ 181491 h 924441"/>
              <a:gd name="connsiteX1" fmla="*/ 2338388 w 2524125"/>
              <a:gd name="connsiteY1" fmla="*/ 91004 h 924441"/>
              <a:gd name="connsiteX2" fmla="*/ 2147888 w 2524125"/>
              <a:gd name="connsiteY2" fmla="*/ 24329 h 924441"/>
              <a:gd name="connsiteX3" fmla="*/ 1966913 w 2524125"/>
              <a:gd name="connsiteY3" fmla="*/ 516 h 924441"/>
              <a:gd name="connsiteX4" fmla="*/ 1571625 w 2524125"/>
              <a:gd name="connsiteY4" fmla="*/ 43379 h 924441"/>
              <a:gd name="connsiteX5" fmla="*/ 1143000 w 2524125"/>
              <a:gd name="connsiteY5" fmla="*/ 243404 h 924441"/>
              <a:gd name="connsiteX6" fmla="*/ 0 w 2524125"/>
              <a:gd name="connsiteY6" fmla="*/ 924441 h 924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24125" h="924441">
                <a:moveTo>
                  <a:pt x="2524125" y="181491"/>
                </a:moveTo>
                <a:cubicBezTo>
                  <a:pt x="2462609" y="149344"/>
                  <a:pt x="2401094" y="117198"/>
                  <a:pt x="2338388" y="91004"/>
                </a:cubicBezTo>
                <a:cubicBezTo>
                  <a:pt x="2275682" y="64810"/>
                  <a:pt x="2209800" y="39410"/>
                  <a:pt x="2147888" y="24329"/>
                </a:cubicBezTo>
                <a:cubicBezTo>
                  <a:pt x="2085976" y="9248"/>
                  <a:pt x="2062957" y="-2659"/>
                  <a:pt x="1966913" y="516"/>
                </a:cubicBezTo>
                <a:cubicBezTo>
                  <a:pt x="1870869" y="3691"/>
                  <a:pt x="1708944" y="2898"/>
                  <a:pt x="1571625" y="43379"/>
                </a:cubicBezTo>
                <a:cubicBezTo>
                  <a:pt x="1434306" y="83860"/>
                  <a:pt x="1404937" y="96560"/>
                  <a:pt x="1143000" y="243404"/>
                </a:cubicBezTo>
                <a:cubicBezTo>
                  <a:pt x="881063" y="390248"/>
                  <a:pt x="440531" y="657344"/>
                  <a:pt x="0" y="924441"/>
                </a:cubicBezTo>
              </a:path>
            </a:pathLst>
          </a:custGeom>
          <a:noFill/>
          <a:ln w="57150" cap="flat" cmpd="sng" algn="ctr">
            <a:solidFill>
              <a:srgbClr val="7E2E78">
                <a:lumMod val="60000"/>
                <a:lumOff val="40000"/>
              </a:srgbClr>
            </a:solidFill>
            <a:prstDash val="solid"/>
            <a:headEnd type="arrow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896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764" b="0" i="0" u="none" strike="noStrike" kern="0" cap="none" spc="0" normalizeH="0" baseline="0" noProof="0" dirty="0">
              <a:ln>
                <a:noFill/>
              </a:ln>
              <a:solidFill>
                <a:srgbClr val="212121"/>
              </a:solidFill>
              <a:effectLst/>
              <a:uLnTx/>
              <a:uFillTx/>
              <a:latin typeface="Arial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AAAAF8C0-E77A-4E84-B799-4E29B0CC72B0}"/>
              </a:ext>
            </a:extLst>
          </p:cNvPr>
          <p:cNvCxnSpPr>
            <a:cxnSpLocks/>
          </p:cNvCxnSpPr>
          <p:nvPr/>
        </p:nvCxnSpPr>
        <p:spPr>
          <a:xfrm flipV="1">
            <a:off x="6672367" y="3197351"/>
            <a:ext cx="3203538" cy="1534610"/>
          </a:xfrm>
          <a:prstGeom prst="straightConnector1">
            <a:avLst/>
          </a:prstGeom>
          <a:noFill/>
          <a:ln w="57150" cap="flat" cmpd="sng" algn="ctr">
            <a:solidFill>
              <a:srgbClr val="7E2E78"/>
            </a:solidFill>
            <a:prstDash val="solid"/>
            <a:headEnd type="none" w="med" len="med"/>
            <a:tailEnd type="arrow" w="med" len="med"/>
          </a:ln>
          <a:effectLst/>
        </p:spPr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8D7E03CB-B804-49C2-A098-EED203FB47DE}"/>
              </a:ext>
            </a:extLst>
          </p:cNvPr>
          <p:cNvCxnSpPr/>
          <p:nvPr/>
        </p:nvCxnSpPr>
        <p:spPr>
          <a:xfrm>
            <a:off x="3177308" y="4881003"/>
            <a:ext cx="2842109" cy="0"/>
          </a:xfrm>
          <a:prstGeom prst="line">
            <a:avLst/>
          </a:prstGeom>
          <a:noFill/>
          <a:ln w="57150" cap="flat" cmpd="sng" algn="ctr">
            <a:solidFill>
              <a:srgbClr val="7E2E78"/>
            </a:solidFill>
            <a:prstDash val="solid"/>
          </a:ln>
          <a:effectLst/>
        </p:spPr>
      </p:cxnSp>
      <p:sp>
        <p:nvSpPr>
          <p:cNvPr id="53" name="TextBox 52">
            <a:extLst>
              <a:ext uri="{FF2B5EF4-FFF2-40B4-BE49-F238E27FC236}">
                <a16:creationId xmlns:a16="http://schemas.microsoft.com/office/drawing/2014/main" id="{3DDC8FEF-B2D8-47A3-8026-3571A130721B}"/>
              </a:ext>
            </a:extLst>
          </p:cNvPr>
          <p:cNvSpPr txBox="1"/>
          <p:nvPr/>
        </p:nvSpPr>
        <p:spPr>
          <a:xfrm>
            <a:off x="1261533" y="3762069"/>
            <a:ext cx="18693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896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b="1" i="0" u="none" strike="noStrike" kern="0" cap="none" spc="0" normalizeH="0" baseline="0" noProof="0" dirty="0">
                <a:ln>
                  <a:noFill/>
                </a:ln>
                <a:solidFill>
                  <a:srgbClr val="003479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Verdana" panose="020B0604030504040204" pitchFamily="34" charset="0"/>
              </a:rPr>
              <a:t>Сердечный выброс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FAF0CCFD-861D-4F54-BD59-FEF06B89BCF4}"/>
              </a:ext>
            </a:extLst>
          </p:cNvPr>
          <p:cNvSpPr txBox="1"/>
          <p:nvPr/>
        </p:nvSpPr>
        <p:spPr>
          <a:xfrm>
            <a:off x="1911123" y="4551782"/>
            <a:ext cx="1219767" cy="3178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896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b="1" i="0" u="none" strike="noStrike" kern="0" cap="none" spc="0" normalizeH="0" baseline="0" noProof="0">
                <a:ln>
                  <a:noFill/>
                </a:ln>
                <a:solidFill>
                  <a:srgbClr val="7E2E78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Verdana" panose="020B0604030504040204" pitchFamily="34" charset="0"/>
              </a:rPr>
              <a:t>Среднее ДЛА</a:t>
            </a:r>
            <a:endParaRPr kumimoji="0" lang="en-GB" sz="1200" b="1" i="0" u="none" strike="noStrike" kern="0" cap="none" spc="0" normalizeH="0" baseline="0" noProof="0" dirty="0">
              <a:ln>
                <a:noFill/>
              </a:ln>
              <a:solidFill>
                <a:srgbClr val="7E2E78">
                  <a:lumMod val="60000"/>
                  <a:lumOff val="40000"/>
                </a:srgbClr>
              </a:solidFill>
              <a:effectLst/>
              <a:uLnTx/>
              <a:uFillTx/>
              <a:latin typeface="Arial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E5D76883-78F3-4662-B07B-12BD10C3132C}"/>
              </a:ext>
            </a:extLst>
          </p:cNvPr>
          <p:cNvSpPr txBox="1"/>
          <p:nvPr/>
        </p:nvSpPr>
        <p:spPr>
          <a:xfrm>
            <a:off x="1911123" y="4762857"/>
            <a:ext cx="1219767" cy="3178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896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b="1" i="0" u="none" strike="noStrike" kern="0" cap="none" spc="0" normalizeH="0" baseline="0" noProof="0" dirty="0">
                <a:ln>
                  <a:noFill/>
                </a:ln>
                <a:solidFill>
                  <a:srgbClr val="7E2E78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Verdana" panose="020B0604030504040204" pitchFamily="34" charset="0"/>
              </a:rPr>
              <a:t>ЛСС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24BCDA95-9513-48F5-A156-497335BEFCF9}"/>
              </a:ext>
            </a:extLst>
          </p:cNvPr>
          <p:cNvSpPr txBox="1"/>
          <p:nvPr/>
        </p:nvSpPr>
        <p:spPr>
          <a:xfrm>
            <a:off x="2092410" y="5148127"/>
            <a:ext cx="1038481" cy="31786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r" defTabSz="896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b="1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Verdana" panose="020B0604030504040204" pitchFamily="34" charset="0"/>
              </a:rPr>
              <a:t>Время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8BED7803-93CA-4A7F-9022-6DE542A40E70}"/>
              </a:ext>
            </a:extLst>
          </p:cNvPr>
          <p:cNvSpPr txBox="1"/>
          <p:nvPr/>
        </p:nvSpPr>
        <p:spPr>
          <a:xfrm>
            <a:off x="1310430" y="2424992"/>
            <a:ext cx="1820462" cy="3178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r" defTabSz="896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b="1" i="0" u="none" strike="noStrike" kern="0" cap="none" spc="0" normalizeH="0" baseline="0" noProof="0">
                <a:ln>
                  <a:noFill/>
                </a:ln>
                <a:solidFill>
                  <a:srgbClr val="00A0DF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Verdana" panose="020B0604030504040204" pitchFamily="34" charset="0"/>
              </a:rPr>
              <a:t>Легочные сосуды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581BC2D7-2ED6-4DC7-A2AA-1F936DE899E9}"/>
              </a:ext>
            </a:extLst>
          </p:cNvPr>
          <p:cNvSpPr txBox="1"/>
          <p:nvPr/>
        </p:nvSpPr>
        <p:spPr>
          <a:xfrm>
            <a:off x="4470770" y="1475788"/>
            <a:ext cx="1981718" cy="3178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896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Verdana" panose="020B0604030504040204" pitchFamily="34" charset="0"/>
              </a:rPr>
              <a:t>Бессимптомная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3E23C2F6-B117-4B40-9FDA-E3AA4D666C0B}"/>
              </a:ext>
            </a:extLst>
          </p:cNvPr>
          <p:cNvSpPr txBox="1"/>
          <p:nvPr/>
        </p:nvSpPr>
        <p:spPr>
          <a:xfrm>
            <a:off x="7495757" y="1475788"/>
            <a:ext cx="1922505" cy="3178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896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Verdana" panose="020B0604030504040204" pitchFamily="34" charset="0"/>
              </a:rPr>
              <a:t>Есть симптомы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8E61E2CD-6996-4EAA-AF60-1508F48C9D10}"/>
              </a:ext>
            </a:extLst>
          </p:cNvPr>
          <p:cNvSpPr txBox="1"/>
          <p:nvPr/>
        </p:nvSpPr>
        <p:spPr>
          <a:xfrm>
            <a:off x="8965977" y="1299797"/>
            <a:ext cx="1865710" cy="3178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896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b="0" i="0" u="none" strike="noStrike" kern="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Verdana" panose="020B0604030504040204" pitchFamily="34" charset="0"/>
              </a:rPr>
              <a:t>Выраженная недостаточность ПЖ</a:t>
            </a: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C4DC43B6-B698-4E23-A33F-B2C172BDF65A}"/>
              </a:ext>
            </a:extLst>
          </p:cNvPr>
          <p:cNvCxnSpPr/>
          <p:nvPr/>
        </p:nvCxnSpPr>
        <p:spPr>
          <a:xfrm>
            <a:off x="3328169" y="1777162"/>
            <a:ext cx="4365482" cy="0"/>
          </a:xfrm>
          <a:prstGeom prst="line">
            <a:avLst/>
          </a:prstGeom>
          <a:noFill/>
          <a:ln w="28575" cap="flat" cmpd="sng" algn="ctr">
            <a:solidFill>
              <a:srgbClr val="212121"/>
            </a:solidFill>
            <a:prstDash val="solid"/>
          </a:ln>
          <a:effectLst/>
        </p:spPr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040DE92B-7363-4EB3-A512-E427EF72792E}"/>
              </a:ext>
            </a:extLst>
          </p:cNvPr>
          <p:cNvCxnSpPr/>
          <p:nvPr/>
        </p:nvCxnSpPr>
        <p:spPr>
          <a:xfrm>
            <a:off x="7907646" y="1777162"/>
            <a:ext cx="1144869" cy="0"/>
          </a:xfrm>
          <a:prstGeom prst="line">
            <a:avLst/>
          </a:prstGeom>
          <a:noFill/>
          <a:ln w="28575" cap="flat" cmpd="sng" algn="ctr">
            <a:solidFill>
              <a:srgbClr val="212121"/>
            </a:solidFill>
            <a:prstDash val="solid"/>
          </a:ln>
          <a:effectLst/>
        </p:spPr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90DFF8D8-533D-40B6-8774-EA2D10F9A90E}"/>
              </a:ext>
            </a:extLst>
          </p:cNvPr>
          <p:cNvCxnSpPr/>
          <p:nvPr/>
        </p:nvCxnSpPr>
        <p:spPr>
          <a:xfrm flipV="1">
            <a:off x="9202311" y="1777162"/>
            <a:ext cx="1283965" cy="0"/>
          </a:xfrm>
          <a:prstGeom prst="line">
            <a:avLst/>
          </a:prstGeom>
          <a:noFill/>
          <a:ln w="28575" cap="flat" cmpd="sng" algn="ctr">
            <a:solidFill>
              <a:srgbClr val="212121"/>
            </a:solidFill>
            <a:prstDash val="solid"/>
          </a:ln>
          <a:effectLst/>
        </p:spPr>
      </p:cxnSp>
      <p:sp>
        <p:nvSpPr>
          <p:cNvPr id="67" name="Down Arrow 109">
            <a:extLst>
              <a:ext uri="{FF2B5EF4-FFF2-40B4-BE49-F238E27FC236}">
                <a16:creationId xmlns:a16="http://schemas.microsoft.com/office/drawing/2014/main" id="{B2C5143B-065A-49A9-9BB2-CF7B4AEEFEC4}"/>
              </a:ext>
            </a:extLst>
          </p:cNvPr>
          <p:cNvSpPr/>
          <p:nvPr/>
        </p:nvSpPr>
        <p:spPr>
          <a:xfrm rot="16200000">
            <a:off x="6763946" y="1532124"/>
            <a:ext cx="194841" cy="7528015"/>
          </a:xfrm>
          <a:prstGeom prst="downArrow">
            <a:avLst/>
          </a:prstGeom>
          <a:solidFill>
            <a:srgbClr val="212121"/>
          </a:solidFill>
          <a:ln w="9525" cap="flat" cmpd="sng" algn="ctr">
            <a:solidFill>
              <a:srgbClr val="21212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896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764" b="0" i="0" u="none" strike="noStrike" kern="0" cap="none" spc="0" normalizeH="0" baseline="0" noProof="0" dirty="0">
              <a:ln>
                <a:noFill/>
              </a:ln>
              <a:solidFill>
                <a:srgbClr val="212121"/>
              </a:solidFill>
              <a:effectLst/>
              <a:uLnTx/>
              <a:uFillTx/>
              <a:latin typeface="Arial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7079B681-8588-4579-8150-B401060669B0}"/>
              </a:ext>
            </a:extLst>
          </p:cNvPr>
          <p:cNvSpPr txBox="1"/>
          <p:nvPr/>
        </p:nvSpPr>
        <p:spPr>
          <a:xfrm>
            <a:off x="2107423" y="4195659"/>
            <a:ext cx="1023466" cy="3178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896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b="1" i="0" u="none" strike="noStrike" kern="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Verdana" panose="020B0604030504040204" pitchFamily="34" charset="0"/>
              </a:rPr>
              <a:t>Масса ПЖ</a:t>
            </a:r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37C5344F-E8AC-458A-AC17-0AC144AB70D6}"/>
              </a:ext>
            </a:extLst>
          </p:cNvPr>
          <p:cNvCxnSpPr/>
          <p:nvPr/>
        </p:nvCxnSpPr>
        <p:spPr>
          <a:xfrm>
            <a:off x="3190823" y="4346692"/>
            <a:ext cx="1870342" cy="0"/>
          </a:xfrm>
          <a:prstGeom prst="line">
            <a:avLst/>
          </a:prstGeom>
          <a:noFill/>
          <a:ln w="57150" cap="flat" cmpd="sng" algn="ctr">
            <a:solidFill>
              <a:srgbClr val="00B050"/>
            </a:solidFill>
            <a:prstDash val="solid"/>
          </a:ln>
          <a:effectLst/>
        </p:spPr>
      </p:cxn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D88A5DCE-AF1F-48AC-A9C2-CEB3BDFC1AA6}"/>
              </a:ext>
            </a:extLst>
          </p:cNvPr>
          <p:cNvCxnSpPr>
            <a:cxnSpLocks/>
            <a:stCxn id="71" idx="3"/>
          </p:cNvCxnSpPr>
          <p:nvPr/>
        </p:nvCxnSpPr>
        <p:spPr>
          <a:xfrm flipV="1">
            <a:off x="5470642" y="2403056"/>
            <a:ext cx="3622744" cy="1791850"/>
          </a:xfrm>
          <a:prstGeom prst="straightConnector1">
            <a:avLst/>
          </a:prstGeom>
          <a:noFill/>
          <a:ln w="57150" cap="flat" cmpd="sng" algn="ctr">
            <a:solidFill>
              <a:srgbClr val="00B050"/>
            </a:solidFill>
            <a:prstDash val="solid"/>
            <a:headEnd type="none" w="med" len="med"/>
            <a:tailEnd type="arrow" w="med" len="med"/>
          </a:ln>
          <a:effectLst/>
        </p:spPr>
      </p:cxnSp>
      <p:sp>
        <p:nvSpPr>
          <p:cNvPr id="71" name="Freeform 49">
            <a:extLst>
              <a:ext uri="{FF2B5EF4-FFF2-40B4-BE49-F238E27FC236}">
                <a16:creationId xmlns:a16="http://schemas.microsoft.com/office/drawing/2014/main" id="{3B80BBE9-991C-4520-927B-356A9281D582}"/>
              </a:ext>
            </a:extLst>
          </p:cNvPr>
          <p:cNvSpPr/>
          <p:nvPr/>
        </p:nvSpPr>
        <p:spPr>
          <a:xfrm>
            <a:off x="4808597" y="4194907"/>
            <a:ext cx="662045" cy="151786"/>
          </a:xfrm>
          <a:custGeom>
            <a:avLst/>
            <a:gdLst>
              <a:gd name="connsiteX0" fmla="*/ 0 w 471488"/>
              <a:gd name="connsiteY0" fmla="*/ 133350 h 135641"/>
              <a:gd name="connsiteX1" fmla="*/ 147638 w 471488"/>
              <a:gd name="connsiteY1" fmla="*/ 133350 h 135641"/>
              <a:gd name="connsiteX2" fmla="*/ 261938 w 471488"/>
              <a:gd name="connsiteY2" fmla="*/ 109538 h 135641"/>
              <a:gd name="connsiteX3" fmla="*/ 471488 w 471488"/>
              <a:gd name="connsiteY3" fmla="*/ 0 h 1356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1488" h="135641">
                <a:moveTo>
                  <a:pt x="0" y="133350"/>
                </a:moveTo>
                <a:cubicBezTo>
                  <a:pt x="51991" y="135334"/>
                  <a:pt x="103982" y="137319"/>
                  <a:pt x="147638" y="133350"/>
                </a:cubicBezTo>
                <a:cubicBezTo>
                  <a:pt x="191294" y="129381"/>
                  <a:pt x="207963" y="131763"/>
                  <a:pt x="261938" y="109538"/>
                </a:cubicBezTo>
                <a:cubicBezTo>
                  <a:pt x="315913" y="87313"/>
                  <a:pt x="393700" y="43656"/>
                  <a:pt x="471488" y="0"/>
                </a:cubicBezTo>
              </a:path>
            </a:pathLst>
          </a:custGeom>
          <a:noFill/>
          <a:ln w="57150" cap="flat" cmpd="sng" algn="ctr">
            <a:solidFill>
              <a:srgbClr val="00B05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896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764" b="0" i="0" u="none" strike="noStrike" kern="0" cap="none" spc="0" normalizeH="0" baseline="0" noProof="0" dirty="0">
              <a:ln>
                <a:noFill/>
              </a:ln>
              <a:solidFill>
                <a:srgbClr val="212121"/>
              </a:solidFill>
              <a:effectLst/>
              <a:uLnTx/>
              <a:uFillTx/>
              <a:latin typeface="Arial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02DABC10-F8BF-4084-B3AB-F812DF34D419}"/>
              </a:ext>
            </a:extLst>
          </p:cNvPr>
          <p:cNvCxnSpPr>
            <a:cxnSpLocks/>
          </p:cNvCxnSpPr>
          <p:nvPr/>
        </p:nvCxnSpPr>
        <p:spPr>
          <a:xfrm>
            <a:off x="7824778" y="1809930"/>
            <a:ext cx="27491" cy="4048855"/>
          </a:xfrm>
          <a:prstGeom prst="line">
            <a:avLst/>
          </a:prstGeom>
          <a:noFill/>
          <a:ln w="25400" cap="flat" cmpd="sng" algn="ctr">
            <a:solidFill>
              <a:srgbClr val="212121"/>
            </a:solidFill>
            <a:prstDash val="sysDot"/>
          </a:ln>
          <a:effectLst/>
        </p:spPr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3634B2C5-9D70-4B0F-A15B-4E91C1DE90F9}"/>
              </a:ext>
            </a:extLst>
          </p:cNvPr>
          <p:cNvCxnSpPr>
            <a:cxnSpLocks/>
          </p:cNvCxnSpPr>
          <p:nvPr/>
        </p:nvCxnSpPr>
        <p:spPr>
          <a:xfrm>
            <a:off x="9116424" y="1785731"/>
            <a:ext cx="27493" cy="4048855"/>
          </a:xfrm>
          <a:prstGeom prst="line">
            <a:avLst/>
          </a:prstGeom>
          <a:noFill/>
          <a:ln w="25400" cap="flat" cmpd="sng" algn="ctr">
            <a:solidFill>
              <a:srgbClr val="212121"/>
            </a:solidFill>
            <a:prstDash val="sysDot"/>
          </a:ln>
          <a:effectLst/>
        </p:spPr>
      </p:cxnSp>
      <p:sp>
        <p:nvSpPr>
          <p:cNvPr id="83" name="TextBox 82">
            <a:extLst>
              <a:ext uri="{FF2B5EF4-FFF2-40B4-BE49-F238E27FC236}">
                <a16:creationId xmlns:a16="http://schemas.microsoft.com/office/drawing/2014/main" id="{620DB7B9-7173-4536-BFF6-CCA57FA5E210}"/>
              </a:ext>
            </a:extLst>
          </p:cNvPr>
          <p:cNvSpPr txBox="1"/>
          <p:nvPr/>
        </p:nvSpPr>
        <p:spPr>
          <a:xfrm>
            <a:off x="5475033" y="5337063"/>
            <a:ext cx="813472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896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400" b="1" i="0" u="none" strike="noStrike" kern="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Verdana" panose="020B0604030504040204" pitchFamily="34" charset="0"/>
              </a:rPr>
              <a:t>ФК по ВОЗ I </a:t>
            </a:r>
            <a:b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Verdana" panose="020B0604030504040204" pitchFamily="34" charset="0"/>
              </a:rPr>
            </a:br>
            <a:endParaRPr kumimoji="0" lang="en-GB" sz="1400" b="1" i="0" u="none" strike="noStrike" kern="0" cap="none" spc="0" normalizeH="0" baseline="0" noProof="0" dirty="0">
              <a:ln>
                <a:noFill/>
              </a:ln>
              <a:solidFill>
                <a:srgbClr val="212121"/>
              </a:solidFill>
              <a:effectLst/>
              <a:uLnTx/>
              <a:uFillTx/>
              <a:latin typeface="Arial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531567E2-E3F7-4643-859A-15B14A88389B}"/>
              </a:ext>
            </a:extLst>
          </p:cNvPr>
          <p:cNvSpPr txBox="1"/>
          <p:nvPr/>
        </p:nvSpPr>
        <p:spPr>
          <a:xfrm>
            <a:off x="8023811" y="5337063"/>
            <a:ext cx="1042082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896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400" b="1" i="0" u="none" strike="noStrike" kern="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Verdana" panose="020B0604030504040204" pitchFamily="34" charset="0"/>
              </a:rPr>
              <a:t>ФК по ВОЗ II </a:t>
            </a:r>
            <a:b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Verdana" panose="020B0604030504040204" pitchFamily="34" charset="0"/>
              </a:rPr>
            </a:br>
            <a:endParaRPr kumimoji="0" lang="en-GB" sz="1400" b="1" i="0" u="none" strike="noStrike" kern="0" cap="none" spc="0" normalizeH="0" baseline="0" noProof="0" dirty="0">
              <a:ln>
                <a:noFill/>
              </a:ln>
              <a:solidFill>
                <a:srgbClr val="212121"/>
              </a:solidFill>
              <a:effectLst/>
              <a:uLnTx/>
              <a:uFillTx/>
              <a:latin typeface="Arial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20B81A62-0943-4C48-8E38-D8D379DAC79C}"/>
              </a:ext>
            </a:extLst>
          </p:cNvPr>
          <p:cNvSpPr txBox="1"/>
          <p:nvPr/>
        </p:nvSpPr>
        <p:spPr>
          <a:xfrm>
            <a:off x="9402520" y="5337063"/>
            <a:ext cx="1005552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896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400" b="1" i="0" u="none" strike="noStrike" kern="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Verdana" panose="020B0604030504040204" pitchFamily="34" charset="0"/>
              </a:rPr>
              <a:t>ФК по ВОЗ III/IV </a:t>
            </a:r>
            <a:b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Verdana" panose="020B0604030504040204" pitchFamily="34" charset="0"/>
              </a:rPr>
            </a:br>
            <a:endParaRPr kumimoji="0" lang="en-GB" sz="1400" b="1" i="0" u="none" strike="noStrike" kern="0" cap="none" spc="0" normalizeH="0" baseline="0" noProof="0" dirty="0">
              <a:ln>
                <a:noFill/>
              </a:ln>
              <a:solidFill>
                <a:srgbClr val="212121"/>
              </a:solidFill>
              <a:effectLst/>
              <a:uLnTx/>
              <a:uFillTx/>
              <a:latin typeface="Arial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10317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59572F-D163-4DAC-9075-2EFED867EC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5036" y="144477"/>
            <a:ext cx="9545382" cy="480000"/>
          </a:xfrm>
        </p:spPr>
        <p:txBody>
          <a:bodyPr rtlCol="0"/>
          <a:lstStyle/>
          <a:p>
            <a:pPr rtl="0"/>
            <a:r>
              <a:rPr lang="ru" sz="2400" dirty="0"/>
              <a:t>Как правило, ЛАГ диагностируется слишком поздно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CCD9945-6919-4B13-AD14-A6474E92956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97951" y="6208804"/>
            <a:ext cx="8584431" cy="484187"/>
          </a:xfrm>
        </p:spPr>
        <p:txBody>
          <a:bodyPr rtlCol="0"/>
          <a:lstStyle/>
          <a:p>
            <a:pPr rtl="0">
              <a:lnSpc>
                <a:spcPct val="95000"/>
              </a:lnSpc>
            </a:pPr>
            <a:r>
              <a:rPr lang="ru" sz="700" dirty="0">
                <a:ea typeface="Verdana" panose="020B0604030504040204" pitchFamily="34" charset="0"/>
              </a:rPr>
              <a:t>Т6МХ — тест шестиминутной ходьбы, COMPERA — сравнительный проспективный регистр впервые начатого лечения легочной артериальной гипертензии, NIH — Национальные институты здравоохранения США, REVEAL — Регистр для оценки раннего и долгосрочного ведения пациентов с ЛАГ.  REVEAL FCC — французская когорта сравнения REVEAL, REVEAL NIH — когорта сравнения NIH, ЛГ — легочная гипертензия, SPHAR — регистр ЛАГ Швеции, ВОЗ — Всемирная организация здравоохранения.     </a:t>
            </a:r>
          </a:p>
          <a:p>
            <a:pPr rtl="0">
              <a:lnSpc>
                <a:spcPct val="95000"/>
              </a:lnSpc>
            </a:pPr>
            <a:r>
              <a:rPr lang="ru" sz="700" dirty="0"/>
              <a:t>1. </a:t>
            </a:r>
            <a:r>
              <a:rPr lang="ru" sz="700" dirty="0">
                <a:solidFill>
                  <a:prstClr val="black"/>
                </a:solidFill>
                <a:ea typeface="Verdana" panose="020B0604030504040204" pitchFamily="34" charset="0"/>
                <a:cs typeface="Arial" charset="0"/>
              </a:rPr>
              <a:t>Приводится с изменениями по</a:t>
            </a:r>
            <a:r>
              <a:rPr lang="en-GB" sz="700" dirty="0"/>
              <a:t> Frost A, </a:t>
            </a:r>
            <a:r>
              <a:rPr lang="en-GB" sz="700" i="1" dirty="0"/>
              <a:t>et al. Chest </a:t>
            </a:r>
            <a:r>
              <a:rPr lang="en-GB" sz="700" dirty="0"/>
              <a:t>2011; 139:128-37; 2. SPAHR 2019 Annual Report. </a:t>
            </a:r>
            <a:r>
              <a:rPr lang="ru-RU" sz="700" dirty="0"/>
              <a:t>Доступно по ссылке:</a:t>
            </a:r>
            <a:r>
              <a:rPr lang="en-GB" sz="700" dirty="0"/>
              <a:t>: https://www.ucr.uu.se/spahr/arsrapporter/arsrapport-spahr-2019/viewdocument/107 (</a:t>
            </a:r>
            <a:r>
              <a:rPr lang="ru-RU" sz="700" dirty="0"/>
              <a:t>по состоянию нафевраль</a:t>
            </a:r>
            <a:r>
              <a:rPr lang="en-GB" sz="700" dirty="0"/>
              <a:t> 2020); 3. </a:t>
            </a:r>
            <a:r>
              <a:rPr lang="de-CH" sz="700" dirty="0"/>
              <a:t>Hoeper MM, </a:t>
            </a:r>
            <a:r>
              <a:rPr lang="de-CH" sz="700" i="1" dirty="0"/>
              <a:t>et al. </a:t>
            </a:r>
            <a:r>
              <a:rPr lang="pt-BR" sz="700" i="1" dirty="0"/>
              <a:t>Eur Respir J </a:t>
            </a:r>
            <a:r>
              <a:rPr lang="pt-BR" sz="700" dirty="0"/>
              <a:t>2017; 50:1700740</a:t>
            </a:r>
            <a:r>
              <a:rPr lang="en-GB" sz="700" dirty="0"/>
              <a:t>; 4. NHS Digital. National Audit of Pulmonary Hypertension, 9</a:t>
            </a:r>
            <a:r>
              <a:rPr lang="en-GB" sz="700" baseline="30000" dirty="0"/>
              <a:t>th</a:t>
            </a:r>
            <a:r>
              <a:rPr lang="en-GB" sz="700" dirty="0"/>
              <a:t> Annual Report. </a:t>
            </a:r>
            <a:r>
              <a:rPr lang="ru-RU" sz="700" dirty="0"/>
              <a:t>Доступно по ссылке:</a:t>
            </a:r>
            <a:r>
              <a:rPr lang="en-GB" sz="700" dirty="0"/>
              <a:t>: https://digital.nhs.uk/data-and-information/publications/statistical/national-pulmonary-hypertension-audit/2018/2018 (</a:t>
            </a:r>
            <a:r>
              <a:rPr lang="ru-RU" sz="700" dirty="0"/>
              <a:t>по состоянию нафевраль</a:t>
            </a:r>
            <a:r>
              <a:rPr lang="en-GB" sz="700" dirty="0"/>
              <a:t> 2020).</a:t>
            </a:r>
            <a:endParaRPr lang="ru" sz="700" dirty="0"/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B7F0910E-B4EC-4BF8-9A95-10FFBCDE75DE}"/>
              </a:ext>
            </a:extLst>
          </p:cNvPr>
          <p:cNvSpPr txBox="1"/>
          <p:nvPr/>
        </p:nvSpPr>
        <p:spPr>
          <a:xfrm>
            <a:off x="6944470" y="1782195"/>
            <a:ext cx="432328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rPr>
              <a:t>Характеристики ЛАГ на момент постановки диагноза</a:t>
            </a:r>
            <a:r>
              <a:rPr kumimoji="0" lang="ru" sz="1600" b="1" i="0" u="none" strike="noStrike" kern="1200" cap="none" spc="0" normalizeH="0" baseline="3000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rPr>
              <a:t>2-4</a:t>
            </a:r>
          </a:p>
        </p:txBody>
      </p:sp>
      <p:graphicFrame>
        <p:nvGraphicFramePr>
          <p:cNvPr id="75" name="Content Placeholder 74">
            <a:extLst>
              <a:ext uri="{FF2B5EF4-FFF2-40B4-BE49-F238E27FC236}">
                <a16:creationId xmlns:a16="http://schemas.microsoft.com/office/drawing/2014/main" id="{A71C74A0-04CD-40CD-8A27-D4351EFA2DEE}"/>
              </a:ext>
            </a:extLst>
          </p:cNvPr>
          <p:cNvGraphicFramePr>
            <a:graphicFrameLocks noGrp="1"/>
          </p:cNvGraphicFramePr>
          <p:nvPr>
            <p:ph sz="quarter" idx="17"/>
          </p:nvPr>
        </p:nvGraphicFramePr>
        <p:xfrm>
          <a:off x="6291263" y="2506352"/>
          <a:ext cx="5525095" cy="24331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61206">
                  <a:extLst>
                    <a:ext uri="{9D8B030D-6E8A-4147-A177-3AD203B41FA5}">
                      <a16:colId xmlns:a16="http://schemas.microsoft.com/office/drawing/2014/main" val="2146760708"/>
                    </a:ext>
                  </a:extLst>
                </a:gridCol>
                <a:gridCol w="1161206">
                  <a:extLst>
                    <a:ext uri="{9D8B030D-6E8A-4147-A177-3AD203B41FA5}">
                      <a16:colId xmlns:a16="http://schemas.microsoft.com/office/drawing/2014/main" val="1074195291"/>
                    </a:ext>
                  </a:extLst>
                </a:gridCol>
                <a:gridCol w="1161206">
                  <a:extLst>
                    <a:ext uri="{9D8B030D-6E8A-4147-A177-3AD203B41FA5}">
                      <a16:colId xmlns:a16="http://schemas.microsoft.com/office/drawing/2014/main" val="2953908734"/>
                    </a:ext>
                  </a:extLst>
                </a:gridCol>
                <a:gridCol w="2041477">
                  <a:extLst>
                    <a:ext uri="{9D8B030D-6E8A-4147-A177-3AD203B41FA5}">
                      <a16:colId xmlns:a16="http://schemas.microsoft.com/office/drawing/2014/main" val="1427635247"/>
                    </a:ext>
                  </a:extLst>
                </a:gridCol>
              </a:tblGrid>
              <a:tr h="581596">
                <a:tc>
                  <a:txBody>
                    <a:bodyPr/>
                    <a:lstStyle/>
                    <a:p>
                      <a:pPr algn="ctr" rtl="0"/>
                      <a:r>
                        <a:rPr lang="ru" sz="1400" b="1">
                          <a:solidFill>
                            <a:schemeClr val="bg1"/>
                          </a:solidFill>
                        </a:rPr>
                        <a:t>ФК III/IV по ВОЗ, %</a:t>
                      </a:r>
                      <a:endParaRPr lang="en-GB" sz="1400" b="1" dirty="0">
                        <a:solidFill>
                          <a:schemeClr val="bg1"/>
                        </a:solidFill>
                        <a:latin typeface="+mj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" sz="1400" b="1">
                          <a:solidFill>
                            <a:schemeClr val="bg1"/>
                          </a:solidFill>
                        </a:rPr>
                        <a:t>Возраст, лет</a:t>
                      </a:r>
                      <a:endParaRPr lang="en-GB" sz="1400" b="1" dirty="0">
                        <a:solidFill>
                          <a:schemeClr val="bg1"/>
                        </a:solidFill>
                        <a:latin typeface="+mj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" sz="1400" b="1">
                          <a:solidFill>
                            <a:schemeClr val="bg1"/>
                          </a:solidFill>
                        </a:rPr>
                        <a:t>Результат Т6МХ</a:t>
                      </a:r>
                      <a:endParaRPr lang="en-GB" sz="1400" b="1" dirty="0">
                        <a:solidFill>
                          <a:schemeClr val="bg1"/>
                        </a:solidFill>
                        <a:latin typeface="+mj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ru" sz="1400" b="1">
                          <a:solidFill>
                            <a:schemeClr val="bg1"/>
                          </a:solidFill>
                        </a:rPr>
                        <a:t>Источники</a:t>
                      </a:r>
                      <a:endParaRPr lang="en-GB" sz="1400" b="1" dirty="0">
                        <a:solidFill>
                          <a:schemeClr val="bg1"/>
                        </a:solidFill>
                        <a:latin typeface="+mj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0260395"/>
                  </a:ext>
                </a:extLst>
              </a:tr>
              <a:tr h="505437">
                <a:tc>
                  <a:txBody>
                    <a:bodyPr/>
                    <a:lstStyle/>
                    <a:p>
                      <a:pPr algn="ctr" rtl="0"/>
                      <a:r>
                        <a:rPr lang="ru" sz="1200" b="1"/>
                        <a:t>82</a:t>
                      </a:r>
                      <a:endParaRPr lang="en-GB" sz="1200" b="1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" sz="1200" b="1"/>
                        <a:t>67</a:t>
                      </a:r>
                      <a:endParaRPr lang="en-GB" sz="1200" b="1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" sz="1200" b="1"/>
                        <a:t>320 </a:t>
                      </a:r>
                      <a:endParaRPr lang="en-GB" sz="1200" b="1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ru" sz="1200" b="1"/>
                        <a:t>Отчет SPAHR 2019</a:t>
                      </a:r>
                      <a:r>
                        <a:rPr lang="ru" sz="1200" b="1" baseline="30000"/>
                        <a:t>2</a:t>
                      </a:r>
                      <a:r>
                        <a:rPr lang="ru" sz="1200" b="1"/>
                        <a:t>*</a:t>
                      </a:r>
                      <a:endParaRPr lang="en-GB" sz="1200" b="1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65116567"/>
                  </a:ext>
                </a:extLst>
              </a:tr>
              <a:tr h="505437">
                <a:tc>
                  <a:txBody>
                    <a:bodyPr/>
                    <a:lstStyle/>
                    <a:p>
                      <a:pPr algn="ctr" rtl="0"/>
                      <a:r>
                        <a:rPr lang="ru" sz="1200" b="1"/>
                        <a:t>85</a:t>
                      </a:r>
                      <a:endParaRPr lang="en-GB" sz="1200" b="1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" sz="1200" b="1"/>
                        <a:t>64</a:t>
                      </a:r>
                      <a:endParaRPr lang="en-GB" sz="1200" b="1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" sz="1200" b="1"/>
                        <a:t>298 </a:t>
                      </a:r>
                      <a:endParaRPr lang="en-GB" sz="1200" b="1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ru" sz="1200" b="1"/>
                        <a:t>Регистр COMPERA 2009–2016</a:t>
                      </a:r>
                      <a:r>
                        <a:rPr lang="ru" sz="1200" b="1" baseline="30000"/>
                        <a:t>3</a:t>
                      </a:r>
                      <a:endParaRPr lang="en-GB" sz="1200" b="1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74335366"/>
                  </a:ext>
                </a:extLst>
              </a:tr>
              <a:tr h="505437">
                <a:tc>
                  <a:txBody>
                    <a:bodyPr/>
                    <a:lstStyle/>
                    <a:p>
                      <a:pPr algn="ctr" rtl="0"/>
                      <a:r>
                        <a:rPr lang="ru" sz="1200" b="1"/>
                        <a:t>81–98</a:t>
                      </a:r>
                      <a:r>
                        <a:rPr lang="ru" sz="1200" b="1" baseline="30000"/>
                        <a:t>†</a:t>
                      </a:r>
                      <a:endParaRPr lang="en-GB" sz="1200" b="1" baseline="300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" sz="1200" b="1"/>
                        <a:t>60</a:t>
                      </a:r>
                      <a:endParaRPr lang="en-GB" sz="1200" b="1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" sz="1200" b="1"/>
                        <a:t>Данные отсутствуют</a:t>
                      </a:r>
                      <a:endParaRPr lang="en-GB" sz="1200" b="1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ru" sz="1200" b="1"/>
                        <a:t>Аудит Великобритании 2018</a:t>
                      </a:r>
                      <a:r>
                        <a:rPr lang="ru" sz="1200" b="1" baseline="30000"/>
                        <a:t>4</a:t>
                      </a:r>
                      <a:endParaRPr lang="en-GB" sz="1200" b="1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82767269"/>
                  </a:ext>
                </a:extLst>
              </a:tr>
              <a:tr h="331535">
                <a:tc gridSpan="4">
                  <a:txBody>
                    <a:bodyPr/>
                    <a:lstStyle/>
                    <a:p>
                      <a:pPr algn="l" rtl="0"/>
                      <a:r>
                        <a:rPr lang="ru" sz="800">
                          <a:ea typeface="Verdana" panose="020B0604030504040204" pitchFamily="34" charset="0"/>
                        </a:rPr>
                        <a:t>*Показатели отчета SPAHR оценивали на основе рисунков. </a:t>
                      </a:r>
                      <a:r>
                        <a:rPr lang="ru" sz="800" baseline="30000">
                          <a:ea typeface="Verdana" panose="020B0604030504040204" pitchFamily="34" charset="0"/>
                        </a:rPr>
                        <a:t>†</a:t>
                      </a:r>
                      <a:r>
                        <a:rPr lang="ru" sz="800">
                          <a:ea typeface="Verdana" panose="020B0604030504040204" pitchFamily="34" charset="0"/>
                        </a:rPr>
                        <a:t>Приведенный диапазон, в зависимости от центра ЛАГ. </a:t>
                      </a:r>
                      <a:r>
                        <a:rPr lang="ru" sz="800" baseline="30000">
                          <a:ea typeface="Verdana" panose="020B0604030504040204" pitchFamily="34" charset="0"/>
                        </a:rPr>
                        <a:t>‡</a:t>
                      </a:r>
                      <a:r>
                        <a:rPr lang="ru" sz="800">
                          <a:ea typeface="Verdana" panose="020B0604030504040204" pitchFamily="34" charset="0"/>
                        </a:rPr>
                        <a:t>Идиопатическая, наследственная или ЛАГ, индуцированная приемом анорексигенов. </a:t>
                      </a:r>
                      <a:endParaRPr lang="en-GB" sz="800" b="1" baseline="300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 rtl="0"/>
                      <a:endParaRPr lang="en-GB" sz="1200" b="1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 rtl="0"/>
                      <a:endParaRPr lang="en-GB" sz="1200" b="1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l" rtl="0"/>
                      <a:endParaRPr lang="en-GB" sz="1200" b="1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46794617"/>
                  </a:ext>
                </a:extLst>
              </a:tr>
            </a:tbl>
          </a:graphicData>
        </a:graphic>
      </p:graphicFrame>
      <p:sp>
        <p:nvSpPr>
          <p:cNvPr id="189" name="TextBox 188">
            <a:extLst>
              <a:ext uri="{FF2B5EF4-FFF2-40B4-BE49-F238E27FC236}">
                <a16:creationId xmlns:a16="http://schemas.microsoft.com/office/drawing/2014/main" id="{34615CBA-773C-4FBF-9635-2E5D8541BCD7}"/>
              </a:ext>
            </a:extLst>
          </p:cNvPr>
          <p:cNvSpPr txBox="1"/>
          <p:nvPr/>
        </p:nvSpPr>
        <p:spPr>
          <a:xfrm>
            <a:off x="920342" y="1782195"/>
            <a:ext cx="486008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rPr>
              <a:t>Пациенты с ФК III/IV по ВОЗ на момент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rPr>
              <a:t>постановки </a:t>
            </a:r>
            <a:r>
              <a:rPr kumimoji="0" lang="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rPr>
              <a:t> диагноза по данным разных ре</a:t>
            </a:r>
            <a:r>
              <a:rPr kumimoji="0" lang="ru-RU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rPr>
              <a:t>гис</a:t>
            </a:r>
            <a:r>
              <a:rPr kumimoji="0" lang="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rPr>
              <a:t>тров</a:t>
            </a:r>
            <a:r>
              <a:rPr kumimoji="0" lang="ru" sz="16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rPr>
              <a:t>1</a:t>
            </a:r>
          </a:p>
        </p:txBody>
      </p:sp>
      <p:grpSp>
        <p:nvGrpSpPr>
          <p:cNvPr id="242" name="Group 241">
            <a:extLst>
              <a:ext uri="{FF2B5EF4-FFF2-40B4-BE49-F238E27FC236}">
                <a16:creationId xmlns:a16="http://schemas.microsoft.com/office/drawing/2014/main" id="{440F0E7C-E893-4BDD-B0E5-8D91B288566E}"/>
              </a:ext>
            </a:extLst>
          </p:cNvPr>
          <p:cNvGrpSpPr/>
          <p:nvPr/>
        </p:nvGrpSpPr>
        <p:grpSpPr>
          <a:xfrm>
            <a:off x="316141" y="1998427"/>
            <a:ext cx="5473230" cy="3847652"/>
            <a:chOff x="205016" y="1328995"/>
            <a:chExt cx="5473230" cy="3847652"/>
          </a:xfrm>
        </p:grpSpPr>
        <p:sp>
          <p:nvSpPr>
            <p:cNvPr id="243" name="Rectangle 242">
              <a:extLst>
                <a:ext uri="{FF2B5EF4-FFF2-40B4-BE49-F238E27FC236}">
                  <a16:creationId xmlns:a16="http://schemas.microsoft.com/office/drawing/2014/main" id="{034D7DA3-E90C-45F8-92DC-CBA41A084C8E}"/>
                </a:ext>
              </a:extLst>
            </p:cNvPr>
            <p:cNvSpPr/>
            <p:nvPr/>
          </p:nvSpPr>
          <p:spPr bwMode="auto">
            <a:xfrm>
              <a:off x="1350339" y="2455267"/>
              <a:ext cx="293234" cy="1842509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ヒラギノ角ゴ ProN W3" pitchFamily="-110" charset="-128"/>
                <a:cs typeface="ヒラギノ角ゴ ProN W3" pitchFamily="-110" charset="-128"/>
                <a:sym typeface="Arial" pitchFamily="-110" charset="0"/>
              </a:endParaRPr>
            </a:p>
          </p:txBody>
        </p:sp>
        <p:sp>
          <p:nvSpPr>
            <p:cNvPr id="244" name="Rectangle 243">
              <a:extLst>
                <a:ext uri="{FF2B5EF4-FFF2-40B4-BE49-F238E27FC236}">
                  <a16:creationId xmlns:a16="http://schemas.microsoft.com/office/drawing/2014/main" id="{B393E9F3-7F6E-4DA2-AACC-FB7409170C27}"/>
                </a:ext>
              </a:extLst>
            </p:cNvPr>
            <p:cNvSpPr/>
            <p:nvPr/>
          </p:nvSpPr>
          <p:spPr bwMode="auto">
            <a:xfrm>
              <a:off x="2126205" y="2414938"/>
              <a:ext cx="293234" cy="1882838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ヒラギノ角ゴ ProN W3" pitchFamily="-110" charset="-128"/>
                <a:cs typeface="ヒラギノ角ゴ ProN W3" pitchFamily="-110" charset="-128"/>
                <a:sym typeface="Arial" pitchFamily="-110" charset="0"/>
              </a:endParaRPr>
            </a:p>
          </p:txBody>
        </p:sp>
        <p:sp>
          <p:nvSpPr>
            <p:cNvPr id="245" name="Rectangle 244">
              <a:extLst>
                <a:ext uri="{FF2B5EF4-FFF2-40B4-BE49-F238E27FC236}">
                  <a16:creationId xmlns:a16="http://schemas.microsoft.com/office/drawing/2014/main" id="{CC50FDAE-67D4-4FE3-BDED-DC00FD5F311E}"/>
                </a:ext>
              </a:extLst>
            </p:cNvPr>
            <p:cNvSpPr/>
            <p:nvPr/>
          </p:nvSpPr>
          <p:spPr bwMode="auto">
            <a:xfrm>
              <a:off x="2879104" y="2425082"/>
              <a:ext cx="293234" cy="1872694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ヒラギノ角ゴ ProN W3" pitchFamily="-110" charset="-128"/>
                <a:cs typeface="ヒラギノ角ゴ ProN W3" pitchFamily="-110" charset="-128"/>
                <a:sym typeface="Arial" pitchFamily="-110" charset="0"/>
              </a:endParaRPr>
            </a:p>
          </p:txBody>
        </p:sp>
        <p:sp>
          <p:nvSpPr>
            <p:cNvPr id="246" name="Rectangle 245">
              <a:extLst>
                <a:ext uri="{FF2B5EF4-FFF2-40B4-BE49-F238E27FC236}">
                  <a16:creationId xmlns:a16="http://schemas.microsoft.com/office/drawing/2014/main" id="{CCF7789E-5578-4F58-B7C2-BED74DB1C199}"/>
                </a:ext>
              </a:extLst>
            </p:cNvPr>
            <p:cNvSpPr/>
            <p:nvPr/>
          </p:nvSpPr>
          <p:spPr bwMode="auto">
            <a:xfrm>
              <a:off x="3653629" y="2271936"/>
              <a:ext cx="293234" cy="2025840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ヒラギノ角ゴ ProN W3" pitchFamily="-110" charset="-128"/>
                <a:cs typeface="ヒラギノ角ゴ ProN W3" pitchFamily="-110" charset="-128"/>
                <a:sym typeface="Arial" pitchFamily="-110" charset="0"/>
              </a:endParaRPr>
            </a:p>
          </p:txBody>
        </p:sp>
        <p:sp>
          <p:nvSpPr>
            <p:cNvPr id="247" name="Rectangle 246">
              <a:extLst>
                <a:ext uri="{FF2B5EF4-FFF2-40B4-BE49-F238E27FC236}">
                  <a16:creationId xmlns:a16="http://schemas.microsoft.com/office/drawing/2014/main" id="{5E53A03C-0634-4797-BFC1-4915D4AEFCDB}"/>
                </a:ext>
              </a:extLst>
            </p:cNvPr>
            <p:cNvSpPr/>
            <p:nvPr/>
          </p:nvSpPr>
          <p:spPr bwMode="auto">
            <a:xfrm>
              <a:off x="4411620" y="2488142"/>
              <a:ext cx="293234" cy="1809634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ヒラギノ角ゴ ProN W3" pitchFamily="-110" charset="-128"/>
                <a:cs typeface="ヒラギノ角ゴ ProN W3" pitchFamily="-110" charset="-128"/>
                <a:sym typeface="Arial" pitchFamily="-110" charset="0"/>
              </a:endParaRPr>
            </a:p>
          </p:txBody>
        </p:sp>
        <p:sp>
          <p:nvSpPr>
            <p:cNvPr id="248" name="Rectangle 247">
              <a:extLst>
                <a:ext uri="{FF2B5EF4-FFF2-40B4-BE49-F238E27FC236}">
                  <a16:creationId xmlns:a16="http://schemas.microsoft.com/office/drawing/2014/main" id="{3C4445BD-A0F7-4C63-8637-777D21F254BE}"/>
                </a:ext>
              </a:extLst>
            </p:cNvPr>
            <p:cNvSpPr/>
            <p:nvPr/>
          </p:nvSpPr>
          <p:spPr bwMode="auto">
            <a:xfrm>
              <a:off x="5179042" y="2401953"/>
              <a:ext cx="293234" cy="1895823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ヒラギノ角ゴ ProN W3" pitchFamily="-110" charset="-128"/>
                <a:cs typeface="ヒラギノ角ゴ ProN W3" pitchFamily="-110" charset="-128"/>
                <a:sym typeface="Arial" pitchFamily="-110" charset="0"/>
              </a:endParaRPr>
            </a:p>
          </p:txBody>
        </p:sp>
        <p:sp>
          <p:nvSpPr>
            <p:cNvPr id="249" name="TextBox 248">
              <a:extLst>
                <a:ext uri="{FF2B5EF4-FFF2-40B4-BE49-F238E27FC236}">
                  <a16:creationId xmlns:a16="http://schemas.microsoft.com/office/drawing/2014/main" id="{CD173F8C-D821-44FE-8021-CE77E0D5E3E1}"/>
                </a:ext>
              </a:extLst>
            </p:cNvPr>
            <p:cNvSpPr txBox="1"/>
            <p:nvPr/>
          </p:nvSpPr>
          <p:spPr>
            <a:xfrm rot="16200000">
              <a:off x="-1155634" y="2689645"/>
              <a:ext cx="324451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+mn-cs"/>
                </a:rPr>
                <a:t>Функциональный класс III/IV </a:t>
              </a:r>
              <a:br>
                <a:rPr kumimoji="0" lang="ru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+mn-cs"/>
                </a:rPr>
              </a:br>
              <a:r>
                <a:rPr kumimoji="0" lang="ru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+mn-cs"/>
                </a:rPr>
                <a:t>(% когорты)</a:t>
              </a:r>
            </a:p>
          </p:txBody>
        </p:sp>
        <p:sp>
          <p:nvSpPr>
            <p:cNvPr id="250" name="TextBox 249">
              <a:extLst>
                <a:ext uri="{FF2B5EF4-FFF2-40B4-BE49-F238E27FC236}">
                  <a16:creationId xmlns:a16="http://schemas.microsoft.com/office/drawing/2014/main" id="{C4B1B1E3-DD7F-4413-AF05-11258627D1B3}"/>
                </a:ext>
              </a:extLst>
            </p:cNvPr>
            <p:cNvSpPr txBox="1"/>
            <p:nvPr/>
          </p:nvSpPr>
          <p:spPr>
            <a:xfrm rot="18900000">
              <a:off x="785174" y="4537283"/>
              <a:ext cx="914033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4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+mn-cs"/>
                </a:rPr>
                <a:t>REVEAL</a:t>
              </a:r>
            </a:p>
          </p:txBody>
        </p:sp>
        <p:sp>
          <p:nvSpPr>
            <p:cNvPr id="251" name="TextBox 250">
              <a:extLst>
                <a:ext uri="{FF2B5EF4-FFF2-40B4-BE49-F238E27FC236}">
                  <a16:creationId xmlns:a16="http://schemas.microsoft.com/office/drawing/2014/main" id="{3F354937-B072-40F8-A372-93F354EEDA46}"/>
                </a:ext>
              </a:extLst>
            </p:cNvPr>
            <p:cNvSpPr txBox="1"/>
            <p:nvPr/>
          </p:nvSpPr>
          <p:spPr>
            <a:xfrm rot="18900000">
              <a:off x="1225279" y="4684048"/>
              <a:ext cx="1329146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4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+mn-cs"/>
                </a:rPr>
                <a:t>REVEAL FCC</a:t>
              </a:r>
            </a:p>
          </p:txBody>
        </p:sp>
        <p:sp>
          <p:nvSpPr>
            <p:cNvPr id="252" name="TextBox 251">
              <a:extLst>
                <a:ext uri="{FF2B5EF4-FFF2-40B4-BE49-F238E27FC236}">
                  <a16:creationId xmlns:a16="http://schemas.microsoft.com/office/drawing/2014/main" id="{4CB80037-7069-46F5-9E67-0DC3F0302FB8}"/>
                </a:ext>
              </a:extLst>
            </p:cNvPr>
            <p:cNvSpPr txBox="1"/>
            <p:nvPr/>
          </p:nvSpPr>
          <p:spPr>
            <a:xfrm rot="18900000">
              <a:off x="2008675" y="4663078"/>
              <a:ext cx="1269836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4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+mn-cs"/>
                </a:rPr>
                <a:t>REVEAL NIH</a:t>
              </a:r>
            </a:p>
          </p:txBody>
        </p:sp>
        <p:sp>
          <p:nvSpPr>
            <p:cNvPr id="253" name="TextBox 252">
              <a:extLst>
                <a:ext uri="{FF2B5EF4-FFF2-40B4-BE49-F238E27FC236}">
                  <a16:creationId xmlns:a16="http://schemas.microsoft.com/office/drawing/2014/main" id="{D27A93FF-F6A7-4DBF-9502-8B613A6E7D37}"/>
                </a:ext>
              </a:extLst>
            </p:cNvPr>
            <p:cNvSpPr txBox="1"/>
            <p:nvPr/>
          </p:nvSpPr>
          <p:spPr>
            <a:xfrm rot="18900000">
              <a:off x="2597706" y="4732810"/>
              <a:ext cx="146706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4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+mn-cs"/>
                </a:rPr>
                <a:t>PH Connection</a:t>
              </a:r>
            </a:p>
          </p:txBody>
        </p:sp>
        <p:sp>
          <p:nvSpPr>
            <p:cNvPr id="254" name="TextBox 253">
              <a:extLst>
                <a:ext uri="{FF2B5EF4-FFF2-40B4-BE49-F238E27FC236}">
                  <a16:creationId xmlns:a16="http://schemas.microsoft.com/office/drawing/2014/main" id="{A5EF70C1-3AC4-4173-AB81-D81FA31955E9}"/>
                </a:ext>
              </a:extLst>
            </p:cNvPr>
            <p:cNvSpPr txBox="1"/>
            <p:nvPr/>
          </p:nvSpPr>
          <p:spPr>
            <a:xfrm rot="18900000">
              <a:off x="4164597" y="4432887"/>
              <a:ext cx="494046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4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+mn-cs"/>
                </a:rPr>
                <a:t>NIH</a:t>
              </a:r>
            </a:p>
          </p:txBody>
        </p:sp>
        <p:sp>
          <p:nvSpPr>
            <p:cNvPr id="255" name="TextBox 254">
              <a:extLst>
                <a:ext uri="{FF2B5EF4-FFF2-40B4-BE49-F238E27FC236}">
                  <a16:creationId xmlns:a16="http://schemas.microsoft.com/office/drawing/2014/main" id="{D1C81804-7416-455A-B101-E883E2FFBC88}"/>
                </a:ext>
              </a:extLst>
            </p:cNvPr>
            <p:cNvSpPr txBox="1"/>
            <p:nvPr/>
          </p:nvSpPr>
          <p:spPr>
            <a:xfrm rot="18900000">
              <a:off x="4159034" y="4653427"/>
              <a:ext cx="1408912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+mn-cs"/>
                </a:rPr>
                <a:t>Французский </a:t>
              </a:r>
              <a:br>
                <a:rPr kumimoji="0" lang="ru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+mn-cs"/>
                </a:rPr>
              </a:br>
              <a:r>
                <a:rPr kumimoji="0" lang="ru-RU" sz="1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+mn-cs"/>
                </a:rPr>
                <a:t>регист</a:t>
              </a:r>
              <a:r>
                <a:rPr kumimoji="0" lang="ru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+mn-cs"/>
                </a:rPr>
                <a:t>р</a:t>
              </a:r>
            </a:p>
          </p:txBody>
        </p:sp>
        <p:sp>
          <p:nvSpPr>
            <p:cNvPr id="256" name="TextBox 255">
              <a:extLst>
                <a:ext uri="{FF2B5EF4-FFF2-40B4-BE49-F238E27FC236}">
                  <a16:creationId xmlns:a16="http://schemas.microsoft.com/office/drawing/2014/main" id="{0B25B545-00DF-43A1-B9FA-782CD2F2E688}"/>
                </a:ext>
              </a:extLst>
            </p:cNvPr>
            <p:cNvSpPr txBox="1"/>
            <p:nvPr/>
          </p:nvSpPr>
          <p:spPr>
            <a:xfrm>
              <a:off x="636259" y="1655476"/>
              <a:ext cx="43954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+mn-cs"/>
                </a:rPr>
                <a:t>100</a:t>
              </a:r>
            </a:p>
          </p:txBody>
        </p:sp>
        <p:sp>
          <p:nvSpPr>
            <p:cNvPr id="257" name="TextBox 256">
              <a:extLst>
                <a:ext uri="{FF2B5EF4-FFF2-40B4-BE49-F238E27FC236}">
                  <a16:creationId xmlns:a16="http://schemas.microsoft.com/office/drawing/2014/main" id="{22B51796-1D95-4DBB-8826-D680C2B2C968}"/>
                </a:ext>
              </a:extLst>
            </p:cNvPr>
            <p:cNvSpPr txBox="1"/>
            <p:nvPr/>
          </p:nvSpPr>
          <p:spPr>
            <a:xfrm>
              <a:off x="806177" y="4164788"/>
              <a:ext cx="26962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+mn-cs"/>
                </a:rPr>
                <a:t>0</a:t>
              </a:r>
            </a:p>
          </p:txBody>
        </p:sp>
        <p:cxnSp>
          <p:nvCxnSpPr>
            <p:cNvPr id="258" name="Straight Connector 257">
              <a:extLst>
                <a:ext uri="{FF2B5EF4-FFF2-40B4-BE49-F238E27FC236}">
                  <a16:creationId xmlns:a16="http://schemas.microsoft.com/office/drawing/2014/main" id="{AEE89441-8998-4977-9B5E-3B63459C0E17}"/>
                </a:ext>
              </a:extLst>
            </p:cNvPr>
            <p:cNvCxnSpPr/>
            <p:nvPr/>
          </p:nvCxnSpPr>
          <p:spPr bwMode="auto">
            <a:xfrm>
              <a:off x="1136959" y="1781021"/>
              <a:ext cx="0" cy="2522462"/>
            </a:xfrm>
            <a:prstGeom prst="line">
              <a:avLst/>
            </a:prstGeom>
            <a:solidFill>
              <a:srgbClr val="C0C0C0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59" name="Straight Connector 258">
              <a:extLst>
                <a:ext uri="{FF2B5EF4-FFF2-40B4-BE49-F238E27FC236}">
                  <a16:creationId xmlns:a16="http://schemas.microsoft.com/office/drawing/2014/main" id="{9F04F957-EA4B-4080-BE2F-CB10C074991E}"/>
                </a:ext>
              </a:extLst>
            </p:cNvPr>
            <p:cNvCxnSpPr/>
            <p:nvPr/>
          </p:nvCxnSpPr>
          <p:spPr bwMode="auto">
            <a:xfrm>
              <a:off x="1129886" y="4303483"/>
              <a:ext cx="4548360" cy="0"/>
            </a:xfrm>
            <a:prstGeom prst="line">
              <a:avLst/>
            </a:prstGeom>
            <a:solidFill>
              <a:srgbClr val="C0C0C0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60" name="Straight Connector 259">
              <a:extLst>
                <a:ext uri="{FF2B5EF4-FFF2-40B4-BE49-F238E27FC236}">
                  <a16:creationId xmlns:a16="http://schemas.microsoft.com/office/drawing/2014/main" id="{DD30E808-F652-4D54-B39C-05238D666D24}"/>
                </a:ext>
              </a:extLst>
            </p:cNvPr>
            <p:cNvCxnSpPr/>
            <p:nvPr/>
          </p:nvCxnSpPr>
          <p:spPr bwMode="auto">
            <a:xfrm>
              <a:off x="1489671" y="2395981"/>
              <a:ext cx="0" cy="104602"/>
            </a:xfrm>
            <a:prstGeom prst="line">
              <a:avLst/>
            </a:prstGeom>
            <a:solidFill>
              <a:srgbClr val="C0C0C0"/>
            </a:solidFill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61" name="Straight Connector 260">
              <a:extLst>
                <a:ext uri="{FF2B5EF4-FFF2-40B4-BE49-F238E27FC236}">
                  <a16:creationId xmlns:a16="http://schemas.microsoft.com/office/drawing/2014/main" id="{CCBE0EF5-959C-473E-AB31-1D6734B1F894}"/>
                </a:ext>
              </a:extLst>
            </p:cNvPr>
            <p:cNvCxnSpPr/>
            <p:nvPr/>
          </p:nvCxnSpPr>
          <p:spPr bwMode="auto">
            <a:xfrm>
              <a:off x="1445221" y="2395981"/>
              <a:ext cx="95250" cy="0"/>
            </a:xfrm>
            <a:prstGeom prst="line">
              <a:avLst/>
            </a:prstGeom>
            <a:solidFill>
              <a:srgbClr val="C0C0C0"/>
            </a:solidFill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62" name="Straight Connector 261">
              <a:extLst>
                <a:ext uri="{FF2B5EF4-FFF2-40B4-BE49-F238E27FC236}">
                  <a16:creationId xmlns:a16="http://schemas.microsoft.com/office/drawing/2014/main" id="{93B4F77A-8F47-45C6-95F8-2A33B7BD01C0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445221" y="2495078"/>
              <a:ext cx="95250" cy="0"/>
            </a:xfrm>
            <a:prstGeom prst="line">
              <a:avLst/>
            </a:prstGeom>
            <a:solidFill>
              <a:srgbClr val="C0C0C0"/>
            </a:solidFill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63" name="Straight Connector 262">
              <a:extLst>
                <a:ext uri="{FF2B5EF4-FFF2-40B4-BE49-F238E27FC236}">
                  <a16:creationId xmlns:a16="http://schemas.microsoft.com/office/drawing/2014/main" id="{F560737A-3830-4634-AF14-5F5F9041E74B}"/>
                </a:ext>
              </a:extLst>
            </p:cNvPr>
            <p:cNvCxnSpPr/>
            <p:nvPr/>
          </p:nvCxnSpPr>
          <p:spPr bwMode="auto">
            <a:xfrm>
              <a:off x="2259800" y="2390475"/>
              <a:ext cx="0" cy="104602"/>
            </a:xfrm>
            <a:prstGeom prst="line">
              <a:avLst/>
            </a:prstGeom>
            <a:solidFill>
              <a:srgbClr val="C0C0C0"/>
            </a:solidFill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64" name="Straight Connector 263">
              <a:extLst>
                <a:ext uri="{FF2B5EF4-FFF2-40B4-BE49-F238E27FC236}">
                  <a16:creationId xmlns:a16="http://schemas.microsoft.com/office/drawing/2014/main" id="{54557A54-07F6-4A4B-A608-A6112A1EA44B}"/>
                </a:ext>
              </a:extLst>
            </p:cNvPr>
            <p:cNvCxnSpPr/>
            <p:nvPr/>
          </p:nvCxnSpPr>
          <p:spPr bwMode="auto">
            <a:xfrm>
              <a:off x="2215350" y="2390475"/>
              <a:ext cx="95250" cy="0"/>
            </a:xfrm>
            <a:prstGeom prst="line">
              <a:avLst/>
            </a:prstGeom>
            <a:solidFill>
              <a:srgbClr val="C0C0C0"/>
            </a:solidFill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65" name="Straight Connector 264">
              <a:extLst>
                <a:ext uri="{FF2B5EF4-FFF2-40B4-BE49-F238E27FC236}">
                  <a16:creationId xmlns:a16="http://schemas.microsoft.com/office/drawing/2014/main" id="{87EC0F00-6B8A-4045-BD74-5CA685379B3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215350" y="2489572"/>
              <a:ext cx="95250" cy="0"/>
            </a:xfrm>
            <a:prstGeom prst="line">
              <a:avLst/>
            </a:prstGeom>
            <a:solidFill>
              <a:srgbClr val="C0C0C0"/>
            </a:solidFill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66" name="Straight Connector 265">
              <a:extLst>
                <a:ext uri="{FF2B5EF4-FFF2-40B4-BE49-F238E27FC236}">
                  <a16:creationId xmlns:a16="http://schemas.microsoft.com/office/drawing/2014/main" id="{606B36A5-94B6-4A61-A480-7F43AF4A1DC5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021514" y="2366411"/>
              <a:ext cx="0" cy="139676"/>
            </a:xfrm>
            <a:prstGeom prst="line">
              <a:avLst/>
            </a:prstGeom>
            <a:solidFill>
              <a:srgbClr val="C0C0C0"/>
            </a:solidFill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67" name="Straight Connector 266">
              <a:extLst>
                <a:ext uri="{FF2B5EF4-FFF2-40B4-BE49-F238E27FC236}">
                  <a16:creationId xmlns:a16="http://schemas.microsoft.com/office/drawing/2014/main" id="{7B437C82-4369-4048-A7C1-7E6080FA628B}"/>
                </a:ext>
              </a:extLst>
            </p:cNvPr>
            <p:cNvCxnSpPr/>
            <p:nvPr/>
          </p:nvCxnSpPr>
          <p:spPr bwMode="auto">
            <a:xfrm>
              <a:off x="2977064" y="2370644"/>
              <a:ext cx="95250" cy="0"/>
            </a:xfrm>
            <a:prstGeom prst="line">
              <a:avLst/>
            </a:prstGeom>
            <a:solidFill>
              <a:srgbClr val="C0C0C0"/>
            </a:solidFill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68" name="Straight Connector 267">
              <a:extLst>
                <a:ext uri="{FF2B5EF4-FFF2-40B4-BE49-F238E27FC236}">
                  <a16:creationId xmlns:a16="http://schemas.microsoft.com/office/drawing/2014/main" id="{2F8561C4-A7B0-4E9D-9389-6474C3B53F05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970714" y="2504045"/>
              <a:ext cx="95250" cy="0"/>
            </a:xfrm>
            <a:prstGeom prst="line">
              <a:avLst/>
            </a:prstGeom>
            <a:solidFill>
              <a:srgbClr val="C0C0C0"/>
            </a:solidFill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69" name="Straight Connector 268">
              <a:extLst>
                <a:ext uri="{FF2B5EF4-FFF2-40B4-BE49-F238E27FC236}">
                  <a16:creationId xmlns:a16="http://schemas.microsoft.com/office/drawing/2014/main" id="{4B1F702D-EC68-41A1-B9C3-81C346ECE95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790704" y="2173725"/>
              <a:ext cx="0" cy="154150"/>
            </a:xfrm>
            <a:prstGeom prst="line">
              <a:avLst/>
            </a:prstGeom>
            <a:solidFill>
              <a:srgbClr val="C0C0C0"/>
            </a:solidFill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0" name="Straight Connector 269">
              <a:extLst>
                <a:ext uri="{FF2B5EF4-FFF2-40B4-BE49-F238E27FC236}">
                  <a16:creationId xmlns:a16="http://schemas.microsoft.com/office/drawing/2014/main" id="{BE8A03A4-90E8-4256-BB15-7265C7027606}"/>
                </a:ext>
              </a:extLst>
            </p:cNvPr>
            <p:cNvCxnSpPr/>
            <p:nvPr/>
          </p:nvCxnSpPr>
          <p:spPr bwMode="auto">
            <a:xfrm>
              <a:off x="3743079" y="2173725"/>
              <a:ext cx="95250" cy="0"/>
            </a:xfrm>
            <a:prstGeom prst="line">
              <a:avLst/>
            </a:prstGeom>
            <a:solidFill>
              <a:srgbClr val="C0C0C0"/>
            </a:solidFill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1" name="Straight Connector 270">
              <a:extLst>
                <a:ext uri="{FF2B5EF4-FFF2-40B4-BE49-F238E27FC236}">
                  <a16:creationId xmlns:a16="http://schemas.microsoft.com/office/drawing/2014/main" id="{09394DBF-3497-4994-9741-596861C3FA2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746254" y="2327875"/>
              <a:ext cx="95250" cy="0"/>
            </a:xfrm>
            <a:prstGeom prst="line">
              <a:avLst/>
            </a:prstGeom>
            <a:solidFill>
              <a:srgbClr val="C0C0C0"/>
            </a:solidFill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2" name="Straight Connector 271">
              <a:extLst>
                <a:ext uri="{FF2B5EF4-FFF2-40B4-BE49-F238E27FC236}">
                  <a16:creationId xmlns:a16="http://schemas.microsoft.com/office/drawing/2014/main" id="{782A1DBC-F2AC-4206-AB7B-D052B34940F2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550905" y="2314111"/>
              <a:ext cx="0" cy="330322"/>
            </a:xfrm>
            <a:prstGeom prst="line">
              <a:avLst/>
            </a:prstGeom>
            <a:solidFill>
              <a:srgbClr val="C0C0C0"/>
            </a:solidFill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3" name="Straight Connector 272">
              <a:extLst>
                <a:ext uri="{FF2B5EF4-FFF2-40B4-BE49-F238E27FC236}">
                  <a16:creationId xmlns:a16="http://schemas.microsoft.com/office/drawing/2014/main" id="{EDC806B6-829C-4228-90F6-AC4B3FB47F06}"/>
                </a:ext>
              </a:extLst>
            </p:cNvPr>
            <p:cNvCxnSpPr/>
            <p:nvPr/>
          </p:nvCxnSpPr>
          <p:spPr bwMode="auto">
            <a:xfrm>
              <a:off x="4506455" y="2314111"/>
              <a:ext cx="95250" cy="0"/>
            </a:xfrm>
            <a:prstGeom prst="line">
              <a:avLst/>
            </a:prstGeom>
            <a:solidFill>
              <a:srgbClr val="C0C0C0"/>
            </a:solidFill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4" name="Straight Connector 273">
              <a:extLst>
                <a:ext uri="{FF2B5EF4-FFF2-40B4-BE49-F238E27FC236}">
                  <a16:creationId xmlns:a16="http://schemas.microsoft.com/office/drawing/2014/main" id="{AF0DB2C4-EC0E-428C-9296-C9BA2E090FE1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506455" y="2644433"/>
              <a:ext cx="95250" cy="0"/>
            </a:xfrm>
            <a:prstGeom prst="line">
              <a:avLst/>
            </a:prstGeom>
            <a:solidFill>
              <a:srgbClr val="C0C0C0"/>
            </a:solidFill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5" name="Straight Connector 274">
              <a:extLst>
                <a:ext uri="{FF2B5EF4-FFF2-40B4-BE49-F238E27FC236}">
                  <a16:creationId xmlns:a16="http://schemas.microsoft.com/office/drawing/2014/main" id="{2AAF5531-F778-485B-9947-B7E9C486B796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320755" y="2299887"/>
              <a:ext cx="0" cy="148393"/>
            </a:xfrm>
            <a:prstGeom prst="line">
              <a:avLst/>
            </a:prstGeom>
            <a:solidFill>
              <a:srgbClr val="C0C0C0"/>
            </a:solidFill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6" name="Straight Connector 275">
              <a:extLst>
                <a:ext uri="{FF2B5EF4-FFF2-40B4-BE49-F238E27FC236}">
                  <a16:creationId xmlns:a16="http://schemas.microsoft.com/office/drawing/2014/main" id="{3B4DAC0C-AD18-474F-8CE8-8E13E7A62791}"/>
                </a:ext>
              </a:extLst>
            </p:cNvPr>
            <p:cNvCxnSpPr/>
            <p:nvPr/>
          </p:nvCxnSpPr>
          <p:spPr bwMode="auto">
            <a:xfrm>
              <a:off x="5276305" y="2299887"/>
              <a:ext cx="95250" cy="0"/>
            </a:xfrm>
            <a:prstGeom prst="line">
              <a:avLst/>
            </a:prstGeom>
            <a:solidFill>
              <a:srgbClr val="C0C0C0"/>
            </a:solidFill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7" name="Straight Connector 276">
              <a:extLst>
                <a:ext uri="{FF2B5EF4-FFF2-40B4-BE49-F238E27FC236}">
                  <a16:creationId xmlns:a16="http://schemas.microsoft.com/office/drawing/2014/main" id="{D3B5D399-97BB-45F5-B734-C1F30FE4F154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276305" y="2454037"/>
              <a:ext cx="95250" cy="0"/>
            </a:xfrm>
            <a:prstGeom prst="line">
              <a:avLst/>
            </a:prstGeom>
            <a:solidFill>
              <a:srgbClr val="C0C0C0"/>
            </a:solidFill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78" name="TextBox 277">
              <a:extLst>
                <a:ext uri="{FF2B5EF4-FFF2-40B4-BE49-F238E27FC236}">
                  <a16:creationId xmlns:a16="http://schemas.microsoft.com/office/drawing/2014/main" id="{10711C03-7034-4A51-9B7F-5FB0FE11D349}"/>
                </a:ext>
              </a:extLst>
            </p:cNvPr>
            <p:cNvSpPr txBox="1"/>
            <p:nvPr/>
          </p:nvSpPr>
          <p:spPr>
            <a:xfrm>
              <a:off x="721218" y="2157338"/>
              <a:ext cx="35458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+mn-cs"/>
                </a:rPr>
                <a:t>80</a:t>
              </a:r>
            </a:p>
          </p:txBody>
        </p:sp>
        <p:sp>
          <p:nvSpPr>
            <p:cNvPr id="279" name="TextBox 278">
              <a:extLst>
                <a:ext uri="{FF2B5EF4-FFF2-40B4-BE49-F238E27FC236}">
                  <a16:creationId xmlns:a16="http://schemas.microsoft.com/office/drawing/2014/main" id="{39691AA0-9083-4BE5-B571-6968691F375C}"/>
                </a:ext>
              </a:extLst>
            </p:cNvPr>
            <p:cNvSpPr txBox="1"/>
            <p:nvPr/>
          </p:nvSpPr>
          <p:spPr>
            <a:xfrm>
              <a:off x="721218" y="2659200"/>
              <a:ext cx="35458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+mn-cs"/>
                </a:rPr>
                <a:t>60</a:t>
              </a:r>
            </a:p>
          </p:txBody>
        </p:sp>
        <p:sp>
          <p:nvSpPr>
            <p:cNvPr id="280" name="TextBox 279">
              <a:extLst>
                <a:ext uri="{FF2B5EF4-FFF2-40B4-BE49-F238E27FC236}">
                  <a16:creationId xmlns:a16="http://schemas.microsoft.com/office/drawing/2014/main" id="{2D384D18-5856-4D62-89D2-FA7871D935C6}"/>
                </a:ext>
              </a:extLst>
            </p:cNvPr>
            <p:cNvSpPr txBox="1"/>
            <p:nvPr/>
          </p:nvSpPr>
          <p:spPr>
            <a:xfrm>
              <a:off x="721218" y="3161062"/>
              <a:ext cx="35458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+mn-cs"/>
                </a:rPr>
                <a:t>40</a:t>
              </a:r>
            </a:p>
          </p:txBody>
        </p:sp>
        <p:sp>
          <p:nvSpPr>
            <p:cNvPr id="281" name="TextBox 280">
              <a:extLst>
                <a:ext uri="{FF2B5EF4-FFF2-40B4-BE49-F238E27FC236}">
                  <a16:creationId xmlns:a16="http://schemas.microsoft.com/office/drawing/2014/main" id="{0C1F823B-1CB9-4593-B331-580151A0ADFE}"/>
                </a:ext>
              </a:extLst>
            </p:cNvPr>
            <p:cNvSpPr txBox="1"/>
            <p:nvPr/>
          </p:nvSpPr>
          <p:spPr>
            <a:xfrm>
              <a:off x="721218" y="3662924"/>
              <a:ext cx="35458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+mn-cs"/>
                </a:rPr>
                <a:t>20</a:t>
              </a:r>
            </a:p>
          </p:txBody>
        </p:sp>
        <p:sp>
          <p:nvSpPr>
            <p:cNvPr id="282" name="TextBox 281">
              <a:extLst>
                <a:ext uri="{FF2B5EF4-FFF2-40B4-BE49-F238E27FC236}">
                  <a16:creationId xmlns:a16="http://schemas.microsoft.com/office/drawing/2014/main" id="{23417EAB-41A6-4635-B1F6-FE5CFEE4EBCA}"/>
                </a:ext>
              </a:extLst>
            </p:cNvPr>
            <p:cNvSpPr txBox="1"/>
            <p:nvPr/>
          </p:nvSpPr>
          <p:spPr>
            <a:xfrm>
              <a:off x="1317789" y="3175521"/>
              <a:ext cx="35458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2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+mn-cs"/>
                </a:rPr>
                <a:t>72</a:t>
              </a:r>
            </a:p>
          </p:txBody>
        </p:sp>
        <p:sp>
          <p:nvSpPr>
            <p:cNvPr id="283" name="TextBox 282">
              <a:extLst>
                <a:ext uri="{FF2B5EF4-FFF2-40B4-BE49-F238E27FC236}">
                  <a16:creationId xmlns:a16="http://schemas.microsoft.com/office/drawing/2014/main" id="{DEBA8514-1022-46EC-824C-07600BD0E630}"/>
                </a:ext>
              </a:extLst>
            </p:cNvPr>
            <p:cNvSpPr txBox="1"/>
            <p:nvPr/>
          </p:nvSpPr>
          <p:spPr>
            <a:xfrm>
              <a:off x="2093311" y="3182172"/>
              <a:ext cx="35458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2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+mn-cs"/>
                </a:rPr>
                <a:t>73</a:t>
              </a:r>
            </a:p>
          </p:txBody>
        </p:sp>
        <p:sp>
          <p:nvSpPr>
            <p:cNvPr id="284" name="TextBox 283">
              <a:extLst>
                <a:ext uri="{FF2B5EF4-FFF2-40B4-BE49-F238E27FC236}">
                  <a16:creationId xmlns:a16="http://schemas.microsoft.com/office/drawing/2014/main" id="{8F88E361-3EF7-4796-A0A8-D16DE4092FC7}"/>
                </a:ext>
              </a:extLst>
            </p:cNvPr>
            <p:cNvSpPr txBox="1"/>
            <p:nvPr/>
          </p:nvSpPr>
          <p:spPr>
            <a:xfrm>
              <a:off x="2844285" y="3173715"/>
              <a:ext cx="35458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2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+mn-cs"/>
                </a:rPr>
                <a:t>73</a:t>
              </a:r>
            </a:p>
          </p:txBody>
        </p:sp>
        <p:sp>
          <p:nvSpPr>
            <p:cNvPr id="285" name="TextBox 284">
              <a:extLst>
                <a:ext uri="{FF2B5EF4-FFF2-40B4-BE49-F238E27FC236}">
                  <a16:creationId xmlns:a16="http://schemas.microsoft.com/office/drawing/2014/main" id="{231BD1A7-B458-4A91-96F7-9942A0BDAE96}"/>
                </a:ext>
              </a:extLst>
            </p:cNvPr>
            <p:cNvSpPr txBox="1"/>
            <p:nvPr/>
          </p:nvSpPr>
          <p:spPr>
            <a:xfrm>
              <a:off x="3622449" y="3173715"/>
              <a:ext cx="35458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2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+mn-cs"/>
                </a:rPr>
                <a:t>80</a:t>
              </a:r>
            </a:p>
          </p:txBody>
        </p:sp>
        <p:sp>
          <p:nvSpPr>
            <p:cNvPr id="286" name="TextBox 285">
              <a:extLst>
                <a:ext uri="{FF2B5EF4-FFF2-40B4-BE49-F238E27FC236}">
                  <a16:creationId xmlns:a16="http://schemas.microsoft.com/office/drawing/2014/main" id="{45D416BE-5AF8-43CE-8E82-59020349C7E3}"/>
                </a:ext>
              </a:extLst>
            </p:cNvPr>
            <p:cNvSpPr txBox="1"/>
            <p:nvPr/>
          </p:nvSpPr>
          <p:spPr>
            <a:xfrm>
              <a:off x="4385277" y="3182172"/>
              <a:ext cx="35458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2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+mn-cs"/>
                </a:rPr>
                <a:t>71</a:t>
              </a:r>
            </a:p>
          </p:txBody>
        </p:sp>
        <p:sp>
          <p:nvSpPr>
            <p:cNvPr id="287" name="TextBox 286">
              <a:extLst>
                <a:ext uri="{FF2B5EF4-FFF2-40B4-BE49-F238E27FC236}">
                  <a16:creationId xmlns:a16="http://schemas.microsoft.com/office/drawing/2014/main" id="{CBA09405-2B5E-4571-A7F8-6250BCBE79BD}"/>
                </a:ext>
              </a:extLst>
            </p:cNvPr>
            <p:cNvSpPr txBox="1"/>
            <p:nvPr/>
          </p:nvSpPr>
          <p:spPr>
            <a:xfrm>
              <a:off x="5148296" y="3190505"/>
              <a:ext cx="35458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2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+mn-cs"/>
                </a:rPr>
                <a:t>75</a:t>
              </a:r>
            </a:p>
          </p:txBody>
        </p:sp>
        <p:cxnSp>
          <p:nvCxnSpPr>
            <p:cNvPr id="288" name="Straight Connector 287">
              <a:extLst>
                <a:ext uri="{FF2B5EF4-FFF2-40B4-BE49-F238E27FC236}">
                  <a16:creationId xmlns:a16="http://schemas.microsoft.com/office/drawing/2014/main" id="{AD0CAEAB-2F8E-49E0-B703-63907EA7796E}"/>
                </a:ext>
              </a:extLst>
            </p:cNvPr>
            <p:cNvCxnSpPr/>
            <p:nvPr/>
          </p:nvCxnSpPr>
          <p:spPr bwMode="auto">
            <a:xfrm>
              <a:off x="1057886" y="1787734"/>
              <a:ext cx="72000" cy="0"/>
            </a:xfrm>
            <a:prstGeom prst="line">
              <a:avLst/>
            </a:prstGeom>
            <a:solidFill>
              <a:srgbClr val="C0C0C0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89" name="Straight Connector 288">
              <a:extLst>
                <a:ext uri="{FF2B5EF4-FFF2-40B4-BE49-F238E27FC236}">
                  <a16:creationId xmlns:a16="http://schemas.microsoft.com/office/drawing/2014/main" id="{3B5645EA-93A8-40A0-B582-307DB06A5A61}"/>
                </a:ext>
              </a:extLst>
            </p:cNvPr>
            <p:cNvCxnSpPr/>
            <p:nvPr/>
          </p:nvCxnSpPr>
          <p:spPr bwMode="auto">
            <a:xfrm>
              <a:off x="1057886" y="4303497"/>
              <a:ext cx="72000" cy="0"/>
            </a:xfrm>
            <a:prstGeom prst="line">
              <a:avLst/>
            </a:prstGeom>
            <a:solidFill>
              <a:srgbClr val="C0C0C0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0" name="Straight Connector 289">
              <a:extLst>
                <a:ext uri="{FF2B5EF4-FFF2-40B4-BE49-F238E27FC236}">
                  <a16:creationId xmlns:a16="http://schemas.microsoft.com/office/drawing/2014/main" id="{AC42917F-6513-47EF-AEDB-30A830819485}"/>
                </a:ext>
              </a:extLst>
            </p:cNvPr>
            <p:cNvCxnSpPr/>
            <p:nvPr/>
          </p:nvCxnSpPr>
          <p:spPr bwMode="auto">
            <a:xfrm>
              <a:off x="1057886" y="2290887"/>
              <a:ext cx="72000" cy="0"/>
            </a:xfrm>
            <a:prstGeom prst="line">
              <a:avLst/>
            </a:prstGeom>
            <a:solidFill>
              <a:srgbClr val="C0C0C0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1" name="Straight Connector 290">
              <a:extLst>
                <a:ext uri="{FF2B5EF4-FFF2-40B4-BE49-F238E27FC236}">
                  <a16:creationId xmlns:a16="http://schemas.microsoft.com/office/drawing/2014/main" id="{C01E1700-7556-4A98-AA46-E1F53BEFEB91}"/>
                </a:ext>
              </a:extLst>
            </p:cNvPr>
            <p:cNvCxnSpPr/>
            <p:nvPr/>
          </p:nvCxnSpPr>
          <p:spPr bwMode="auto">
            <a:xfrm>
              <a:off x="1057886" y="2794040"/>
              <a:ext cx="72000" cy="0"/>
            </a:xfrm>
            <a:prstGeom prst="line">
              <a:avLst/>
            </a:prstGeom>
            <a:solidFill>
              <a:srgbClr val="C0C0C0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2" name="Straight Connector 291">
              <a:extLst>
                <a:ext uri="{FF2B5EF4-FFF2-40B4-BE49-F238E27FC236}">
                  <a16:creationId xmlns:a16="http://schemas.microsoft.com/office/drawing/2014/main" id="{2DD8F6F4-15EB-4E36-9673-A3740FE2784D}"/>
                </a:ext>
              </a:extLst>
            </p:cNvPr>
            <p:cNvCxnSpPr/>
            <p:nvPr/>
          </p:nvCxnSpPr>
          <p:spPr bwMode="auto">
            <a:xfrm>
              <a:off x="1057886" y="3297193"/>
              <a:ext cx="72000" cy="0"/>
            </a:xfrm>
            <a:prstGeom prst="line">
              <a:avLst/>
            </a:prstGeom>
            <a:solidFill>
              <a:srgbClr val="C0C0C0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3" name="Straight Connector 292">
              <a:extLst>
                <a:ext uri="{FF2B5EF4-FFF2-40B4-BE49-F238E27FC236}">
                  <a16:creationId xmlns:a16="http://schemas.microsoft.com/office/drawing/2014/main" id="{80720AB9-3A64-437B-A7B7-E5E47B304799}"/>
                </a:ext>
              </a:extLst>
            </p:cNvPr>
            <p:cNvCxnSpPr/>
            <p:nvPr/>
          </p:nvCxnSpPr>
          <p:spPr bwMode="auto">
            <a:xfrm>
              <a:off x="1057886" y="3800346"/>
              <a:ext cx="72000" cy="0"/>
            </a:xfrm>
            <a:prstGeom prst="line">
              <a:avLst/>
            </a:prstGeom>
            <a:solidFill>
              <a:srgbClr val="C0C0C0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8255890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6BB1151-5563-4032-BA53-D949FDC9F5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4000" y="748755"/>
            <a:ext cx="10297336" cy="480000"/>
          </a:xfrm>
        </p:spPr>
        <p:txBody>
          <a:bodyPr rtlCol="0"/>
          <a:lstStyle/>
          <a:p>
            <a:pPr lvl="0" rtl="0"/>
            <a:r>
              <a:rPr lang="ru" sz="2400" dirty="0"/>
              <a:t>Выживаемость пациентов с ЛАГ остается недостаточной: показатель выживаемости через 5 лет по-прежнему </a:t>
            </a:r>
            <a:br>
              <a:rPr lang="ru" sz="2400" dirty="0"/>
            </a:br>
            <a:r>
              <a:rPr lang="ru" sz="2400" dirty="0"/>
              <a:t>не превышает 80 % по данным более новых </a:t>
            </a:r>
            <a:r>
              <a:rPr lang="ru-RU" sz="2400" dirty="0" err="1"/>
              <a:t>регист</a:t>
            </a:r>
            <a:r>
              <a:rPr lang="ru" sz="2400" dirty="0"/>
              <a:t>ров</a:t>
            </a:r>
            <a:r>
              <a:rPr lang="ru" sz="2400" baseline="30000" dirty="0"/>
              <a:t>1–6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6667AAC-FE5E-4C6B-9EE8-52C719219B3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92188" y="6237288"/>
            <a:ext cx="8368175" cy="552738"/>
          </a:xfrm>
        </p:spPr>
        <p:txBody>
          <a:bodyPr rtlCol="0"/>
          <a:lstStyle/>
          <a:p>
            <a:pPr rtl="0"/>
            <a:r>
              <a:rPr lang="ru" sz="800" dirty="0"/>
              <a:t>NIH: Национальные институты здравоохранения США </a:t>
            </a:r>
          </a:p>
          <a:p>
            <a:r>
              <a:rPr lang="ru" sz="800" dirty="0"/>
              <a:t>1. </a:t>
            </a:r>
            <a:r>
              <a:rPr lang="de-CH" sz="800" dirty="0"/>
              <a:t>Hoeper MM, </a:t>
            </a:r>
            <a:r>
              <a:rPr lang="de-CH" sz="800" i="1" dirty="0"/>
              <a:t>et al. </a:t>
            </a:r>
            <a:r>
              <a:rPr lang="pt-BR" sz="800" i="1" dirty="0"/>
              <a:t>Eur Respir J </a:t>
            </a:r>
            <a:r>
              <a:rPr lang="pt-BR" sz="800" dirty="0"/>
              <a:t>2017; 50:170074; 2. Rådegran</a:t>
            </a:r>
            <a:r>
              <a:rPr lang="en-GB" sz="800" dirty="0"/>
              <a:t> G, </a:t>
            </a:r>
            <a:r>
              <a:rPr lang="en-GB" sz="800" i="1" dirty="0"/>
              <a:t>et al. Scand Cardiovasc J </a:t>
            </a:r>
            <a:r>
              <a:rPr lang="en-GB" sz="800" dirty="0"/>
              <a:t>2016; 50:243-50; 3. National Pulmonary Hypertension Audit 2015. </a:t>
            </a:r>
            <a:r>
              <a:rPr lang="ru-RU" sz="800" dirty="0"/>
              <a:t>Доступно по ссылке</a:t>
            </a:r>
            <a:r>
              <a:rPr lang="en-GB" sz="800" dirty="0"/>
              <a:t>: https://digital.nhs.uk/data-and-information/publications/statistical/national-pulmonary-hypertension-audit/national-pulmonary-hypertension-audit-2015 (</a:t>
            </a:r>
            <a:r>
              <a:rPr lang="ru-RU" sz="800" dirty="0"/>
              <a:t>по состоянию наапрель</a:t>
            </a:r>
            <a:r>
              <a:rPr lang="en-GB" sz="800" dirty="0"/>
              <a:t> 2020); </a:t>
            </a:r>
          </a:p>
          <a:p>
            <a:r>
              <a:rPr lang="en-GB" sz="800" dirty="0"/>
              <a:t>4. Farber HW, </a:t>
            </a:r>
            <a:r>
              <a:rPr lang="en-GB" sz="800" i="1" dirty="0"/>
              <a:t>et al. Chest </a:t>
            </a:r>
            <a:r>
              <a:rPr lang="en-GB" sz="800" dirty="0"/>
              <a:t>2015; 148:1043-54; 5. Korsholm K, </a:t>
            </a:r>
            <a:r>
              <a:rPr lang="en-GB" sz="800" i="1" dirty="0"/>
              <a:t>et al. Pulm Circ </a:t>
            </a:r>
            <a:r>
              <a:rPr lang="en-GB" sz="800" dirty="0"/>
              <a:t>2015; 5:364-9; </a:t>
            </a:r>
            <a:r>
              <a:rPr lang="de-CH" sz="800" dirty="0"/>
              <a:t>6. Benza RL, </a:t>
            </a:r>
            <a:r>
              <a:rPr lang="de-CH" sz="800" i="1" dirty="0"/>
              <a:t>et al. Chest</a:t>
            </a:r>
            <a:r>
              <a:rPr lang="de-CH" sz="800" dirty="0"/>
              <a:t> 2012; 142:448-56. </a:t>
            </a:r>
            <a:endParaRPr lang="en-US" sz="800" dirty="0"/>
          </a:p>
          <a:p>
            <a:pPr rtl="0"/>
            <a:endParaRPr lang="en-US" sz="800" dirty="0"/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5F77F413-BF49-40F5-8588-71430B06B060}"/>
              </a:ext>
            </a:extLst>
          </p:cNvPr>
          <p:cNvSpPr txBox="1"/>
          <p:nvPr/>
        </p:nvSpPr>
        <p:spPr>
          <a:xfrm>
            <a:off x="671585" y="5385347"/>
            <a:ext cx="10969123" cy="505600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800" b="1" i="0" u="none" strike="noStrike" kern="1200" cap="none" spc="0" normalizeH="0" baseline="0" noProof="0">
                <a:ln>
                  <a:noFill/>
                </a:ln>
                <a:solidFill>
                  <a:srgbClr val="40539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Эволюция подхода к лечению ЛАГ привела к улучшению выживаемости</a:t>
            </a:r>
            <a:r>
              <a:rPr kumimoji="0" lang="ru" sz="1800" b="1" i="0" u="none" strike="noStrike" kern="1200" cap="none" spc="0" normalizeH="0" baseline="30000" noProof="0">
                <a:ln>
                  <a:noFill/>
                </a:ln>
                <a:solidFill>
                  <a:srgbClr val="40539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635AD136-75C2-4D78-90F2-8CC847F9B34D}"/>
              </a:ext>
            </a:extLst>
          </p:cNvPr>
          <p:cNvSpPr/>
          <p:nvPr/>
        </p:nvSpPr>
        <p:spPr>
          <a:xfrm>
            <a:off x="1316671" y="1280475"/>
            <a:ext cx="9558659" cy="338554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itchFamily="34" charset="0"/>
              </a:rPr>
              <a:t>Выживаемость по данным регистров ЛАГ REVEAL Франции и США по сравнению с более старыми регистрами США</a:t>
            </a:r>
            <a:r>
              <a:rPr kumimoji="0" lang="ru" sz="1600" b="1" i="0" u="none" strike="noStrike" kern="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itchFamily="34" charset="0"/>
              </a:rPr>
              <a:t>6</a:t>
            </a:r>
            <a:endParaRPr kumimoji="0" lang="en-US" sz="1600" b="1" i="0" u="none" strike="noStrike" kern="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Verdana" panose="020B0604030504040204" pitchFamily="34" charset="0"/>
              <a:cs typeface="+mn-cs"/>
            </a:endParaRPr>
          </a:p>
        </p:txBody>
      </p:sp>
      <p:grpSp>
        <p:nvGrpSpPr>
          <p:cNvPr id="198" name="Group 197">
            <a:extLst>
              <a:ext uri="{FF2B5EF4-FFF2-40B4-BE49-F238E27FC236}">
                <a16:creationId xmlns:a16="http://schemas.microsoft.com/office/drawing/2014/main" id="{AE5C5ECF-D523-465B-BEA5-EDDA15E228F8}"/>
              </a:ext>
            </a:extLst>
          </p:cNvPr>
          <p:cNvGrpSpPr/>
          <p:nvPr/>
        </p:nvGrpSpPr>
        <p:grpSpPr>
          <a:xfrm>
            <a:off x="631767" y="1670266"/>
            <a:ext cx="11443011" cy="3592430"/>
            <a:chOff x="631767" y="1670266"/>
            <a:chExt cx="11443011" cy="3592430"/>
          </a:xfrm>
        </p:grpSpPr>
        <p:sp>
          <p:nvSpPr>
            <p:cNvPr id="199" name="TextBox 198">
              <a:extLst>
                <a:ext uri="{FF2B5EF4-FFF2-40B4-BE49-F238E27FC236}">
                  <a16:creationId xmlns:a16="http://schemas.microsoft.com/office/drawing/2014/main" id="{2A05ED52-D7F2-43D9-AAD6-8A1A999D5C3B}"/>
                </a:ext>
              </a:extLst>
            </p:cNvPr>
            <p:cNvSpPr txBox="1"/>
            <p:nvPr/>
          </p:nvSpPr>
          <p:spPr>
            <a:xfrm>
              <a:off x="2832162" y="1670266"/>
              <a:ext cx="111297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1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90,5 ± 2,2 %</a:t>
              </a:r>
            </a:p>
          </p:txBody>
        </p:sp>
        <p:sp>
          <p:nvSpPr>
            <p:cNvPr id="200" name="Oval 199">
              <a:extLst>
                <a:ext uri="{FF2B5EF4-FFF2-40B4-BE49-F238E27FC236}">
                  <a16:creationId xmlns:a16="http://schemas.microsoft.com/office/drawing/2014/main" id="{6415E497-FF4E-4702-9251-C5A94CA67C2F}"/>
                </a:ext>
              </a:extLst>
            </p:cNvPr>
            <p:cNvSpPr/>
            <p:nvPr/>
          </p:nvSpPr>
          <p:spPr>
            <a:xfrm>
              <a:off x="3297789" y="2003936"/>
              <a:ext cx="108078" cy="124174"/>
            </a:xfrm>
            <a:prstGeom prst="ellipse">
              <a:avLst/>
            </a:prstGeom>
            <a:solidFill>
              <a:srgbClr val="1C75BC"/>
            </a:solidFill>
            <a:ln w="25400" cap="flat" cmpd="sng" algn="ctr">
              <a:solidFill>
                <a:srgbClr val="1C75BC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itchFamily="34" charset="0"/>
              </a:endParaRPr>
            </a:p>
          </p:txBody>
        </p:sp>
        <p:cxnSp>
          <p:nvCxnSpPr>
            <p:cNvPr id="201" name="Straight Connector 200">
              <a:extLst>
                <a:ext uri="{FF2B5EF4-FFF2-40B4-BE49-F238E27FC236}">
                  <a16:creationId xmlns:a16="http://schemas.microsoft.com/office/drawing/2014/main" id="{CD345C8D-6C84-4178-8B40-92CC36FA3DD7}"/>
                </a:ext>
              </a:extLst>
            </p:cNvPr>
            <p:cNvCxnSpPr>
              <a:cxnSpLocks/>
            </p:cNvCxnSpPr>
            <p:nvPr/>
          </p:nvCxnSpPr>
          <p:spPr>
            <a:xfrm>
              <a:off x="2713374" y="4199633"/>
              <a:ext cx="4438136" cy="0"/>
            </a:xfrm>
            <a:prstGeom prst="line">
              <a:avLst/>
            </a:prstGeom>
            <a:noFill/>
            <a:ln w="19050" cap="flat" cmpd="sng" algn="ctr">
              <a:solidFill>
                <a:srgbClr val="212121"/>
              </a:solidFill>
              <a:prstDash val="solid"/>
            </a:ln>
            <a:effectLst/>
          </p:spPr>
        </p:cxnSp>
        <p:cxnSp>
          <p:nvCxnSpPr>
            <p:cNvPr id="202" name="Straight Connector 201">
              <a:extLst>
                <a:ext uri="{FF2B5EF4-FFF2-40B4-BE49-F238E27FC236}">
                  <a16:creationId xmlns:a16="http://schemas.microsoft.com/office/drawing/2014/main" id="{DC027C2E-B379-4800-9ED4-4D3D58E231E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713374" y="1804860"/>
              <a:ext cx="0" cy="2481964"/>
            </a:xfrm>
            <a:prstGeom prst="line">
              <a:avLst/>
            </a:prstGeom>
            <a:noFill/>
            <a:ln w="19050" cap="flat" cmpd="sng" algn="ctr">
              <a:solidFill>
                <a:srgbClr val="212121"/>
              </a:solidFill>
              <a:prstDash val="solid"/>
            </a:ln>
            <a:effectLst/>
          </p:spPr>
        </p:cxnSp>
        <p:cxnSp>
          <p:nvCxnSpPr>
            <p:cNvPr id="203" name="Straight Connector 202">
              <a:extLst>
                <a:ext uri="{FF2B5EF4-FFF2-40B4-BE49-F238E27FC236}">
                  <a16:creationId xmlns:a16="http://schemas.microsoft.com/office/drawing/2014/main" id="{839A8016-2908-4A9E-A232-4C6E12BD640C}"/>
                </a:ext>
              </a:extLst>
            </p:cNvPr>
            <p:cNvCxnSpPr/>
            <p:nvPr/>
          </p:nvCxnSpPr>
          <p:spPr>
            <a:xfrm flipV="1">
              <a:off x="3354857" y="4199633"/>
              <a:ext cx="0" cy="72000"/>
            </a:xfrm>
            <a:prstGeom prst="line">
              <a:avLst/>
            </a:prstGeom>
            <a:noFill/>
            <a:ln w="19050" cap="flat" cmpd="sng" algn="ctr">
              <a:solidFill>
                <a:srgbClr val="212121"/>
              </a:solidFill>
              <a:prstDash val="solid"/>
            </a:ln>
            <a:effectLst/>
          </p:spPr>
        </p:cxnSp>
        <p:cxnSp>
          <p:nvCxnSpPr>
            <p:cNvPr id="204" name="Straight Connector 203">
              <a:extLst>
                <a:ext uri="{FF2B5EF4-FFF2-40B4-BE49-F238E27FC236}">
                  <a16:creationId xmlns:a16="http://schemas.microsoft.com/office/drawing/2014/main" id="{9874F506-CA9B-4D85-AE35-8748EACF62E1}"/>
                </a:ext>
              </a:extLst>
            </p:cNvPr>
            <p:cNvCxnSpPr/>
            <p:nvPr/>
          </p:nvCxnSpPr>
          <p:spPr>
            <a:xfrm flipV="1">
              <a:off x="3980970" y="4199633"/>
              <a:ext cx="0" cy="72000"/>
            </a:xfrm>
            <a:prstGeom prst="line">
              <a:avLst/>
            </a:prstGeom>
            <a:noFill/>
            <a:ln w="19050" cap="flat" cmpd="sng" algn="ctr">
              <a:solidFill>
                <a:srgbClr val="212121"/>
              </a:solidFill>
              <a:prstDash val="solid"/>
            </a:ln>
            <a:effectLst/>
          </p:spPr>
        </p:cxnSp>
        <p:cxnSp>
          <p:nvCxnSpPr>
            <p:cNvPr id="205" name="Straight Connector 204">
              <a:extLst>
                <a:ext uri="{FF2B5EF4-FFF2-40B4-BE49-F238E27FC236}">
                  <a16:creationId xmlns:a16="http://schemas.microsoft.com/office/drawing/2014/main" id="{68BDE0B2-C43B-469C-887F-49464C12CC17}"/>
                </a:ext>
              </a:extLst>
            </p:cNvPr>
            <p:cNvCxnSpPr/>
            <p:nvPr/>
          </p:nvCxnSpPr>
          <p:spPr>
            <a:xfrm flipV="1">
              <a:off x="4620402" y="4199633"/>
              <a:ext cx="0" cy="72000"/>
            </a:xfrm>
            <a:prstGeom prst="line">
              <a:avLst/>
            </a:prstGeom>
            <a:noFill/>
            <a:ln w="19050" cap="flat" cmpd="sng" algn="ctr">
              <a:solidFill>
                <a:srgbClr val="212121"/>
              </a:solidFill>
              <a:prstDash val="solid"/>
            </a:ln>
            <a:effectLst/>
          </p:spPr>
        </p:cxnSp>
        <p:cxnSp>
          <p:nvCxnSpPr>
            <p:cNvPr id="206" name="Straight Connector 205">
              <a:extLst>
                <a:ext uri="{FF2B5EF4-FFF2-40B4-BE49-F238E27FC236}">
                  <a16:creationId xmlns:a16="http://schemas.microsoft.com/office/drawing/2014/main" id="{B68B308E-9FE0-45A8-9A77-030589C29FDD}"/>
                </a:ext>
              </a:extLst>
            </p:cNvPr>
            <p:cNvCxnSpPr/>
            <p:nvPr/>
          </p:nvCxnSpPr>
          <p:spPr>
            <a:xfrm flipV="1">
              <a:off x="5253686" y="4199633"/>
              <a:ext cx="0" cy="72000"/>
            </a:xfrm>
            <a:prstGeom prst="line">
              <a:avLst/>
            </a:prstGeom>
            <a:noFill/>
            <a:ln w="19050" cap="flat" cmpd="sng" algn="ctr">
              <a:solidFill>
                <a:srgbClr val="212121"/>
              </a:solidFill>
              <a:prstDash val="solid"/>
            </a:ln>
            <a:effectLst/>
          </p:spPr>
        </p:cxnSp>
        <p:cxnSp>
          <p:nvCxnSpPr>
            <p:cNvPr id="207" name="Straight Connector 206">
              <a:extLst>
                <a:ext uri="{FF2B5EF4-FFF2-40B4-BE49-F238E27FC236}">
                  <a16:creationId xmlns:a16="http://schemas.microsoft.com/office/drawing/2014/main" id="{1CDE26ED-1465-42C5-97DB-3B179463B6C3}"/>
                </a:ext>
              </a:extLst>
            </p:cNvPr>
            <p:cNvCxnSpPr/>
            <p:nvPr/>
          </p:nvCxnSpPr>
          <p:spPr>
            <a:xfrm flipV="1">
              <a:off x="5879799" y="4199633"/>
              <a:ext cx="0" cy="72000"/>
            </a:xfrm>
            <a:prstGeom prst="line">
              <a:avLst/>
            </a:prstGeom>
            <a:noFill/>
            <a:ln w="19050" cap="flat" cmpd="sng" algn="ctr">
              <a:solidFill>
                <a:srgbClr val="212121"/>
              </a:solidFill>
              <a:prstDash val="solid"/>
            </a:ln>
            <a:effectLst/>
          </p:spPr>
        </p:cxnSp>
        <p:cxnSp>
          <p:nvCxnSpPr>
            <p:cNvPr id="208" name="Straight Connector 207">
              <a:extLst>
                <a:ext uri="{FF2B5EF4-FFF2-40B4-BE49-F238E27FC236}">
                  <a16:creationId xmlns:a16="http://schemas.microsoft.com/office/drawing/2014/main" id="{AFE306E2-6B43-4EDB-9C9B-79757378A4E6}"/>
                </a:ext>
              </a:extLst>
            </p:cNvPr>
            <p:cNvCxnSpPr/>
            <p:nvPr/>
          </p:nvCxnSpPr>
          <p:spPr>
            <a:xfrm flipV="1">
              <a:off x="6514108" y="4199633"/>
              <a:ext cx="0" cy="72000"/>
            </a:xfrm>
            <a:prstGeom prst="line">
              <a:avLst/>
            </a:prstGeom>
            <a:noFill/>
            <a:ln w="19050" cap="flat" cmpd="sng" algn="ctr">
              <a:solidFill>
                <a:srgbClr val="212121"/>
              </a:solidFill>
              <a:prstDash val="solid"/>
            </a:ln>
            <a:effectLst/>
          </p:spPr>
        </p:cxnSp>
        <p:cxnSp>
          <p:nvCxnSpPr>
            <p:cNvPr id="209" name="Straight Connector 208">
              <a:extLst>
                <a:ext uri="{FF2B5EF4-FFF2-40B4-BE49-F238E27FC236}">
                  <a16:creationId xmlns:a16="http://schemas.microsoft.com/office/drawing/2014/main" id="{4E247311-83A3-4959-A9F2-FBC084BE651E}"/>
                </a:ext>
              </a:extLst>
            </p:cNvPr>
            <p:cNvCxnSpPr/>
            <p:nvPr/>
          </p:nvCxnSpPr>
          <p:spPr>
            <a:xfrm flipV="1">
              <a:off x="7147706" y="4199633"/>
              <a:ext cx="0" cy="72000"/>
            </a:xfrm>
            <a:prstGeom prst="line">
              <a:avLst/>
            </a:prstGeom>
            <a:noFill/>
            <a:ln w="19050" cap="flat" cmpd="sng" algn="ctr">
              <a:solidFill>
                <a:srgbClr val="212121"/>
              </a:solidFill>
              <a:prstDash val="solid"/>
            </a:ln>
            <a:effectLst/>
          </p:spPr>
        </p:cxnSp>
        <p:cxnSp>
          <p:nvCxnSpPr>
            <p:cNvPr id="210" name="Straight Connector 209">
              <a:extLst>
                <a:ext uri="{FF2B5EF4-FFF2-40B4-BE49-F238E27FC236}">
                  <a16:creationId xmlns:a16="http://schemas.microsoft.com/office/drawing/2014/main" id="{7AF691C4-DCFF-4D28-9D29-F96C934AD712}"/>
                </a:ext>
              </a:extLst>
            </p:cNvPr>
            <p:cNvCxnSpPr/>
            <p:nvPr/>
          </p:nvCxnSpPr>
          <p:spPr>
            <a:xfrm>
              <a:off x="2641374" y="1814461"/>
              <a:ext cx="72000" cy="0"/>
            </a:xfrm>
            <a:prstGeom prst="line">
              <a:avLst/>
            </a:prstGeom>
            <a:noFill/>
            <a:ln w="19050" cap="flat" cmpd="sng" algn="ctr">
              <a:solidFill>
                <a:srgbClr val="212121"/>
              </a:solidFill>
              <a:prstDash val="solid"/>
            </a:ln>
            <a:effectLst/>
          </p:spPr>
        </p:cxnSp>
        <p:sp>
          <p:nvSpPr>
            <p:cNvPr id="211" name="TextBox 210">
              <a:extLst>
                <a:ext uri="{FF2B5EF4-FFF2-40B4-BE49-F238E27FC236}">
                  <a16:creationId xmlns:a16="http://schemas.microsoft.com/office/drawing/2014/main" id="{8DCF3F77-CFFC-4CBF-9EE1-CAF17EB5BF3B}"/>
                </a:ext>
              </a:extLst>
            </p:cNvPr>
            <p:cNvSpPr txBox="1"/>
            <p:nvPr/>
          </p:nvSpPr>
          <p:spPr>
            <a:xfrm>
              <a:off x="2581944" y="4287477"/>
              <a:ext cx="252084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0</a:t>
              </a:r>
            </a:p>
          </p:txBody>
        </p:sp>
        <p:sp>
          <p:nvSpPr>
            <p:cNvPr id="212" name="TextBox 211">
              <a:extLst>
                <a:ext uri="{FF2B5EF4-FFF2-40B4-BE49-F238E27FC236}">
                  <a16:creationId xmlns:a16="http://schemas.microsoft.com/office/drawing/2014/main" id="{F8B47148-7CBA-4952-AD29-1144C00A4F7F}"/>
                </a:ext>
              </a:extLst>
            </p:cNvPr>
            <p:cNvSpPr txBox="1"/>
            <p:nvPr/>
          </p:nvSpPr>
          <p:spPr>
            <a:xfrm>
              <a:off x="3229187" y="4286345"/>
              <a:ext cx="252084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1</a:t>
              </a:r>
            </a:p>
          </p:txBody>
        </p:sp>
        <p:sp>
          <p:nvSpPr>
            <p:cNvPr id="213" name="TextBox 212">
              <a:extLst>
                <a:ext uri="{FF2B5EF4-FFF2-40B4-BE49-F238E27FC236}">
                  <a16:creationId xmlns:a16="http://schemas.microsoft.com/office/drawing/2014/main" id="{145EBFAB-0368-4B26-A7E0-EAE654E0CBD4}"/>
                </a:ext>
              </a:extLst>
            </p:cNvPr>
            <p:cNvSpPr txBox="1"/>
            <p:nvPr/>
          </p:nvSpPr>
          <p:spPr>
            <a:xfrm>
              <a:off x="3853732" y="4292025"/>
              <a:ext cx="252084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2</a:t>
              </a:r>
            </a:p>
          </p:txBody>
        </p:sp>
        <p:sp>
          <p:nvSpPr>
            <p:cNvPr id="214" name="TextBox 213">
              <a:extLst>
                <a:ext uri="{FF2B5EF4-FFF2-40B4-BE49-F238E27FC236}">
                  <a16:creationId xmlns:a16="http://schemas.microsoft.com/office/drawing/2014/main" id="{2C83116D-07B3-4F61-A5E3-957A093D9451}"/>
                </a:ext>
              </a:extLst>
            </p:cNvPr>
            <p:cNvSpPr txBox="1"/>
            <p:nvPr/>
          </p:nvSpPr>
          <p:spPr>
            <a:xfrm>
              <a:off x="4494814" y="4284077"/>
              <a:ext cx="252084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3</a:t>
              </a:r>
            </a:p>
          </p:txBody>
        </p:sp>
        <p:sp>
          <p:nvSpPr>
            <p:cNvPr id="215" name="TextBox 214">
              <a:extLst>
                <a:ext uri="{FF2B5EF4-FFF2-40B4-BE49-F238E27FC236}">
                  <a16:creationId xmlns:a16="http://schemas.microsoft.com/office/drawing/2014/main" id="{2A2EEE56-9876-44CD-B464-5CB22BDCB840}"/>
                </a:ext>
              </a:extLst>
            </p:cNvPr>
            <p:cNvSpPr txBox="1"/>
            <p:nvPr/>
          </p:nvSpPr>
          <p:spPr>
            <a:xfrm>
              <a:off x="5131670" y="4282946"/>
              <a:ext cx="252084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4</a:t>
              </a:r>
            </a:p>
          </p:txBody>
        </p:sp>
        <p:sp>
          <p:nvSpPr>
            <p:cNvPr id="216" name="TextBox 215">
              <a:extLst>
                <a:ext uri="{FF2B5EF4-FFF2-40B4-BE49-F238E27FC236}">
                  <a16:creationId xmlns:a16="http://schemas.microsoft.com/office/drawing/2014/main" id="{C0DB55F7-CA4E-45F7-9A23-4093F7D5AC85}"/>
                </a:ext>
              </a:extLst>
            </p:cNvPr>
            <p:cNvSpPr txBox="1"/>
            <p:nvPr/>
          </p:nvSpPr>
          <p:spPr>
            <a:xfrm>
              <a:off x="5747273" y="4292670"/>
              <a:ext cx="252084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5</a:t>
              </a:r>
            </a:p>
          </p:txBody>
        </p:sp>
        <p:sp>
          <p:nvSpPr>
            <p:cNvPr id="217" name="TextBox 216">
              <a:extLst>
                <a:ext uri="{FF2B5EF4-FFF2-40B4-BE49-F238E27FC236}">
                  <a16:creationId xmlns:a16="http://schemas.microsoft.com/office/drawing/2014/main" id="{1C4CEC8F-8334-4FD3-8EA9-FAA6E7DB1F69}"/>
                </a:ext>
              </a:extLst>
            </p:cNvPr>
            <p:cNvSpPr txBox="1"/>
            <p:nvPr/>
          </p:nvSpPr>
          <p:spPr>
            <a:xfrm>
              <a:off x="6406850" y="4285859"/>
              <a:ext cx="208334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6</a:t>
              </a:r>
            </a:p>
          </p:txBody>
        </p:sp>
        <p:sp>
          <p:nvSpPr>
            <p:cNvPr id="218" name="TextBox 217">
              <a:extLst>
                <a:ext uri="{FF2B5EF4-FFF2-40B4-BE49-F238E27FC236}">
                  <a16:creationId xmlns:a16="http://schemas.microsoft.com/office/drawing/2014/main" id="{4ACAE525-65B3-4892-879E-30176B6AE010}"/>
                </a:ext>
              </a:extLst>
            </p:cNvPr>
            <p:cNvSpPr txBox="1"/>
            <p:nvPr/>
          </p:nvSpPr>
          <p:spPr>
            <a:xfrm>
              <a:off x="7017215" y="4284726"/>
              <a:ext cx="252084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7</a:t>
              </a:r>
            </a:p>
          </p:txBody>
        </p:sp>
        <p:sp>
          <p:nvSpPr>
            <p:cNvPr id="219" name="TextBox 218">
              <a:extLst>
                <a:ext uri="{FF2B5EF4-FFF2-40B4-BE49-F238E27FC236}">
                  <a16:creationId xmlns:a16="http://schemas.microsoft.com/office/drawing/2014/main" id="{078D1856-9D2F-4A90-996C-4DEBDF2E1431}"/>
                </a:ext>
              </a:extLst>
            </p:cNvPr>
            <p:cNvSpPr txBox="1"/>
            <p:nvPr/>
          </p:nvSpPr>
          <p:spPr>
            <a:xfrm>
              <a:off x="2394045" y="4073695"/>
              <a:ext cx="252084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0</a:t>
              </a:r>
            </a:p>
          </p:txBody>
        </p:sp>
        <p:sp>
          <p:nvSpPr>
            <p:cNvPr id="220" name="TextBox 219">
              <a:extLst>
                <a:ext uri="{FF2B5EF4-FFF2-40B4-BE49-F238E27FC236}">
                  <a16:creationId xmlns:a16="http://schemas.microsoft.com/office/drawing/2014/main" id="{FDAFEEFB-7600-4EAE-87C6-1A8AEA14F6E8}"/>
                </a:ext>
              </a:extLst>
            </p:cNvPr>
            <p:cNvSpPr txBox="1"/>
            <p:nvPr/>
          </p:nvSpPr>
          <p:spPr>
            <a:xfrm>
              <a:off x="2145885" y="3138960"/>
              <a:ext cx="500243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40</a:t>
              </a:r>
            </a:p>
          </p:txBody>
        </p:sp>
        <p:sp>
          <p:nvSpPr>
            <p:cNvPr id="221" name="TextBox 220">
              <a:extLst>
                <a:ext uri="{FF2B5EF4-FFF2-40B4-BE49-F238E27FC236}">
                  <a16:creationId xmlns:a16="http://schemas.microsoft.com/office/drawing/2014/main" id="{F403C9F0-3336-41F5-B1D7-0CEC7FEB44EF}"/>
                </a:ext>
              </a:extLst>
            </p:cNvPr>
            <p:cNvSpPr txBox="1"/>
            <p:nvPr/>
          </p:nvSpPr>
          <p:spPr>
            <a:xfrm>
              <a:off x="2175777" y="2661141"/>
              <a:ext cx="470351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60</a:t>
              </a:r>
            </a:p>
          </p:txBody>
        </p:sp>
        <p:sp>
          <p:nvSpPr>
            <p:cNvPr id="222" name="TextBox 221">
              <a:extLst>
                <a:ext uri="{FF2B5EF4-FFF2-40B4-BE49-F238E27FC236}">
                  <a16:creationId xmlns:a16="http://schemas.microsoft.com/office/drawing/2014/main" id="{E6E8A5AF-320A-4E2F-B4C6-03161AA69C00}"/>
                </a:ext>
              </a:extLst>
            </p:cNvPr>
            <p:cNvSpPr txBox="1"/>
            <p:nvPr/>
          </p:nvSpPr>
          <p:spPr>
            <a:xfrm>
              <a:off x="2106365" y="2169676"/>
              <a:ext cx="539763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80</a:t>
              </a:r>
            </a:p>
          </p:txBody>
        </p:sp>
        <p:sp>
          <p:nvSpPr>
            <p:cNvPr id="223" name="TextBox 222">
              <a:extLst>
                <a:ext uri="{FF2B5EF4-FFF2-40B4-BE49-F238E27FC236}">
                  <a16:creationId xmlns:a16="http://schemas.microsoft.com/office/drawing/2014/main" id="{47002331-FCF4-48B1-833C-21EBF013985B}"/>
                </a:ext>
              </a:extLst>
            </p:cNvPr>
            <p:cNvSpPr txBox="1"/>
            <p:nvPr/>
          </p:nvSpPr>
          <p:spPr>
            <a:xfrm>
              <a:off x="2147087" y="1690250"/>
              <a:ext cx="499041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100</a:t>
              </a:r>
            </a:p>
          </p:txBody>
        </p:sp>
        <p:cxnSp>
          <p:nvCxnSpPr>
            <p:cNvPr id="224" name="Straight Connector 223">
              <a:extLst>
                <a:ext uri="{FF2B5EF4-FFF2-40B4-BE49-F238E27FC236}">
                  <a16:creationId xmlns:a16="http://schemas.microsoft.com/office/drawing/2014/main" id="{C8C22490-9870-4D7F-8F20-D6F458F6C11A}"/>
                </a:ext>
              </a:extLst>
            </p:cNvPr>
            <p:cNvCxnSpPr/>
            <p:nvPr/>
          </p:nvCxnSpPr>
          <p:spPr>
            <a:xfrm>
              <a:off x="2641374" y="2298782"/>
              <a:ext cx="72000" cy="0"/>
            </a:xfrm>
            <a:prstGeom prst="line">
              <a:avLst/>
            </a:prstGeom>
            <a:noFill/>
            <a:ln w="19050" cap="flat" cmpd="sng" algn="ctr">
              <a:solidFill>
                <a:srgbClr val="212121"/>
              </a:solidFill>
              <a:prstDash val="solid"/>
            </a:ln>
            <a:effectLst/>
          </p:spPr>
        </p:cxnSp>
        <p:cxnSp>
          <p:nvCxnSpPr>
            <p:cNvPr id="225" name="Straight Connector 224">
              <a:extLst>
                <a:ext uri="{FF2B5EF4-FFF2-40B4-BE49-F238E27FC236}">
                  <a16:creationId xmlns:a16="http://schemas.microsoft.com/office/drawing/2014/main" id="{99D98805-23E0-4744-B2B2-CE22555C4F85}"/>
                </a:ext>
              </a:extLst>
            </p:cNvPr>
            <p:cNvCxnSpPr/>
            <p:nvPr/>
          </p:nvCxnSpPr>
          <p:spPr>
            <a:xfrm>
              <a:off x="2641374" y="2783397"/>
              <a:ext cx="72000" cy="0"/>
            </a:xfrm>
            <a:prstGeom prst="line">
              <a:avLst/>
            </a:prstGeom>
            <a:noFill/>
            <a:ln w="19050" cap="flat" cmpd="sng" algn="ctr">
              <a:solidFill>
                <a:srgbClr val="212121"/>
              </a:solidFill>
              <a:prstDash val="solid"/>
            </a:ln>
            <a:effectLst/>
          </p:spPr>
        </p:cxnSp>
        <p:cxnSp>
          <p:nvCxnSpPr>
            <p:cNvPr id="226" name="Straight Connector 225">
              <a:extLst>
                <a:ext uri="{FF2B5EF4-FFF2-40B4-BE49-F238E27FC236}">
                  <a16:creationId xmlns:a16="http://schemas.microsoft.com/office/drawing/2014/main" id="{FB04F64D-7504-4008-9614-2AD32CA38CAE}"/>
                </a:ext>
              </a:extLst>
            </p:cNvPr>
            <p:cNvCxnSpPr/>
            <p:nvPr/>
          </p:nvCxnSpPr>
          <p:spPr>
            <a:xfrm>
              <a:off x="2641374" y="3267041"/>
              <a:ext cx="72000" cy="0"/>
            </a:xfrm>
            <a:prstGeom prst="line">
              <a:avLst/>
            </a:prstGeom>
            <a:noFill/>
            <a:ln w="19050" cap="flat" cmpd="sng" algn="ctr">
              <a:solidFill>
                <a:srgbClr val="212121"/>
              </a:solidFill>
              <a:prstDash val="solid"/>
            </a:ln>
            <a:effectLst/>
          </p:spPr>
        </p:cxnSp>
        <p:sp>
          <p:nvSpPr>
            <p:cNvPr id="227" name="Freeform 26">
              <a:extLst>
                <a:ext uri="{FF2B5EF4-FFF2-40B4-BE49-F238E27FC236}">
                  <a16:creationId xmlns:a16="http://schemas.microsoft.com/office/drawing/2014/main" id="{11B34BE5-419E-40FA-97E6-CEE7D0026E24}"/>
                </a:ext>
              </a:extLst>
            </p:cNvPr>
            <p:cNvSpPr/>
            <p:nvPr/>
          </p:nvSpPr>
          <p:spPr>
            <a:xfrm>
              <a:off x="2729384" y="1858078"/>
              <a:ext cx="4411157" cy="954141"/>
            </a:xfrm>
            <a:custGeom>
              <a:avLst/>
              <a:gdLst>
                <a:gd name="connsiteX0" fmla="*/ 0 w 5248275"/>
                <a:gd name="connsiteY0" fmla="*/ 0 h 1195388"/>
                <a:gd name="connsiteX1" fmla="*/ 57150 w 5248275"/>
                <a:gd name="connsiteY1" fmla="*/ 4763 h 1195388"/>
                <a:gd name="connsiteX2" fmla="*/ 66675 w 5248275"/>
                <a:gd name="connsiteY2" fmla="*/ 19050 h 1195388"/>
                <a:gd name="connsiteX3" fmla="*/ 85725 w 5248275"/>
                <a:gd name="connsiteY3" fmla="*/ 33338 h 1195388"/>
                <a:gd name="connsiteX4" fmla="*/ 123825 w 5248275"/>
                <a:gd name="connsiteY4" fmla="*/ 33338 h 1195388"/>
                <a:gd name="connsiteX5" fmla="*/ 138113 w 5248275"/>
                <a:gd name="connsiteY5" fmla="*/ 47625 h 1195388"/>
                <a:gd name="connsiteX6" fmla="*/ 138113 w 5248275"/>
                <a:gd name="connsiteY6" fmla="*/ 47625 h 1195388"/>
                <a:gd name="connsiteX7" fmla="*/ 166688 w 5248275"/>
                <a:gd name="connsiteY7" fmla="*/ 66675 h 1195388"/>
                <a:gd name="connsiteX8" fmla="*/ 223838 w 5248275"/>
                <a:gd name="connsiteY8" fmla="*/ 66675 h 1195388"/>
                <a:gd name="connsiteX9" fmla="*/ 223838 w 5248275"/>
                <a:gd name="connsiteY9" fmla="*/ 66675 h 1195388"/>
                <a:gd name="connsiteX10" fmla="*/ 257175 w 5248275"/>
                <a:gd name="connsiteY10" fmla="*/ 85725 h 1195388"/>
                <a:gd name="connsiteX11" fmla="*/ 271463 w 5248275"/>
                <a:gd name="connsiteY11" fmla="*/ 100013 h 1195388"/>
                <a:gd name="connsiteX12" fmla="*/ 290513 w 5248275"/>
                <a:gd name="connsiteY12" fmla="*/ 114300 h 1195388"/>
                <a:gd name="connsiteX13" fmla="*/ 323850 w 5248275"/>
                <a:gd name="connsiteY13" fmla="*/ 109538 h 1195388"/>
                <a:gd name="connsiteX14" fmla="*/ 338138 w 5248275"/>
                <a:gd name="connsiteY14" fmla="*/ 114300 h 1195388"/>
                <a:gd name="connsiteX15" fmla="*/ 357188 w 5248275"/>
                <a:gd name="connsiteY15" fmla="*/ 133350 h 1195388"/>
                <a:gd name="connsiteX16" fmla="*/ 357188 w 5248275"/>
                <a:gd name="connsiteY16" fmla="*/ 133350 h 1195388"/>
                <a:gd name="connsiteX17" fmla="*/ 385763 w 5248275"/>
                <a:gd name="connsiteY17" fmla="*/ 157163 h 1195388"/>
                <a:gd name="connsiteX18" fmla="*/ 400050 w 5248275"/>
                <a:gd name="connsiteY18" fmla="*/ 157163 h 1195388"/>
                <a:gd name="connsiteX19" fmla="*/ 414338 w 5248275"/>
                <a:gd name="connsiteY19" fmla="*/ 166688 h 1195388"/>
                <a:gd name="connsiteX20" fmla="*/ 414338 w 5248275"/>
                <a:gd name="connsiteY20" fmla="*/ 166688 h 1195388"/>
                <a:gd name="connsiteX21" fmla="*/ 452438 w 5248275"/>
                <a:gd name="connsiteY21" fmla="*/ 180975 h 1195388"/>
                <a:gd name="connsiteX22" fmla="*/ 481013 w 5248275"/>
                <a:gd name="connsiteY22" fmla="*/ 180975 h 1195388"/>
                <a:gd name="connsiteX23" fmla="*/ 490538 w 5248275"/>
                <a:gd name="connsiteY23" fmla="*/ 195263 h 1195388"/>
                <a:gd name="connsiteX24" fmla="*/ 523875 w 5248275"/>
                <a:gd name="connsiteY24" fmla="*/ 190500 h 1195388"/>
                <a:gd name="connsiteX25" fmla="*/ 533400 w 5248275"/>
                <a:gd name="connsiteY25" fmla="*/ 209550 h 1195388"/>
                <a:gd name="connsiteX26" fmla="*/ 533400 w 5248275"/>
                <a:gd name="connsiteY26" fmla="*/ 209550 h 1195388"/>
                <a:gd name="connsiteX27" fmla="*/ 585788 w 5248275"/>
                <a:gd name="connsiteY27" fmla="*/ 228600 h 1195388"/>
                <a:gd name="connsiteX28" fmla="*/ 623888 w 5248275"/>
                <a:gd name="connsiteY28" fmla="*/ 238125 h 1195388"/>
                <a:gd name="connsiteX29" fmla="*/ 661988 w 5248275"/>
                <a:gd name="connsiteY29" fmla="*/ 238125 h 1195388"/>
                <a:gd name="connsiteX30" fmla="*/ 704850 w 5248275"/>
                <a:gd name="connsiteY30" fmla="*/ 238125 h 1195388"/>
                <a:gd name="connsiteX31" fmla="*/ 804863 w 5248275"/>
                <a:gd name="connsiteY31" fmla="*/ 257175 h 1195388"/>
                <a:gd name="connsiteX32" fmla="*/ 828675 w 5248275"/>
                <a:gd name="connsiteY32" fmla="*/ 266700 h 1195388"/>
                <a:gd name="connsiteX33" fmla="*/ 828675 w 5248275"/>
                <a:gd name="connsiteY33" fmla="*/ 266700 h 1195388"/>
                <a:gd name="connsiteX34" fmla="*/ 881063 w 5248275"/>
                <a:gd name="connsiteY34" fmla="*/ 285750 h 1195388"/>
                <a:gd name="connsiteX35" fmla="*/ 881063 w 5248275"/>
                <a:gd name="connsiteY35" fmla="*/ 285750 h 1195388"/>
                <a:gd name="connsiteX36" fmla="*/ 933450 w 5248275"/>
                <a:gd name="connsiteY36" fmla="*/ 295275 h 1195388"/>
                <a:gd name="connsiteX37" fmla="*/ 933450 w 5248275"/>
                <a:gd name="connsiteY37" fmla="*/ 295275 h 1195388"/>
                <a:gd name="connsiteX38" fmla="*/ 966788 w 5248275"/>
                <a:gd name="connsiteY38" fmla="*/ 309563 h 1195388"/>
                <a:gd name="connsiteX39" fmla="*/ 995363 w 5248275"/>
                <a:gd name="connsiteY39" fmla="*/ 309563 h 1195388"/>
                <a:gd name="connsiteX40" fmla="*/ 1014413 w 5248275"/>
                <a:gd name="connsiteY40" fmla="*/ 328613 h 1195388"/>
                <a:gd name="connsiteX41" fmla="*/ 1062038 w 5248275"/>
                <a:gd name="connsiteY41" fmla="*/ 342900 h 1195388"/>
                <a:gd name="connsiteX42" fmla="*/ 1114425 w 5248275"/>
                <a:gd name="connsiteY42" fmla="*/ 347663 h 1195388"/>
                <a:gd name="connsiteX43" fmla="*/ 1114425 w 5248275"/>
                <a:gd name="connsiteY43" fmla="*/ 347663 h 1195388"/>
                <a:gd name="connsiteX44" fmla="*/ 1166813 w 5248275"/>
                <a:gd name="connsiteY44" fmla="*/ 366713 h 1195388"/>
                <a:gd name="connsiteX45" fmla="*/ 1195388 w 5248275"/>
                <a:gd name="connsiteY45" fmla="*/ 395288 h 1195388"/>
                <a:gd name="connsiteX46" fmla="*/ 1195388 w 5248275"/>
                <a:gd name="connsiteY46" fmla="*/ 395288 h 1195388"/>
                <a:gd name="connsiteX47" fmla="*/ 1243013 w 5248275"/>
                <a:gd name="connsiteY47" fmla="*/ 404813 h 1195388"/>
                <a:gd name="connsiteX48" fmla="*/ 1266825 w 5248275"/>
                <a:gd name="connsiteY48" fmla="*/ 419100 h 1195388"/>
                <a:gd name="connsiteX49" fmla="*/ 1309688 w 5248275"/>
                <a:gd name="connsiteY49" fmla="*/ 423863 h 1195388"/>
                <a:gd name="connsiteX50" fmla="*/ 1333500 w 5248275"/>
                <a:gd name="connsiteY50" fmla="*/ 442913 h 1195388"/>
                <a:gd name="connsiteX51" fmla="*/ 1366838 w 5248275"/>
                <a:gd name="connsiteY51" fmla="*/ 438150 h 1195388"/>
                <a:gd name="connsiteX52" fmla="*/ 1395413 w 5248275"/>
                <a:gd name="connsiteY52" fmla="*/ 452438 h 1195388"/>
                <a:gd name="connsiteX53" fmla="*/ 1443038 w 5248275"/>
                <a:gd name="connsiteY53" fmla="*/ 452438 h 1195388"/>
                <a:gd name="connsiteX54" fmla="*/ 1466850 w 5248275"/>
                <a:gd name="connsiteY54" fmla="*/ 461963 h 1195388"/>
                <a:gd name="connsiteX55" fmla="*/ 1466850 w 5248275"/>
                <a:gd name="connsiteY55" fmla="*/ 461963 h 1195388"/>
                <a:gd name="connsiteX56" fmla="*/ 1514475 w 5248275"/>
                <a:gd name="connsiteY56" fmla="*/ 481013 h 1195388"/>
                <a:gd name="connsiteX57" fmla="*/ 1514475 w 5248275"/>
                <a:gd name="connsiteY57" fmla="*/ 481013 h 1195388"/>
                <a:gd name="connsiteX58" fmla="*/ 1571625 w 5248275"/>
                <a:gd name="connsiteY58" fmla="*/ 509588 h 1195388"/>
                <a:gd name="connsiteX59" fmla="*/ 1571625 w 5248275"/>
                <a:gd name="connsiteY59" fmla="*/ 509588 h 1195388"/>
                <a:gd name="connsiteX60" fmla="*/ 1633538 w 5248275"/>
                <a:gd name="connsiteY60" fmla="*/ 542925 h 1195388"/>
                <a:gd name="connsiteX61" fmla="*/ 1662113 w 5248275"/>
                <a:gd name="connsiteY61" fmla="*/ 547688 h 1195388"/>
                <a:gd name="connsiteX62" fmla="*/ 1676400 w 5248275"/>
                <a:gd name="connsiteY62" fmla="*/ 566738 h 1195388"/>
                <a:gd name="connsiteX63" fmla="*/ 1728788 w 5248275"/>
                <a:gd name="connsiteY63" fmla="*/ 571500 h 1195388"/>
                <a:gd name="connsiteX64" fmla="*/ 1781175 w 5248275"/>
                <a:gd name="connsiteY64" fmla="*/ 585788 h 1195388"/>
                <a:gd name="connsiteX65" fmla="*/ 1824038 w 5248275"/>
                <a:gd name="connsiteY65" fmla="*/ 595313 h 1195388"/>
                <a:gd name="connsiteX66" fmla="*/ 1866900 w 5248275"/>
                <a:gd name="connsiteY66" fmla="*/ 600075 h 1195388"/>
                <a:gd name="connsiteX67" fmla="*/ 1919288 w 5248275"/>
                <a:gd name="connsiteY67" fmla="*/ 595313 h 1195388"/>
                <a:gd name="connsiteX68" fmla="*/ 1947863 w 5248275"/>
                <a:gd name="connsiteY68" fmla="*/ 619125 h 1195388"/>
                <a:gd name="connsiteX69" fmla="*/ 1976438 w 5248275"/>
                <a:gd name="connsiteY69" fmla="*/ 638175 h 1195388"/>
                <a:gd name="connsiteX70" fmla="*/ 2009775 w 5248275"/>
                <a:gd name="connsiteY70" fmla="*/ 638175 h 1195388"/>
                <a:gd name="connsiteX71" fmla="*/ 2028825 w 5248275"/>
                <a:gd name="connsiteY71" fmla="*/ 647700 h 1195388"/>
                <a:gd name="connsiteX72" fmla="*/ 2047875 w 5248275"/>
                <a:gd name="connsiteY72" fmla="*/ 652463 h 1195388"/>
                <a:gd name="connsiteX73" fmla="*/ 2076450 w 5248275"/>
                <a:gd name="connsiteY73" fmla="*/ 661988 h 1195388"/>
                <a:gd name="connsiteX74" fmla="*/ 2109788 w 5248275"/>
                <a:gd name="connsiteY74" fmla="*/ 661988 h 1195388"/>
                <a:gd name="connsiteX75" fmla="*/ 2133600 w 5248275"/>
                <a:gd name="connsiteY75" fmla="*/ 671513 h 1195388"/>
                <a:gd name="connsiteX76" fmla="*/ 2133600 w 5248275"/>
                <a:gd name="connsiteY76" fmla="*/ 671513 h 1195388"/>
                <a:gd name="connsiteX77" fmla="*/ 2181225 w 5248275"/>
                <a:gd name="connsiteY77" fmla="*/ 685800 h 1195388"/>
                <a:gd name="connsiteX78" fmla="*/ 2247900 w 5248275"/>
                <a:gd name="connsiteY78" fmla="*/ 714375 h 1195388"/>
                <a:gd name="connsiteX79" fmla="*/ 2309813 w 5248275"/>
                <a:gd name="connsiteY79" fmla="*/ 728663 h 1195388"/>
                <a:gd name="connsiteX80" fmla="*/ 2343150 w 5248275"/>
                <a:gd name="connsiteY80" fmla="*/ 742950 h 1195388"/>
                <a:gd name="connsiteX81" fmla="*/ 2424113 w 5248275"/>
                <a:gd name="connsiteY81" fmla="*/ 747713 h 1195388"/>
                <a:gd name="connsiteX82" fmla="*/ 2424113 w 5248275"/>
                <a:gd name="connsiteY82" fmla="*/ 747713 h 1195388"/>
                <a:gd name="connsiteX83" fmla="*/ 2476500 w 5248275"/>
                <a:gd name="connsiteY83" fmla="*/ 771525 h 1195388"/>
                <a:gd name="connsiteX84" fmla="*/ 2528888 w 5248275"/>
                <a:gd name="connsiteY84" fmla="*/ 771525 h 1195388"/>
                <a:gd name="connsiteX85" fmla="*/ 2586038 w 5248275"/>
                <a:gd name="connsiteY85" fmla="*/ 776288 h 1195388"/>
                <a:gd name="connsiteX86" fmla="*/ 2619375 w 5248275"/>
                <a:gd name="connsiteY86" fmla="*/ 776288 h 1195388"/>
                <a:gd name="connsiteX87" fmla="*/ 2624138 w 5248275"/>
                <a:gd name="connsiteY87" fmla="*/ 785813 h 1195388"/>
                <a:gd name="connsiteX88" fmla="*/ 2647950 w 5248275"/>
                <a:gd name="connsiteY88" fmla="*/ 781050 h 1195388"/>
                <a:gd name="connsiteX89" fmla="*/ 2667000 w 5248275"/>
                <a:gd name="connsiteY89" fmla="*/ 795338 h 1195388"/>
                <a:gd name="connsiteX90" fmla="*/ 2724150 w 5248275"/>
                <a:gd name="connsiteY90" fmla="*/ 800100 h 1195388"/>
                <a:gd name="connsiteX91" fmla="*/ 2752725 w 5248275"/>
                <a:gd name="connsiteY91" fmla="*/ 819150 h 1195388"/>
                <a:gd name="connsiteX92" fmla="*/ 2800350 w 5248275"/>
                <a:gd name="connsiteY92" fmla="*/ 819150 h 1195388"/>
                <a:gd name="connsiteX93" fmla="*/ 2800350 w 5248275"/>
                <a:gd name="connsiteY93" fmla="*/ 819150 h 1195388"/>
                <a:gd name="connsiteX94" fmla="*/ 2867025 w 5248275"/>
                <a:gd name="connsiteY94" fmla="*/ 828675 h 1195388"/>
                <a:gd name="connsiteX95" fmla="*/ 2905125 w 5248275"/>
                <a:gd name="connsiteY95" fmla="*/ 828675 h 1195388"/>
                <a:gd name="connsiteX96" fmla="*/ 2905125 w 5248275"/>
                <a:gd name="connsiteY96" fmla="*/ 828675 h 1195388"/>
                <a:gd name="connsiteX97" fmla="*/ 2957513 w 5248275"/>
                <a:gd name="connsiteY97" fmla="*/ 852488 h 1195388"/>
                <a:gd name="connsiteX98" fmla="*/ 3009900 w 5248275"/>
                <a:gd name="connsiteY98" fmla="*/ 847725 h 1195388"/>
                <a:gd name="connsiteX99" fmla="*/ 3009900 w 5248275"/>
                <a:gd name="connsiteY99" fmla="*/ 847725 h 1195388"/>
                <a:gd name="connsiteX100" fmla="*/ 3095625 w 5248275"/>
                <a:gd name="connsiteY100" fmla="*/ 852488 h 1195388"/>
                <a:gd name="connsiteX101" fmla="*/ 3095625 w 5248275"/>
                <a:gd name="connsiteY101" fmla="*/ 852488 h 1195388"/>
                <a:gd name="connsiteX102" fmla="*/ 3167063 w 5248275"/>
                <a:gd name="connsiteY102" fmla="*/ 881063 h 1195388"/>
                <a:gd name="connsiteX103" fmla="*/ 3205163 w 5248275"/>
                <a:gd name="connsiteY103" fmla="*/ 895350 h 1195388"/>
                <a:gd name="connsiteX104" fmla="*/ 3248025 w 5248275"/>
                <a:gd name="connsiteY104" fmla="*/ 895350 h 1195388"/>
                <a:gd name="connsiteX105" fmla="*/ 3262313 w 5248275"/>
                <a:gd name="connsiteY105" fmla="*/ 895350 h 1195388"/>
                <a:gd name="connsiteX106" fmla="*/ 3262313 w 5248275"/>
                <a:gd name="connsiteY106" fmla="*/ 895350 h 1195388"/>
                <a:gd name="connsiteX107" fmla="*/ 3314700 w 5248275"/>
                <a:gd name="connsiteY107" fmla="*/ 928688 h 1195388"/>
                <a:gd name="connsiteX108" fmla="*/ 3328988 w 5248275"/>
                <a:gd name="connsiteY108" fmla="*/ 942975 h 1195388"/>
                <a:gd name="connsiteX109" fmla="*/ 3400425 w 5248275"/>
                <a:gd name="connsiteY109" fmla="*/ 933450 h 1195388"/>
                <a:gd name="connsiteX110" fmla="*/ 3433763 w 5248275"/>
                <a:gd name="connsiteY110" fmla="*/ 947738 h 1195388"/>
                <a:gd name="connsiteX111" fmla="*/ 3471863 w 5248275"/>
                <a:gd name="connsiteY111" fmla="*/ 952500 h 1195388"/>
                <a:gd name="connsiteX112" fmla="*/ 3471863 w 5248275"/>
                <a:gd name="connsiteY112" fmla="*/ 952500 h 1195388"/>
                <a:gd name="connsiteX113" fmla="*/ 3529013 w 5248275"/>
                <a:gd name="connsiteY113" fmla="*/ 976313 h 1195388"/>
                <a:gd name="connsiteX114" fmla="*/ 3529013 w 5248275"/>
                <a:gd name="connsiteY114" fmla="*/ 976313 h 1195388"/>
                <a:gd name="connsiteX115" fmla="*/ 3590925 w 5248275"/>
                <a:gd name="connsiteY115" fmla="*/ 976313 h 1195388"/>
                <a:gd name="connsiteX116" fmla="*/ 3590925 w 5248275"/>
                <a:gd name="connsiteY116" fmla="*/ 976313 h 1195388"/>
                <a:gd name="connsiteX117" fmla="*/ 3643313 w 5248275"/>
                <a:gd name="connsiteY117" fmla="*/ 1014413 h 1195388"/>
                <a:gd name="connsiteX118" fmla="*/ 3676650 w 5248275"/>
                <a:gd name="connsiteY118" fmla="*/ 1019175 h 1195388"/>
                <a:gd name="connsiteX119" fmla="*/ 3767138 w 5248275"/>
                <a:gd name="connsiteY119" fmla="*/ 1033463 h 1195388"/>
                <a:gd name="connsiteX120" fmla="*/ 3838575 w 5248275"/>
                <a:gd name="connsiteY120" fmla="*/ 1042988 h 1195388"/>
                <a:gd name="connsiteX121" fmla="*/ 3838575 w 5248275"/>
                <a:gd name="connsiteY121" fmla="*/ 1042988 h 1195388"/>
                <a:gd name="connsiteX122" fmla="*/ 3890963 w 5248275"/>
                <a:gd name="connsiteY122" fmla="*/ 1066800 h 1195388"/>
                <a:gd name="connsiteX123" fmla="*/ 3924300 w 5248275"/>
                <a:gd name="connsiteY123" fmla="*/ 1066800 h 1195388"/>
                <a:gd name="connsiteX124" fmla="*/ 3924300 w 5248275"/>
                <a:gd name="connsiteY124" fmla="*/ 1066800 h 1195388"/>
                <a:gd name="connsiteX125" fmla="*/ 3962400 w 5248275"/>
                <a:gd name="connsiteY125" fmla="*/ 1081088 h 1195388"/>
                <a:gd name="connsiteX126" fmla="*/ 3962400 w 5248275"/>
                <a:gd name="connsiteY126" fmla="*/ 1081088 h 1195388"/>
                <a:gd name="connsiteX127" fmla="*/ 4019550 w 5248275"/>
                <a:gd name="connsiteY127" fmla="*/ 1090613 h 1195388"/>
                <a:gd name="connsiteX128" fmla="*/ 4019550 w 5248275"/>
                <a:gd name="connsiteY128" fmla="*/ 1090613 h 1195388"/>
                <a:gd name="connsiteX129" fmla="*/ 4090988 w 5248275"/>
                <a:gd name="connsiteY129" fmla="*/ 1095375 h 1195388"/>
                <a:gd name="connsiteX130" fmla="*/ 4114800 w 5248275"/>
                <a:gd name="connsiteY130" fmla="*/ 1104900 h 1195388"/>
                <a:gd name="connsiteX131" fmla="*/ 4157663 w 5248275"/>
                <a:gd name="connsiteY131" fmla="*/ 1104900 h 1195388"/>
                <a:gd name="connsiteX132" fmla="*/ 4210050 w 5248275"/>
                <a:gd name="connsiteY132" fmla="*/ 1104900 h 1195388"/>
                <a:gd name="connsiteX133" fmla="*/ 4219575 w 5248275"/>
                <a:gd name="connsiteY133" fmla="*/ 1114425 h 1195388"/>
                <a:gd name="connsiteX134" fmla="*/ 4257675 w 5248275"/>
                <a:gd name="connsiteY134" fmla="*/ 1114425 h 1195388"/>
                <a:gd name="connsiteX135" fmla="*/ 4257675 w 5248275"/>
                <a:gd name="connsiteY135" fmla="*/ 1114425 h 1195388"/>
                <a:gd name="connsiteX136" fmla="*/ 4295775 w 5248275"/>
                <a:gd name="connsiteY136" fmla="*/ 1143000 h 1195388"/>
                <a:gd name="connsiteX137" fmla="*/ 4295775 w 5248275"/>
                <a:gd name="connsiteY137" fmla="*/ 1143000 h 1195388"/>
                <a:gd name="connsiteX138" fmla="*/ 4343400 w 5248275"/>
                <a:gd name="connsiteY138" fmla="*/ 1147763 h 1195388"/>
                <a:gd name="connsiteX139" fmla="*/ 4352925 w 5248275"/>
                <a:gd name="connsiteY139" fmla="*/ 1152525 h 1195388"/>
                <a:gd name="connsiteX140" fmla="*/ 4410075 w 5248275"/>
                <a:gd name="connsiteY140" fmla="*/ 1152525 h 1195388"/>
                <a:gd name="connsiteX141" fmla="*/ 4429125 w 5248275"/>
                <a:gd name="connsiteY141" fmla="*/ 1166813 h 1195388"/>
                <a:gd name="connsiteX142" fmla="*/ 4781550 w 5248275"/>
                <a:gd name="connsiteY142" fmla="*/ 1162050 h 1195388"/>
                <a:gd name="connsiteX143" fmla="*/ 4800600 w 5248275"/>
                <a:gd name="connsiteY143" fmla="*/ 1181100 h 1195388"/>
                <a:gd name="connsiteX144" fmla="*/ 5114925 w 5248275"/>
                <a:gd name="connsiteY144" fmla="*/ 1176338 h 1195388"/>
                <a:gd name="connsiteX145" fmla="*/ 5129213 w 5248275"/>
                <a:gd name="connsiteY145" fmla="*/ 1195388 h 1195388"/>
                <a:gd name="connsiteX146" fmla="*/ 5248275 w 5248275"/>
                <a:gd name="connsiteY146" fmla="*/ 1195388 h 1195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</a:cxnLst>
              <a:rect l="l" t="t" r="r" b="b"/>
              <a:pathLst>
                <a:path w="5248275" h="1195388">
                  <a:moveTo>
                    <a:pt x="0" y="0"/>
                  </a:moveTo>
                  <a:lnTo>
                    <a:pt x="57150" y="4763"/>
                  </a:lnTo>
                  <a:lnTo>
                    <a:pt x="66675" y="19050"/>
                  </a:lnTo>
                  <a:lnTo>
                    <a:pt x="85725" y="33338"/>
                  </a:lnTo>
                  <a:lnTo>
                    <a:pt x="123825" y="33338"/>
                  </a:lnTo>
                  <a:lnTo>
                    <a:pt x="138113" y="47625"/>
                  </a:lnTo>
                  <a:lnTo>
                    <a:pt x="138113" y="47625"/>
                  </a:lnTo>
                  <a:lnTo>
                    <a:pt x="166688" y="66675"/>
                  </a:lnTo>
                  <a:lnTo>
                    <a:pt x="223838" y="66675"/>
                  </a:lnTo>
                  <a:lnTo>
                    <a:pt x="223838" y="66675"/>
                  </a:lnTo>
                  <a:lnTo>
                    <a:pt x="257175" y="85725"/>
                  </a:lnTo>
                  <a:lnTo>
                    <a:pt x="271463" y="100013"/>
                  </a:lnTo>
                  <a:lnTo>
                    <a:pt x="290513" y="114300"/>
                  </a:lnTo>
                  <a:lnTo>
                    <a:pt x="323850" y="109538"/>
                  </a:lnTo>
                  <a:lnTo>
                    <a:pt x="338138" y="114300"/>
                  </a:lnTo>
                  <a:lnTo>
                    <a:pt x="357188" y="133350"/>
                  </a:lnTo>
                  <a:lnTo>
                    <a:pt x="357188" y="133350"/>
                  </a:lnTo>
                  <a:lnTo>
                    <a:pt x="385763" y="157163"/>
                  </a:lnTo>
                  <a:lnTo>
                    <a:pt x="400050" y="157163"/>
                  </a:lnTo>
                  <a:lnTo>
                    <a:pt x="414338" y="166688"/>
                  </a:lnTo>
                  <a:lnTo>
                    <a:pt x="414338" y="166688"/>
                  </a:lnTo>
                  <a:lnTo>
                    <a:pt x="452438" y="180975"/>
                  </a:lnTo>
                  <a:lnTo>
                    <a:pt x="481013" y="180975"/>
                  </a:lnTo>
                  <a:lnTo>
                    <a:pt x="490538" y="195263"/>
                  </a:lnTo>
                  <a:lnTo>
                    <a:pt x="523875" y="190500"/>
                  </a:lnTo>
                  <a:lnTo>
                    <a:pt x="533400" y="209550"/>
                  </a:lnTo>
                  <a:lnTo>
                    <a:pt x="533400" y="209550"/>
                  </a:lnTo>
                  <a:lnTo>
                    <a:pt x="585788" y="228600"/>
                  </a:lnTo>
                  <a:lnTo>
                    <a:pt x="623888" y="238125"/>
                  </a:lnTo>
                  <a:lnTo>
                    <a:pt x="661988" y="238125"/>
                  </a:lnTo>
                  <a:lnTo>
                    <a:pt x="704850" y="238125"/>
                  </a:lnTo>
                  <a:lnTo>
                    <a:pt x="804863" y="257175"/>
                  </a:lnTo>
                  <a:lnTo>
                    <a:pt x="828675" y="266700"/>
                  </a:lnTo>
                  <a:lnTo>
                    <a:pt x="828675" y="266700"/>
                  </a:lnTo>
                  <a:lnTo>
                    <a:pt x="881063" y="285750"/>
                  </a:lnTo>
                  <a:lnTo>
                    <a:pt x="881063" y="285750"/>
                  </a:lnTo>
                  <a:lnTo>
                    <a:pt x="933450" y="295275"/>
                  </a:lnTo>
                  <a:lnTo>
                    <a:pt x="933450" y="295275"/>
                  </a:lnTo>
                  <a:lnTo>
                    <a:pt x="966788" y="309563"/>
                  </a:lnTo>
                  <a:lnTo>
                    <a:pt x="995363" y="309563"/>
                  </a:lnTo>
                  <a:lnTo>
                    <a:pt x="1014413" y="328613"/>
                  </a:lnTo>
                  <a:lnTo>
                    <a:pt x="1062038" y="342900"/>
                  </a:lnTo>
                  <a:lnTo>
                    <a:pt x="1114425" y="347663"/>
                  </a:lnTo>
                  <a:lnTo>
                    <a:pt x="1114425" y="347663"/>
                  </a:lnTo>
                  <a:lnTo>
                    <a:pt x="1166813" y="366713"/>
                  </a:lnTo>
                  <a:lnTo>
                    <a:pt x="1195388" y="395288"/>
                  </a:lnTo>
                  <a:lnTo>
                    <a:pt x="1195388" y="395288"/>
                  </a:lnTo>
                  <a:lnTo>
                    <a:pt x="1243013" y="404813"/>
                  </a:lnTo>
                  <a:lnTo>
                    <a:pt x="1266825" y="419100"/>
                  </a:lnTo>
                  <a:lnTo>
                    <a:pt x="1309688" y="423863"/>
                  </a:lnTo>
                  <a:lnTo>
                    <a:pt x="1333500" y="442913"/>
                  </a:lnTo>
                  <a:lnTo>
                    <a:pt x="1366838" y="438150"/>
                  </a:lnTo>
                  <a:lnTo>
                    <a:pt x="1395413" y="452438"/>
                  </a:lnTo>
                  <a:lnTo>
                    <a:pt x="1443038" y="452438"/>
                  </a:lnTo>
                  <a:lnTo>
                    <a:pt x="1466850" y="461963"/>
                  </a:lnTo>
                  <a:lnTo>
                    <a:pt x="1466850" y="461963"/>
                  </a:lnTo>
                  <a:lnTo>
                    <a:pt x="1514475" y="481013"/>
                  </a:lnTo>
                  <a:lnTo>
                    <a:pt x="1514475" y="481013"/>
                  </a:lnTo>
                  <a:lnTo>
                    <a:pt x="1571625" y="509588"/>
                  </a:lnTo>
                  <a:lnTo>
                    <a:pt x="1571625" y="509588"/>
                  </a:lnTo>
                  <a:lnTo>
                    <a:pt x="1633538" y="542925"/>
                  </a:lnTo>
                  <a:lnTo>
                    <a:pt x="1662113" y="547688"/>
                  </a:lnTo>
                  <a:lnTo>
                    <a:pt x="1676400" y="566738"/>
                  </a:lnTo>
                  <a:lnTo>
                    <a:pt x="1728788" y="571500"/>
                  </a:lnTo>
                  <a:lnTo>
                    <a:pt x="1781175" y="585788"/>
                  </a:lnTo>
                  <a:lnTo>
                    <a:pt x="1824038" y="595313"/>
                  </a:lnTo>
                  <a:lnTo>
                    <a:pt x="1866900" y="600075"/>
                  </a:lnTo>
                  <a:lnTo>
                    <a:pt x="1919288" y="595313"/>
                  </a:lnTo>
                  <a:lnTo>
                    <a:pt x="1947863" y="619125"/>
                  </a:lnTo>
                  <a:lnTo>
                    <a:pt x="1976438" y="638175"/>
                  </a:lnTo>
                  <a:lnTo>
                    <a:pt x="2009775" y="638175"/>
                  </a:lnTo>
                  <a:lnTo>
                    <a:pt x="2028825" y="647700"/>
                  </a:lnTo>
                  <a:lnTo>
                    <a:pt x="2047875" y="652463"/>
                  </a:lnTo>
                  <a:lnTo>
                    <a:pt x="2076450" y="661988"/>
                  </a:lnTo>
                  <a:lnTo>
                    <a:pt x="2109788" y="661988"/>
                  </a:lnTo>
                  <a:lnTo>
                    <a:pt x="2133600" y="671513"/>
                  </a:lnTo>
                  <a:lnTo>
                    <a:pt x="2133600" y="671513"/>
                  </a:lnTo>
                  <a:lnTo>
                    <a:pt x="2181225" y="685800"/>
                  </a:lnTo>
                  <a:lnTo>
                    <a:pt x="2247900" y="714375"/>
                  </a:lnTo>
                  <a:lnTo>
                    <a:pt x="2309813" y="728663"/>
                  </a:lnTo>
                  <a:lnTo>
                    <a:pt x="2343150" y="742950"/>
                  </a:lnTo>
                  <a:lnTo>
                    <a:pt x="2424113" y="747713"/>
                  </a:lnTo>
                  <a:lnTo>
                    <a:pt x="2424113" y="747713"/>
                  </a:lnTo>
                  <a:lnTo>
                    <a:pt x="2476500" y="771525"/>
                  </a:lnTo>
                  <a:lnTo>
                    <a:pt x="2528888" y="771525"/>
                  </a:lnTo>
                  <a:lnTo>
                    <a:pt x="2586038" y="776288"/>
                  </a:lnTo>
                  <a:lnTo>
                    <a:pt x="2619375" y="776288"/>
                  </a:lnTo>
                  <a:lnTo>
                    <a:pt x="2624138" y="785813"/>
                  </a:lnTo>
                  <a:lnTo>
                    <a:pt x="2647950" y="781050"/>
                  </a:lnTo>
                  <a:lnTo>
                    <a:pt x="2667000" y="795338"/>
                  </a:lnTo>
                  <a:lnTo>
                    <a:pt x="2724150" y="800100"/>
                  </a:lnTo>
                  <a:lnTo>
                    <a:pt x="2752725" y="819150"/>
                  </a:lnTo>
                  <a:lnTo>
                    <a:pt x="2800350" y="819150"/>
                  </a:lnTo>
                  <a:lnTo>
                    <a:pt x="2800350" y="819150"/>
                  </a:lnTo>
                  <a:lnTo>
                    <a:pt x="2867025" y="828675"/>
                  </a:lnTo>
                  <a:lnTo>
                    <a:pt x="2905125" y="828675"/>
                  </a:lnTo>
                  <a:lnTo>
                    <a:pt x="2905125" y="828675"/>
                  </a:lnTo>
                  <a:lnTo>
                    <a:pt x="2957513" y="852488"/>
                  </a:lnTo>
                  <a:lnTo>
                    <a:pt x="3009900" y="847725"/>
                  </a:lnTo>
                  <a:lnTo>
                    <a:pt x="3009900" y="847725"/>
                  </a:lnTo>
                  <a:lnTo>
                    <a:pt x="3095625" y="852488"/>
                  </a:lnTo>
                  <a:lnTo>
                    <a:pt x="3095625" y="852488"/>
                  </a:lnTo>
                  <a:lnTo>
                    <a:pt x="3167063" y="881063"/>
                  </a:lnTo>
                  <a:lnTo>
                    <a:pt x="3205163" y="895350"/>
                  </a:lnTo>
                  <a:lnTo>
                    <a:pt x="3248025" y="895350"/>
                  </a:lnTo>
                  <a:lnTo>
                    <a:pt x="3262313" y="895350"/>
                  </a:lnTo>
                  <a:lnTo>
                    <a:pt x="3262313" y="895350"/>
                  </a:lnTo>
                  <a:lnTo>
                    <a:pt x="3314700" y="928688"/>
                  </a:lnTo>
                  <a:lnTo>
                    <a:pt x="3328988" y="942975"/>
                  </a:lnTo>
                  <a:lnTo>
                    <a:pt x="3400425" y="933450"/>
                  </a:lnTo>
                  <a:lnTo>
                    <a:pt x="3433763" y="947738"/>
                  </a:lnTo>
                  <a:lnTo>
                    <a:pt x="3471863" y="952500"/>
                  </a:lnTo>
                  <a:lnTo>
                    <a:pt x="3471863" y="952500"/>
                  </a:lnTo>
                  <a:lnTo>
                    <a:pt x="3529013" y="976313"/>
                  </a:lnTo>
                  <a:lnTo>
                    <a:pt x="3529013" y="976313"/>
                  </a:lnTo>
                  <a:lnTo>
                    <a:pt x="3590925" y="976313"/>
                  </a:lnTo>
                  <a:lnTo>
                    <a:pt x="3590925" y="976313"/>
                  </a:lnTo>
                  <a:lnTo>
                    <a:pt x="3643313" y="1014413"/>
                  </a:lnTo>
                  <a:lnTo>
                    <a:pt x="3676650" y="1019175"/>
                  </a:lnTo>
                  <a:lnTo>
                    <a:pt x="3767138" y="1033463"/>
                  </a:lnTo>
                  <a:lnTo>
                    <a:pt x="3838575" y="1042988"/>
                  </a:lnTo>
                  <a:lnTo>
                    <a:pt x="3838575" y="1042988"/>
                  </a:lnTo>
                  <a:lnTo>
                    <a:pt x="3890963" y="1066800"/>
                  </a:lnTo>
                  <a:lnTo>
                    <a:pt x="3924300" y="1066800"/>
                  </a:lnTo>
                  <a:lnTo>
                    <a:pt x="3924300" y="1066800"/>
                  </a:lnTo>
                  <a:lnTo>
                    <a:pt x="3962400" y="1081088"/>
                  </a:lnTo>
                  <a:lnTo>
                    <a:pt x="3962400" y="1081088"/>
                  </a:lnTo>
                  <a:lnTo>
                    <a:pt x="4019550" y="1090613"/>
                  </a:lnTo>
                  <a:lnTo>
                    <a:pt x="4019550" y="1090613"/>
                  </a:lnTo>
                  <a:lnTo>
                    <a:pt x="4090988" y="1095375"/>
                  </a:lnTo>
                  <a:lnTo>
                    <a:pt x="4114800" y="1104900"/>
                  </a:lnTo>
                  <a:lnTo>
                    <a:pt x="4157663" y="1104900"/>
                  </a:lnTo>
                  <a:lnTo>
                    <a:pt x="4210050" y="1104900"/>
                  </a:lnTo>
                  <a:lnTo>
                    <a:pt x="4219575" y="1114425"/>
                  </a:lnTo>
                  <a:lnTo>
                    <a:pt x="4257675" y="1114425"/>
                  </a:lnTo>
                  <a:lnTo>
                    <a:pt x="4257675" y="1114425"/>
                  </a:lnTo>
                  <a:lnTo>
                    <a:pt x="4295775" y="1143000"/>
                  </a:lnTo>
                  <a:lnTo>
                    <a:pt x="4295775" y="1143000"/>
                  </a:lnTo>
                  <a:lnTo>
                    <a:pt x="4343400" y="1147763"/>
                  </a:lnTo>
                  <a:lnTo>
                    <a:pt x="4352925" y="1152525"/>
                  </a:lnTo>
                  <a:lnTo>
                    <a:pt x="4410075" y="1152525"/>
                  </a:lnTo>
                  <a:lnTo>
                    <a:pt x="4429125" y="1166813"/>
                  </a:lnTo>
                  <a:lnTo>
                    <a:pt x="4781550" y="1162050"/>
                  </a:lnTo>
                  <a:lnTo>
                    <a:pt x="4800600" y="1181100"/>
                  </a:lnTo>
                  <a:lnTo>
                    <a:pt x="5114925" y="1176338"/>
                  </a:lnTo>
                  <a:lnTo>
                    <a:pt x="5129213" y="1195388"/>
                  </a:lnTo>
                  <a:lnTo>
                    <a:pt x="5248275" y="1195388"/>
                  </a:lnTo>
                </a:path>
              </a:pathLst>
            </a:custGeom>
            <a:noFill/>
            <a:ln w="28575" cap="flat" cmpd="sng" algn="ctr">
              <a:solidFill>
                <a:srgbClr val="1C75BC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itchFamily="34" charset="0"/>
              </a:endParaRPr>
            </a:p>
          </p:txBody>
        </p:sp>
        <p:sp>
          <p:nvSpPr>
            <p:cNvPr id="228" name="Freeform 27">
              <a:extLst>
                <a:ext uri="{FF2B5EF4-FFF2-40B4-BE49-F238E27FC236}">
                  <a16:creationId xmlns:a16="http://schemas.microsoft.com/office/drawing/2014/main" id="{263FC6B1-9A95-46D1-BCAA-56A9BE896BA6}"/>
                </a:ext>
              </a:extLst>
            </p:cNvPr>
            <p:cNvSpPr/>
            <p:nvPr/>
          </p:nvSpPr>
          <p:spPr>
            <a:xfrm>
              <a:off x="3349829" y="2584137"/>
              <a:ext cx="3774701" cy="878114"/>
            </a:xfrm>
            <a:custGeom>
              <a:avLst/>
              <a:gdLst>
                <a:gd name="connsiteX0" fmla="*/ 0 w 4491037"/>
                <a:gd name="connsiteY0" fmla="*/ 0 h 1100137"/>
                <a:gd name="connsiteX1" fmla="*/ 142875 w 4491037"/>
                <a:gd name="connsiteY1" fmla="*/ 85725 h 1100137"/>
                <a:gd name="connsiteX2" fmla="*/ 242887 w 4491037"/>
                <a:gd name="connsiteY2" fmla="*/ 133350 h 1100137"/>
                <a:gd name="connsiteX3" fmla="*/ 342900 w 4491037"/>
                <a:gd name="connsiteY3" fmla="*/ 190500 h 1100137"/>
                <a:gd name="connsiteX4" fmla="*/ 471487 w 4491037"/>
                <a:gd name="connsiteY4" fmla="*/ 247650 h 1100137"/>
                <a:gd name="connsiteX5" fmla="*/ 604837 w 4491037"/>
                <a:gd name="connsiteY5" fmla="*/ 304800 h 1100137"/>
                <a:gd name="connsiteX6" fmla="*/ 719137 w 4491037"/>
                <a:gd name="connsiteY6" fmla="*/ 347662 h 1100137"/>
                <a:gd name="connsiteX7" fmla="*/ 838200 w 4491037"/>
                <a:gd name="connsiteY7" fmla="*/ 395287 h 1100137"/>
                <a:gd name="connsiteX8" fmla="*/ 952500 w 4491037"/>
                <a:gd name="connsiteY8" fmla="*/ 452437 h 1100137"/>
                <a:gd name="connsiteX9" fmla="*/ 1223962 w 4491037"/>
                <a:gd name="connsiteY9" fmla="*/ 542925 h 1100137"/>
                <a:gd name="connsiteX10" fmla="*/ 1390650 w 4491037"/>
                <a:gd name="connsiteY10" fmla="*/ 604837 h 1100137"/>
                <a:gd name="connsiteX11" fmla="*/ 1662112 w 4491037"/>
                <a:gd name="connsiteY11" fmla="*/ 695325 h 1100137"/>
                <a:gd name="connsiteX12" fmla="*/ 1990725 w 4491037"/>
                <a:gd name="connsiteY12" fmla="*/ 790575 h 1100137"/>
                <a:gd name="connsiteX13" fmla="*/ 2314575 w 4491037"/>
                <a:gd name="connsiteY13" fmla="*/ 866775 h 1100137"/>
                <a:gd name="connsiteX14" fmla="*/ 2643187 w 4491037"/>
                <a:gd name="connsiteY14" fmla="*/ 933450 h 1100137"/>
                <a:gd name="connsiteX15" fmla="*/ 2967037 w 4491037"/>
                <a:gd name="connsiteY15" fmla="*/ 990600 h 1100137"/>
                <a:gd name="connsiteX16" fmla="*/ 3338512 w 4491037"/>
                <a:gd name="connsiteY16" fmla="*/ 1038225 h 1100137"/>
                <a:gd name="connsiteX17" fmla="*/ 3695700 w 4491037"/>
                <a:gd name="connsiteY17" fmla="*/ 1071562 h 1100137"/>
                <a:gd name="connsiteX18" fmla="*/ 4052887 w 4491037"/>
                <a:gd name="connsiteY18" fmla="*/ 1095375 h 1100137"/>
                <a:gd name="connsiteX19" fmla="*/ 4419600 w 4491037"/>
                <a:gd name="connsiteY19" fmla="*/ 1100137 h 1100137"/>
                <a:gd name="connsiteX20" fmla="*/ 4491037 w 4491037"/>
                <a:gd name="connsiteY20" fmla="*/ 1100137 h 1100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491037" h="1100137">
                  <a:moveTo>
                    <a:pt x="0" y="0"/>
                  </a:moveTo>
                  <a:lnTo>
                    <a:pt x="142875" y="85725"/>
                  </a:lnTo>
                  <a:lnTo>
                    <a:pt x="242887" y="133350"/>
                  </a:lnTo>
                  <a:lnTo>
                    <a:pt x="342900" y="190500"/>
                  </a:lnTo>
                  <a:lnTo>
                    <a:pt x="471487" y="247650"/>
                  </a:lnTo>
                  <a:lnTo>
                    <a:pt x="604837" y="304800"/>
                  </a:lnTo>
                  <a:lnTo>
                    <a:pt x="719137" y="347662"/>
                  </a:lnTo>
                  <a:lnTo>
                    <a:pt x="838200" y="395287"/>
                  </a:lnTo>
                  <a:lnTo>
                    <a:pt x="952500" y="452437"/>
                  </a:lnTo>
                  <a:lnTo>
                    <a:pt x="1223962" y="542925"/>
                  </a:lnTo>
                  <a:lnTo>
                    <a:pt x="1390650" y="604837"/>
                  </a:lnTo>
                  <a:lnTo>
                    <a:pt x="1662112" y="695325"/>
                  </a:lnTo>
                  <a:lnTo>
                    <a:pt x="1990725" y="790575"/>
                  </a:lnTo>
                  <a:lnTo>
                    <a:pt x="2314575" y="866775"/>
                  </a:lnTo>
                  <a:lnTo>
                    <a:pt x="2643187" y="933450"/>
                  </a:lnTo>
                  <a:lnTo>
                    <a:pt x="2967037" y="990600"/>
                  </a:lnTo>
                  <a:lnTo>
                    <a:pt x="3338512" y="1038225"/>
                  </a:lnTo>
                  <a:lnTo>
                    <a:pt x="3695700" y="1071562"/>
                  </a:lnTo>
                  <a:lnTo>
                    <a:pt x="4052887" y="1095375"/>
                  </a:lnTo>
                  <a:lnTo>
                    <a:pt x="4419600" y="1100137"/>
                  </a:lnTo>
                  <a:lnTo>
                    <a:pt x="4491037" y="1100137"/>
                  </a:lnTo>
                </a:path>
              </a:pathLst>
            </a:custGeom>
            <a:noFill/>
            <a:ln w="28575" cap="flat" cmpd="sng" algn="ctr">
              <a:solidFill>
                <a:srgbClr val="349941"/>
              </a:solidFill>
              <a:prstDash val="dash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itchFamily="34" charset="0"/>
              </a:endParaRPr>
            </a:p>
          </p:txBody>
        </p:sp>
        <p:grpSp>
          <p:nvGrpSpPr>
            <p:cNvPr id="229" name="Group 228">
              <a:extLst>
                <a:ext uri="{FF2B5EF4-FFF2-40B4-BE49-F238E27FC236}">
                  <a16:creationId xmlns:a16="http://schemas.microsoft.com/office/drawing/2014/main" id="{A0E81C03-BD62-4A84-B670-4D98228A48EF}"/>
                </a:ext>
              </a:extLst>
            </p:cNvPr>
            <p:cNvGrpSpPr/>
            <p:nvPr/>
          </p:nvGrpSpPr>
          <p:grpSpPr>
            <a:xfrm>
              <a:off x="3294358" y="2050136"/>
              <a:ext cx="110071" cy="161167"/>
              <a:chOff x="4267331" y="1839529"/>
              <a:chExt cx="112656" cy="164939"/>
            </a:xfrm>
          </p:grpSpPr>
          <p:sp>
            <p:nvSpPr>
              <p:cNvPr id="289" name="Freeform 34">
                <a:extLst>
                  <a:ext uri="{FF2B5EF4-FFF2-40B4-BE49-F238E27FC236}">
                    <a16:creationId xmlns:a16="http://schemas.microsoft.com/office/drawing/2014/main" id="{BF1C1B83-BE53-4341-9B94-283C47337B7D}"/>
                  </a:ext>
                </a:extLst>
              </p:cNvPr>
              <p:cNvSpPr/>
              <p:nvPr/>
            </p:nvSpPr>
            <p:spPr>
              <a:xfrm>
                <a:off x="4320588" y="1839529"/>
                <a:ext cx="2048" cy="156481"/>
              </a:xfrm>
              <a:custGeom>
                <a:avLst/>
                <a:gdLst>
                  <a:gd name="connsiteX0" fmla="*/ 0 w 2381"/>
                  <a:gd name="connsiteY0" fmla="*/ 176213 h 176213"/>
                  <a:gd name="connsiteX1" fmla="*/ 2381 w 2381"/>
                  <a:gd name="connsiteY1" fmla="*/ 0 h 176213"/>
                  <a:gd name="connsiteX2" fmla="*/ 0 w 2381"/>
                  <a:gd name="connsiteY2" fmla="*/ 7144 h 176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381" h="176213">
                    <a:moveTo>
                      <a:pt x="0" y="176213"/>
                    </a:moveTo>
                    <a:cubicBezTo>
                      <a:pt x="794" y="117475"/>
                      <a:pt x="1587" y="58738"/>
                      <a:pt x="2381" y="0"/>
                    </a:cubicBezTo>
                    <a:lnTo>
                      <a:pt x="0" y="7144"/>
                    </a:lnTo>
                  </a:path>
                </a:pathLst>
              </a:custGeom>
              <a:noFill/>
              <a:ln w="19050" cap="flat" cmpd="sng" algn="ctr">
                <a:solidFill>
                  <a:srgbClr val="FF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CH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endParaRPr>
              </a:p>
            </p:txBody>
          </p:sp>
          <p:sp>
            <p:nvSpPr>
              <p:cNvPr id="290" name="Freeform 35">
                <a:extLst>
                  <a:ext uri="{FF2B5EF4-FFF2-40B4-BE49-F238E27FC236}">
                    <a16:creationId xmlns:a16="http://schemas.microsoft.com/office/drawing/2014/main" id="{7F4F724B-AD3C-4506-9022-66CBFCC36148}"/>
                  </a:ext>
                </a:extLst>
              </p:cNvPr>
              <p:cNvSpPr/>
              <p:nvPr/>
            </p:nvSpPr>
            <p:spPr>
              <a:xfrm>
                <a:off x="4267331" y="2004468"/>
                <a:ext cx="108560" cy="0"/>
              </a:xfrm>
              <a:custGeom>
                <a:avLst/>
                <a:gdLst>
                  <a:gd name="connsiteX0" fmla="*/ 0 w 126207"/>
                  <a:gd name="connsiteY0" fmla="*/ 0 h 2381"/>
                  <a:gd name="connsiteX1" fmla="*/ 126207 w 126207"/>
                  <a:gd name="connsiteY1" fmla="*/ 2381 h 2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6207" h="2381">
                    <a:moveTo>
                      <a:pt x="0" y="0"/>
                    </a:moveTo>
                    <a:lnTo>
                      <a:pt x="126207" y="2381"/>
                    </a:lnTo>
                  </a:path>
                </a:pathLst>
              </a:custGeom>
              <a:noFill/>
              <a:ln w="19050" cap="flat" cmpd="sng" algn="ctr">
                <a:solidFill>
                  <a:srgbClr val="FF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CH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endParaRPr>
              </a:p>
            </p:txBody>
          </p:sp>
          <p:sp>
            <p:nvSpPr>
              <p:cNvPr id="291" name="Freeform 36">
                <a:extLst>
                  <a:ext uri="{FF2B5EF4-FFF2-40B4-BE49-F238E27FC236}">
                    <a16:creationId xmlns:a16="http://schemas.microsoft.com/office/drawing/2014/main" id="{7B22A743-EF8B-4E2F-93DC-3868D550D6FA}"/>
                  </a:ext>
                </a:extLst>
              </p:cNvPr>
              <p:cNvSpPr/>
              <p:nvPr/>
            </p:nvSpPr>
            <p:spPr>
              <a:xfrm>
                <a:off x="4267331" y="1928343"/>
                <a:ext cx="112656" cy="0"/>
              </a:xfrm>
              <a:custGeom>
                <a:avLst/>
                <a:gdLst>
                  <a:gd name="connsiteX0" fmla="*/ 0 w 130969"/>
                  <a:gd name="connsiteY0" fmla="*/ 0 h 2381"/>
                  <a:gd name="connsiteX1" fmla="*/ 130969 w 130969"/>
                  <a:gd name="connsiteY1" fmla="*/ 2381 h 2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0969" h="2381">
                    <a:moveTo>
                      <a:pt x="0" y="0"/>
                    </a:moveTo>
                    <a:lnTo>
                      <a:pt x="130969" y="2381"/>
                    </a:lnTo>
                  </a:path>
                </a:pathLst>
              </a:custGeom>
              <a:noFill/>
              <a:ln w="19050" cap="flat" cmpd="sng" algn="ctr">
                <a:solidFill>
                  <a:srgbClr val="FF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CH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endParaRPr>
              </a:p>
            </p:txBody>
          </p:sp>
          <p:sp>
            <p:nvSpPr>
              <p:cNvPr id="292" name="Freeform 38">
                <a:extLst>
                  <a:ext uri="{FF2B5EF4-FFF2-40B4-BE49-F238E27FC236}">
                    <a16:creationId xmlns:a16="http://schemas.microsoft.com/office/drawing/2014/main" id="{BBCAE5EA-491B-468A-9E33-5EA2275ABF4E}"/>
                  </a:ext>
                </a:extLst>
              </p:cNvPr>
              <p:cNvSpPr/>
              <p:nvPr/>
            </p:nvSpPr>
            <p:spPr>
              <a:xfrm>
                <a:off x="4277573" y="1873363"/>
                <a:ext cx="88076" cy="109959"/>
              </a:xfrm>
              <a:custGeom>
                <a:avLst/>
                <a:gdLst>
                  <a:gd name="connsiteX0" fmla="*/ 102393 w 102393"/>
                  <a:gd name="connsiteY0" fmla="*/ 123825 h 123825"/>
                  <a:gd name="connsiteX1" fmla="*/ 0 w 102393"/>
                  <a:gd name="connsiteY1" fmla="*/ 0 h 123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2393" h="123825">
                    <a:moveTo>
                      <a:pt x="102393" y="123825"/>
                    </a:moveTo>
                    <a:lnTo>
                      <a:pt x="0" y="0"/>
                    </a:lnTo>
                  </a:path>
                </a:pathLst>
              </a:custGeom>
              <a:noFill/>
              <a:ln w="19050" cap="flat" cmpd="sng" algn="ctr">
                <a:solidFill>
                  <a:srgbClr val="FF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CH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endParaRPr>
              </a:p>
            </p:txBody>
          </p:sp>
          <p:sp>
            <p:nvSpPr>
              <p:cNvPr id="293" name="Freeform 39">
                <a:extLst>
                  <a:ext uri="{FF2B5EF4-FFF2-40B4-BE49-F238E27FC236}">
                    <a16:creationId xmlns:a16="http://schemas.microsoft.com/office/drawing/2014/main" id="{50945908-3839-498D-8655-978A76C9036A}"/>
                  </a:ext>
                </a:extLst>
              </p:cNvPr>
              <p:cNvSpPr/>
              <p:nvPr/>
            </p:nvSpPr>
            <p:spPr>
              <a:xfrm>
                <a:off x="4277573" y="1875478"/>
                <a:ext cx="81931" cy="105729"/>
              </a:xfrm>
              <a:custGeom>
                <a:avLst/>
                <a:gdLst>
                  <a:gd name="connsiteX0" fmla="*/ 0 w 95250"/>
                  <a:gd name="connsiteY0" fmla="*/ 119062 h 119062"/>
                  <a:gd name="connsiteX1" fmla="*/ 95250 w 95250"/>
                  <a:gd name="connsiteY1" fmla="*/ 0 h 1190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0" h="119062">
                    <a:moveTo>
                      <a:pt x="0" y="119062"/>
                    </a:moveTo>
                    <a:lnTo>
                      <a:pt x="95250" y="0"/>
                    </a:lnTo>
                  </a:path>
                </a:pathLst>
              </a:custGeom>
              <a:noFill/>
              <a:ln w="19050" cap="flat" cmpd="sng" algn="ctr">
                <a:solidFill>
                  <a:srgbClr val="FF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CH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230" name="Group 229">
              <a:extLst>
                <a:ext uri="{FF2B5EF4-FFF2-40B4-BE49-F238E27FC236}">
                  <a16:creationId xmlns:a16="http://schemas.microsoft.com/office/drawing/2014/main" id="{1C71F1EC-71B4-4322-8896-FE29224BBD12}"/>
                </a:ext>
              </a:extLst>
            </p:cNvPr>
            <p:cNvGrpSpPr/>
            <p:nvPr/>
          </p:nvGrpSpPr>
          <p:grpSpPr>
            <a:xfrm>
              <a:off x="3926242" y="2289681"/>
              <a:ext cx="121748" cy="223838"/>
              <a:chOff x="3576638" y="3078956"/>
              <a:chExt cx="138112" cy="223838"/>
            </a:xfrm>
          </p:grpSpPr>
          <p:sp>
            <p:nvSpPr>
              <p:cNvPr id="283" name="Freeform 42">
                <a:extLst>
                  <a:ext uri="{FF2B5EF4-FFF2-40B4-BE49-F238E27FC236}">
                    <a16:creationId xmlns:a16="http://schemas.microsoft.com/office/drawing/2014/main" id="{055BB6F6-2ED9-4630-A8C8-F479F26E40B6}"/>
                  </a:ext>
                </a:extLst>
              </p:cNvPr>
              <p:cNvSpPr/>
              <p:nvPr/>
            </p:nvSpPr>
            <p:spPr>
              <a:xfrm>
                <a:off x="3581400" y="3300412"/>
                <a:ext cx="133350" cy="0"/>
              </a:xfrm>
              <a:custGeom>
                <a:avLst/>
                <a:gdLst>
                  <a:gd name="connsiteX0" fmla="*/ 0 w 133350"/>
                  <a:gd name="connsiteY0" fmla="*/ 0 h 2382"/>
                  <a:gd name="connsiteX1" fmla="*/ 133350 w 133350"/>
                  <a:gd name="connsiteY1" fmla="*/ 2382 h 23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3350" h="2382">
                    <a:moveTo>
                      <a:pt x="0" y="0"/>
                    </a:moveTo>
                    <a:lnTo>
                      <a:pt x="133350" y="2382"/>
                    </a:lnTo>
                  </a:path>
                </a:pathLst>
              </a:custGeom>
              <a:noFill/>
              <a:ln w="19050" cap="flat" cmpd="sng" algn="ctr">
                <a:solidFill>
                  <a:srgbClr val="FF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CH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endParaRPr>
              </a:p>
            </p:txBody>
          </p:sp>
          <p:sp>
            <p:nvSpPr>
              <p:cNvPr id="284" name="Freeform 45">
                <a:extLst>
                  <a:ext uri="{FF2B5EF4-FFF2-40B4-BE49-F238E27FC236}">
                    <a16:creationId xmlns:a16="http://schemas.microsoft.com/office/drawing/2014/main" id="{275BBAD2-7EE8-4E4E-99B9-6DBD9108C036}"/>
                  </a:ext>
                </a:extLst>
              </p:cNvPr>
              <p:cNvSpPr/>
              <p:nvPr/>
            </p:nvSpPr>
            <p:spPr>
              <a:xfrm>
                <a:off x="3645694" y="3078956"/>
                <a:ext cx="0" cy="223838"/>
              </a:xfrm>
              <a:custGeom>
                <a:avLst/>
                <a:gdLst>
                  <a:gd name="connsiteX0" fmla="*/ 0 w 0"/>
                  <a:gd name="connsiteY0" fmla="*/ 0 h 223838"/>
                  <a:gd name="connsiteX1" fmla="*/ 0 w 0"/>
                  <a:gd name="connsiteY1" fmla="*/ 223838 h 2238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23838">
                    <a:moveTo>
                      <a:pt x="0" y="0"/>
                    </a:moveTo>
                    <a:lnTo>
                      <a:pt x="0" y="223838"/>
                    </a:lnTo>
                  </a:path>
                </a:pathLst>
              </a:custGeom>
              <a:noFill/>
              <a:ln w="19050" cap="flat" cmpd="sng" algn="ctr">
                <a:solidFill>
                  <a:srgbClr val="FF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CH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endParaRPr>
              </a:p>
            </p:txBody>
          </p:sp>
          <p:sp>
            <p:nvSpPr>
              <p:cNvPr id="285" name="Freeform 46">
                <a:extLst>
                  <a:ext uri="{FF2B5EF4-FFF2-40B4-BE49-F238E27FC236}">
                    <a16:creationId xmlns:a16="http://schemas.microsoft.com/office/drawing/2014/main" id="{212378AC-9A4F-4A15-9AF2-35D9EDAA6493}"/>
                  </a:ext>
                </a:extLst>
              </p:cNvPr>
              <p:cNvSpPr/>
              <p:nvPr/>
            </p:nvSpPr>
            <p:spPr>
              <a:xfrm>
                <a:off x="3581400" y="3083719"/>
                <a:ext cx="130969" cy="0"/>
              </a:xfrm>
              <a:custGeom>
                <a:avLst/>
                <a:gdLst>
                  <a:gd name="connsiteX0" fmla="*/ 0 w 130969"/>
                  <a:gd name="connsiteY0" fmla="*/ 0 h 0"/>
                  <a:gd name="connsiteX1" fmla="*/ 130969 w 130969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0969">
                    <a:moveTo>
                      <a:pt x="0" y="0"/>
                    </a:moveTo>
                    <a:lnTo>
                      <a:pt x="130969" y="0"/>
                    </a:lnTo>
                  </a:path>
                </a:pathLst>
              </a:custGeom>
              <a:noFill/>
              <a:ln w="19050" cap="flat" cmpd="sng" algn="ctr">
                <a:solidFill>
                  <a:srgbClr val="FF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CH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endParaRPr>
              </a:p>
            </p:txBody>
          </p:sp>
          <p:sp>
            <p:nvSpPr>
              <p:cNvPr id="286" name="Freeform 53">
                <a:extLst>
                  <a:ext uri="{FF2B5EF4-FFF2-40B4-BE49-F238E27FC236}">
                    <a16:creationId xmlns:a16="http://schemas.microsoft.com/office/drawing/2014/main" id="{DBF7E82F-075A-4E17-AEC3-FD7CCA0A78EB}"/>
                  </a:ext>
                </a:extLst>
              </p:cNvPr>
              <p:cNvSpPr/>
              <p:nvPr/>
            </p:nvSpPr>
            <p:spPr>
              <a:xfrm>
                <a:off x="3598069" y="3143250"/>
                <a:ext cx="95250" cy="130969"/>
              </a:xfrm>
              <a:custGeom>
                <a:avLst/>
                <a:gdLst>
                  <a:gd name="connsiteX0" fmla="*/ 0 w 95250"/>
                  <a:gd name="connsiteY0" fmla="*/ 130969 h 130969"/>
                  <a:gd name="connsiteX1" fmla="*/ 95250 w 95250"/>
                  <a:gd name="connsiteY1" fmla="*/ 0 h 1309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0" h="130969">
                    <a:moveTo>
                      <a:pt x="0" y="130969"/>
                    </a:moveTo>
                    <a:lnTo>
                      <a:pt x="95250" y="0"/>
                    </a:lnTo>
                  </a:path>
                </a:pathLst>
              </a:custGeom>
              <a:noFill/>
              <a:ln w="19050" cap="flat" cmpd="sng" algn="ctr">
                <a:solidFill>
                  <a:srgbClr val="FF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CH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endParaRPr>
              </a:p>
            </p:txBody>
          </p:sp>
          <p:sp>
            <p:nvSpPr>
              <p:cNvPr id="287" name="Freeform 56">
                <a:extLst>
                  <a:ext uri="{FF2B5EF4-FFF2-40B4-BE49-F238E27FC236}">
                    <a16:creationId xmlns:a16="http://schemas.microsoft.com/office/drawing/2014/main" id="{5832285B-48DA-44F2-BA45-25AC6A40ADF2}"/>
                  </a:ext>
                </a:extLst>
              </p:cNvPr>
              <p:cNvSpPr/>
              <p:nvPr/>
            </p:nvSpPr>
            <p:spPr>
              <a:xfrm>
                <a:off x="3598069" y="3140869"/>
                <a:ext cx="95250" cy="130969"/>
              </a:xfrm>
              <a:custGeom>
                <a:avLst/>
                <a:gdLst>
                  <a:gd name="connsiteX0" fmla="*/ 0 w 95250"/>
                  <a:gd name="connsiteY0" fmla="*/ 0 h 130969"/>
                  <a:gd name="connsiteX1" fmla="*/ 95250 w 95250"/>
                  <a:gd name="connsiteY1" fmla="*/ 130969 h 1309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0" h="130969">
                    <a:moveTo>
                      <a:pt x="0" y="0"/>
                    </a:moveTo>
                    <a:lnTo>
                      <a:pt x="95250" y="130969"/>
                    </a:lnTo>
                  </a:path>
                </a:pathLst>
              </a:custGeom>
              <a:noFill/>
              <a:ln w="19050" cap="flat" cmpd="sng" algn="ctr">
                <a:solidFill>
                  <a:srgbClr val="FF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CH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endParaRPr>
              </a:p>
            </p:txBody>
          </p:sp>
          <p:sp>
            <p:nvSpPr>
              <p:cNvPr id="288" name="Freeform 96">
                <a:extLst>
                  <a:ext uri="{FF2B5EF4-FFF2-40B4-BE49-F238E27FC236}">
                    <a16:creationId xmlns:a16="http://schemas.microsoft.com/office/drawing/2014/main" id="{6A89FF2D-EC8D-447A-9262-5A97CF164EC4}"/>
                  </a:ext>
                </a:extLst>
              </p:cNvPr>
              <p:cNvSpPr/>
              <p:nvPr/>
            </p:nvSpPr>
            <p:spPr>
              <a:xfrm>
                <a:off x="3576638" y="3207544"/>
                <a:ext cx="133350" cy="4762"/>
              </a:xfrm>
              <a:custGeom>
                <a:avLst/>
                <a:gdLst>
                  <a:gd name="connsiteX0" fmla="*/ 0 w 133350"/>
                  <a:gd name="connsiteY0" fmla="*/ 0 h 4762"/>
                  <a:gd name="connsiteX1" fmla="*/ 133350 w 133350"/>
                  <a:gd name="connsiteY1" fmla="*/ 4762 h 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3350" h="4762">
                    <a:moveTo>
                      <a:pt x="0" y="0"/>
                    </a:moveTo>
                    <a:lnTo>
                      <a:pt x="133350" y="4762"/>
                    </a:lnTo>
                  </a:path>
                </a:pathLst>
              </a:custGeom>
              <a:noFill/>
              <a:ln w="19050" cap="flat" cmpd="sng" algn="ctr">
                <a:solidFill>
                  <a:srgbClr val="FF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CH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231" name="Oval 230">
              <a:extLst>
                <a:ext uri="{FF2B5EF4-FFF2-40B4-BE49-F238E27FC236}">
                  <a16:creationId xmlns:a16="http://schemas.microsoft.com/office/drawing/2014/main" id="{F46E1CE6-E75C-4435-8784-02FDD86F41F7}"/>
                </a:ext>
              </a:extLst>
            </p:cNvPr>
            <p:cNvSpPr/>
            <p:nvPr/>
          </p:nvSpPr>
          <p:spPr>
            <a:xfrm>
              <a:off x="4562695" y="2365540"/>
              <a:ext cx="108078" cy="124174"/>
            </a:xfrm>
            <a:prstGeom prst="ellipse">
              <a:avLst/>
            </a:prstGeom>
            <a:solidFill>
              <a:srgbClr val="1C75BC"/>
            </a:solidFill>
            <a:ln w="25400" cap="flat" cmpd="sng" algn="ctr">
              <a:solidFill>
                <a:srgbClr val="1C75BC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itchFamily="34" charset="0"/>
              </a:endParaRPr>
            </a:p>
          </p:txBody>
        </p:sp>
        <p:sp>
          <p:nvSpPr>
            <p:cNvPr id="232" name="Oval 231">
              <a:extLst>
                <a:ext uri="{FF2B5EF4-FFF2-40B4-BE49-F238E27FC236}">
                  <a16:creationId xmlns:a16="http://schemas.microsoft.com/office/drawing/2014/main" id="{56E05BE4-6574-48EC-A156-A812081E5B4C}"/>
                </a:ext>
              </a:extLst>
            </p:cNvPr>
            <p:cNvSpPr/>
            <p:nvPr/>
          </p:nvSpPr>
          <p:spPr>
            <a:xfrm>
              <a:off x="5827599" y="2626680"/>
              <a:ext cx="108078" cy="124174"/>
            </a:xfrm>
            <a:prstGeom prst="ellipse">
              <a:avLst/>
            </a:prstGeom>
            <a:solidFill>
              <a:srgbClr val="1C75BC"/>
            </a:solidFill>
            <a:ln w="25400" cap="flat" cmpd="sng" algn="ctr">
              <a:solidFill>
                <a:srgbClr val="1C75BC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itchFamily="34" charset="0"/>
              </a:endParaRPr>
            </a:p>
          </p:txBody>
        </p:sp>
        <p:grpSp>
          <p:nvGrpSpPr>
            <p:cNvPr id="233" name="Group 232">
              <a:extLst>
                <a:ext uri="{FF2B5EF4-FFF2-40B4-BE49-F238E27FC236}">
                  <a16:creationId xmlns:a16="http://schemas.microsoft.com/office/drawing/2014/main" id="{EE2C5C85-983F-456E-AC5C-5DFC03855B70}"/>
                </a:ext>
              </a:extLst>
            </p:cNvPr>
            <p:cNvGrpSpPr/>
            <p:nvPr/>
          </p:nvGrpSpPr>
          <p:grpSpPr>
            <a:xfrm>
              <a:off x="4553561" y="2511427"/>
              <a:ext cx="116084" cy="245268"/>
              <a:chOff x="4329112" y="3357563"/>
              <a:chExt cx="138113" cy="245268"/>
            </a:xfrm>
          </p:grpSpPr>
          <p:sp>
            <p:nvSpPr>
              <p:cNvPr id="277" name="Freeform 98">
                <a:extLst>
                  <a:ext uri="{FF2B5EF4-FFF2-40B4-BE49-F238E27FC236}">
                    <a16:creationId xmlns:a16="http://schemas.microsoft.com/office/drawing/2014/main" id="{D32A51F0-D797-4DA8-9DF6-E7FC49BF4470}"/>
                  </a:ext>
                </a:extLst>
              </p:cNvPr>
              <p:cNvSpPr/>
              <p:nvPr/>
            </p:nvSpPr>
            <p:spPr>
              <a:xfrm>
                <a:off x="4329112" y="3359944"/>
                <a:ext cx="138113" cy="0"/>
              </a:xfrm>
              <a:custGeom>
                <a:avLst/>
                <a:gdLst>
                  <a:gd name="connsiteX0" fmla="*/ 0 w 138113"/>
                  <a:gd name="connsiteY0" fmla="*/ 0 h 0"/>
                  <a:gd name="connsiteX1" fmla="*/ 138113 w 138113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8113">
                    <a:moveTo>
                      <a:pt x="0" y="0"/>
                    </a:moveTo>
                    <a:lnTo>
                      <a:pt x="138113" y="0"/>
                    </a:lnTo>
                  </a:path>
                </a:pathLst>
              </a:custGeom>
              <a:noFill/>
              <a:ln w="19050" cap="flat" cmpd="sng" algn="ctr">
                <a:solidFill>
                  <a:srgbClr val="FF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CH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endParaRPr>
              </a:p>
            </p:txBody>
          </p:sp>
          <p:sp>
            <p:nvSpPr>
              <p:cNvPr id="278" name="Freeform 99">
                <a:extLst>
                  <a:ext uri="{FF2B5EF4-FFF2-40B4-BE49-F238E27FC236}">
                    <a16:creationId xmlns:a16="http://schemas.microsoft.com/office/drawing/2014/main" id="{B67D6566-E013-4C70-A685-3B80C13F7D47}"/>
                  </a:ext>
                </a:extLst>
              </p:cNvPr>
              <p:cNvSpPr/>
              <p:nvPr/>
            </p:nvSpPr>
            <p:spPr>
              <a:xfrm>
                <a:off x="4329113" y="3602831"/>
                <a:ext cx="135731" cy="0"/>
              </a:xfrm>
              <a:custGeom>
                <a:avLst/>
                <a:gdLst>
                  <a:gd name="connsiteX0" fmla="*/ 0 w 135731"/>
                  <a:gd name="connsiteY0" fmla="*/ 0 h 0"/>
                  <a:gd name="connsiteX1" fmla="*/ 135731 w 135731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5731">
                    <a:moveTo>
                      <a:pt x="0" y="0"/>
                    </a:moveTo>
                    <a:lnTo>
                      <a:pt x="135731" y="0"/>
                    </a:lnTo>
                  </a:path>
                </a:pathLst>
              </a:custGeom>
              <a:noFill/>
              <a:ln w="19050" cap="flat" cmpd="sng" algn="ctr">
                <a:solidFill>
                  <a:srgbClr val="FF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CH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endParaRPr>
              </a:p>
            </p:txBody>
          </p:sp>
          <p:sp>
            <p:nvSpPr>
              <p:cNvPr id="279" name="Freeform 100">
                <a:extLst>
                  <a:ext uri="{FF2B5EF4-FFF2-40B4-BE49-F238E27FC236}">
                    <a16:creationId xmlns:a16="http://schemas.microsoft.com/office/drawing/2014/main" id="{08E5192F-F871-4743-A6DA-F4F82A99452E}"/>
                  </a:ext>
                </a:extLst>
              </p:cNvPr>
              <p:cNvSpPr/>
              <p:nvPr/>
            </p:nvSpPr>
            <p:spPr>
              <a:xfrm>
                <a:off x="4400550" y="3357563"/>
                <a:ext cx="0" cy="245268"/>
              </a:xfrm>
              <a:custGeom>
                <a:avLst/>
                <a:gdLst>
                  <a:gd name="connsiteX0" fmla="*/ 0 w 4762"/>
                  <a:gd name="connsiteY0" fmla="*/ 0 h 245268"/>
                  <a:gd name="connsiteX1" fmla="*/ 4762 w 4762"/>
                  <a:gd name="connsiteY1" fmla="*/ 245268 h 2452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" h="245268">
                    <a:moveTo>
                      <a:pt x="0" y="0"/>
                    </a:moveTo>
                    <a:cubicBezTo>
                      <a:pt x="1587" y="81756"/>
                      <a:pt x="3175" y="163512"/>
                      <a:pt x="4762" y="245268"/>
                    </a:cubicBezTo>
                  </a:path>
                </a:pathLst>
              </a:custGeom>
              <a:noFill/>
              <a:ln w="19050" cap="flat" cmpd="sng" algn="ctr">
                <a:solidFill>
                  <a:srgbClr val="FF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CH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endParaRPr>
              </a:p>
            </p:txBody>
          </p:sp>
          <p:sp>
            <p:nvSpPr>
              <p:cNvPr id="280" name="Freeform 103">
                <a:extLst>
                  <a:ext uri="{FF2B5EF4-FFF2-40B4-BE49-F238E27FC236}">
                    <a16:creationId xmlns:a16="http://schemas.microsoft.com/office/drawing/2014/main" id="{E71E7795-B661-4D5B-BBCF-981BDCBF1F83}"/>
                  </a:ext>
                </a:extLst>
              </p:cNvPr>
              <p:cNvSpPr/>
              <p:nvPr/>
            </p:nvSpPr>
            <p:spPr>
              <a:xfrm>
                <a:off x="4348163" y="3417094"/>
                <a:ext cx="102393" cy="138112"/>
              </a:xfrm>
              <a:custGeom>
                <a:avLst/>
                <a:gdLst>
                  <a:gd name="connsiteX0" fmla="*/ 0 w 102393"/>
                  <a:gd name="connsiteY0" fmla="*/ 0 h 138112"/>
                  <a:gd name="connsiteX1" fmla="*/ 102393 w 102393"/>
                  <a:gd name="connsiteY1" fmla="*/ 138112 h 1381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2393" h="138112">
                    <a:moveTo>
                      <a:pt x="0" y="0"/>
                    </a:moveTo>
                    <a:lnTo>
                      <a:pt x="102393" y="138112"/>
                    </a:lnTo>
                  </a:path>
                </a:pathLst>
              </a:custGeom>
              <a:noFill/>
              <a:ln w="19050" cap="flat" cmpd="sng" algn="ctr">
                <a:solidFill>
                  <a:srgbClr val="FF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CH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endParaRPr>
              </a:p>
            </p:txBody>
          </p:sp>
          <p:sp>
            <p:nvSpPr>
              <p:cNvPr id="281" name="Freeform 104">
                <a:extLst>
                  <a:ext uri="{FF2B5EF4-FFF2-40B4-BE49-F238E27FC236}">
                    <a16:creationId xmlns:a16="http://schemas.microsoft.com/office/drawing/2014/main" id="{3C0FC64C-C53D-4235-BD2B-B879AA167D5E}"/>
                  </a:ext>
                </a:extLst>
              </p:cNvPr>
              <p:cNvSpPr/>
              <p:nvPr/>
            </p:nvSpPr>
            <p:spPr>
              <a:xfrm>
                <a:off x="4348163" y="3414713"/>
                <a:ext cx="100012" cy="138112"/>
              </a:xfrm>
              <a:custGeom>
                <a:avLst/>
                <a:gdLst>
                  <a:gd name="connsiteX0" fmla="*/ 0 w 100012"/>
                  <a:gd name="connsiteY0" fmla="*/ 138112 h 138112"/>
                  <a:gd name="connsiteX1" fmla="*/ 100012 w 100012"/>
                  <a:gd name="connsiteY1" fmla="*/ 0 h 1381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0012" h="138112">
                    <a:moveTo>
                      <a:pt x="0" y="138112"/>
                    </a:moveTo>
                    <a:lnTo>
                      <a:pt x="100012" y="0"/>
                    </a:lnTo>
                  </a:path>
                </a:pathLst>
              </a:custGeom>
              <a:noFill/>
              <a:ln w="19050" cap="flat" cmpd="sng" algn="ctr">
                <a:solidFill>
                  <a:srgbClr val="FF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CH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endParaRPr>
              </a:p>
            </p:txBody>
          </p:sp>
          <p:sp>
            <p:nvSpPr>
              <p:cNvPr id="282" name="Freeform 105">
                <a:extLst>
                  <a:ext uri="{FF2B5EF4-FFF2-40B4-BE49-F238E27FC236}">
                    <a16:creationId xmlns:a16="http://schemas.microsoft.com/office/drawing/2014/main" id="{361094BF-F51C-47A9-BC79-0ED343ADC436}"/>
                  </a:ext>
                </a:extLst>
              </p:cNvPr>
              <p:cNvSpPr/>
              <p:nvPr/>
            </p:nvSpPr>
            <p:spPr>
              <a:xfrm>
                <a:off x="4333875" y="3481387"/>
                <a:ext cx="133350" cy="2382"/>
              </a:xfrm>
              <a:custGeom>
                <a:avLst/>
                <a:gdLst>
                  <a:gd name="connsiteX0" fmla="*/ 0 w 133350"/>
                  <a:gd name="connsiteY0" fmla="*/ 0 h 2382"/>
                  <a:gd name="connsiteX1" fmla="*/ 133350 w 133350"/>
                  <a:gd name="connsiteY1" fmla="*/ 2382 h 23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3350" h="2382">
                    <a:moveTo>
                      <a:pt x="0" y="0"/>
                    </a:moveTo>
                    <a:lnTo>
                      <a:pt x="133350" y="2382"/>
                    </a:lnTo>
                  </a:path>
                </a:pathLst>
              </a:custGeom>
              <a:noFill/>
              <a:ln w="19050" cap="flat" cmpd="sng" algn="ctr">
                <a:solidFill>
                  <a:srgbClr val="FF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CH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234" name="Oval 233">
              <a:extLst>
                <a:ext uri="{FF2B5EF4-FFF2-40B4-BE49-F238E27FC236}">
                  <a16:creationId xmlns:a16="http://schemas.microsoft.com/office/drawing/2014/main" id="{B185573B-AD7B-4630-AC1A-4FCB26531B6F}"/>
                </a:ext>
              </a:extLst>
            </p:cNvPr>
            <p:cNvSpPr/>
            <p:nvPr/>
          </p:nvSpPr>
          <p:spPr>
            <a:xfrm>
              <a:off x="7094507" y="2754607"/>
              <a:ext cx="108078" cy="124174"/>
            </a:xfrm>
            <a:prstGeom prst="ellipse">
              <a:avLst/>
            </a:prstGeom>
            <a:solidFill>
              <a:srgbClr val="1C75BC"/>
            </a:solidFill>
            <a:ln w="25400" cap="flat" cmpd="sng" algn="ctr">
              <a:solidFill>
                <a:srgbClr val="1C75BC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itchFamily="34" charset="0"/>
              </a:endParaRPr>
            </a:p>
          </p:txBody>
        </p:sp>
        <p:sp>
          <p:nvSpPr>
            <p:cNvPr id="235" name="Oval 234">
              <a:extLst>
                <a:ext uri="{FF2B5EF4-FFF2-40B4-BE49-F238E27FC236}">
                  <a16:creationId xmlns:a16="http://schemas.microsoft.com/office/drawing/2014/main" id="{5CB9B3DA-E573-4574-BD99-80238A59423F}"/>
                </a:ext>
              </a:extLst>
            </p:cNvPr>
            <p:cNvSpPr/>
            <p:nvPr/>
          </p:nvSpPr>
          <p:spPr>
            <a:xfrm>
              <a:off x="7094507" y="3394577"/>
              <a:ext cx="108078" cy="124174"/>
            </a:xfrm>
            <a:prstGeom prst="ellipse">
              <a:avLst/>
            </a:prstGeom>
            <a:noFill/>
            <a:ln w="25400" cap="flat" cmpd="sng" algn="ctr">
              <a:solidFill>
                <a:srgbClr val="34994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itchFamily="34" charset="0"/>
              </a:endParaRPr>
            </a:p>
          </p:txBody>
        </p:sp>
        <p:sp>
          <p:nvSpPr>
            <p:cNvPr id="236" name="Oval 235">
              <a:extLst>
                <a:ext uri="{FF2B5EF4-FFF2-40B4-BE49-F238E27FC236}">
                  <a16:creationId xmlns:a16="http://schemas.microsoft.com/office/drawing/2014/main" id="{A469B59D-299E-458F-93EC-1665505EA7A7}"/>
                </a:ext>
              </a:extLst>
            </p:cNvPr>
            <p:cNvSpPr/>
            <p:nvPr/>
          </p:nvSpPr>
          <p:spPr>
            <a:xfrm>
              <a:off x="5827599" y="3317480"/>
              <a:ext cx="108078" cy="124174"/>
            </a:xfrm>
            <a:prstGeom prst="ellipse">
              <a:avLst/>
            </a:prstGeom>
            <a:noFill/>
            <a:ln w="25400" cap="flat" cmpd="sng" algn="ctr">
              <a:solidFill>
                <a:srgbClr val="34994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itchFamily="34" charset="0"/>
              </a:endParaRPr>
            </a:p>
          </p:txBody>
        </p:sp>
        <p:sp>
          <p:nvSpPr>
            <p:cNvPr id="237" name="Oval 236">
              <a:extLst>
                <a:ext uri="{FF2B5EF4-FFF2-40B4-BE49-F238E27FC236}">
                  <a16:creationId xmlns:a16="http://schemas.microsoft.com/office/drawing/2014/main" id="{D230C684-8091-4E5F-8300-D8686935CF56}"/>
                </a:ext>
              </a:extLst>
            </p:cNvPr>
            <p:cNvSpPr/>
            <p:nvPr/>
          </p:nvSpPr>
          <p:spPr>
            <a:xfrm>
              <a:off x="4562696" y="3041672"/>
              <a:ext cx="108078" cy="124174"/>
            </a:xfrm>
            <a:prstGeom prst="ellipse">
              <a:avLst/>
            </a:prstGeom>
            <a:noFill/>
            <a:ln w="25400" cap="flat" cmpd="sng" algn="ctr">
              <a:solidFill>
                <a:srgbClr val="34994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itchFamily="34" charset="0"/>
              </a:endParaRPr>
            </a:p>
          </p:txBody>
        </p:sp>
        <p:sp>
          <p:nvSpPr>
            <p:cNvPr id="238" name="Oval 237">
              <a:extLst>
                <a:ext uri="{FF2B5EF4-FFF2-40B4-BE49-F238E27FC236}">
                  <a16:creationId xmlns:a16="http://schemas.microsoft.com/office/drawing/2014/main" id="{81BA9B0A-3A61-41CF-AE3B-7DB04784D71B}"/>
                </a:ext>
              </a:extLst>
            </p:cNvPr>
            <p:cNvSpPr/>
            <p:nvPr/>
          </p:nvSpPr>
          <p:spPr>
            <a:xfrm>
              <a:off x="3297790" y="2529285"/>
              <a:ext cx="108078" cy="124174"/>
            </a:xfrm>
            <a:prstGeom prst="ellipse">
              <a:avLst/>
            </a:prstGeom>
            <a:noFill/>
            <a:ln w="25400" cap="flat" cmpd="sng" algn="ctr">
              <a:solidFill>
                <a:srgbClr val="34994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itchFamily="34" charset="0"/>
              </a:endParaRPr>
            </a:p>
          </p:txBody>
        </p:sp>
        <p:sp>
          <p:nvSpPr>
            <p:cNvPr id="239" name="TextBox 238">
              <a:extLst>
                <a:ext uri="{FF2B5EF4-FFF2-40B4-BE49-F238E27FC236}">
                  <a16:creationId xmlns:a16="http://schemas.microsoft.com/office/drawing/2014/main" id="{8DFCC50B-86A1-4093-BF00-DE796BBB8E91}"/>
                </a:ext>
              </a:extLst>
            </p:cNvPr>
            <p:cNvSpPr txBox="1"/>
            <p:nvPr/>
          </p:nvSpPr>
          <p:spPr>
            <a:xfrm>
              <a:off x="8134250" y="3639019"/>
              <a:ext cx="288841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Французский регистр (2002–2003)</a:t>
              </a:r>
            </a:p>
          </p:txBody>
        </p:sp>
        <p:grpSp>
          <p:nvGrpSpPr>
            <p:cNvPr id="240" name="Group 239">
              <a:extLst>
                <a:ext uri="{FF2B5EF4-FFF2-40B4-BE49-F238E27FC236}">
                  <a16:creationId xmlns:a16="http://schemas.microsoft.com/office/drawing/2014/main" id="{EBAAC55E-E408-4C29-8830-6AF99F59F12D}"/>
                </a:ext>
              </a:extLst>
            </p:cNvPr>
            <p:cNvGrpSpPr/>
            <p:nvPr/>
          </p:nvGrpSpPr>
          <p:grpSpPr>
            <a:xfrm>
              <a:off x="7986966" y="3693258"/>
              <a:ext cx="130969" cy="168521"/>
              <a:chOff x="2655094" y="4306261"/>
              <a:chExt cx="130969" cy="180975"/>
            </a:xfrm>
            <a:noFill/>
          </p:grpSpPr>
          <p:sp>
            <p:nvSpPr>
              <p:cNvPr id="273" name="Freeform 107">
                <a:extLst>
                  <a:ext uri="{FF2B5EF4-FFF2-40B4-BE49-F238E27FC236}">
                    <a16:creationId xmlns:a16="http://schemas.microsoft.com/office/drawing/2014/main" id="{65BAF5F0-DD44-455C-A750-E42EAC80DCD6}"/>
                  </a:ext>
                </a:extLst>
              </p:cNvPr>
              <p:cNvSpPr/>
              <p:nvPr/>
            </p:nvSpPr>
            <p:spPr>
              <a:xfrm>
                <a:off x="2724150" y="4306261"/>
                <a:ext cx="0" cy="180975"/>
              </a:xfrm>
              <a:custGeom>
                <a:avLst/>
                <a:gdLst>
                  <a:gd name="connsiteX0" fmla="*/ 0 w 0"/>
                  <a:gd name="connsiteY0" fmla="*/ 0 h 180975"/>
                  <a:gd name="connsiteX1" fmla="*/ 0 w 0"/>
                  <a:gd name="connsiteY1" fmla="*/ 180975 h 180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180975">
                    <a:moveTo>
                      <a:pt x="0" y="0"/>
                    </a:moveTo>
                    <a:lnTo>
                      <a:pt x="0" y="180975"/>
                    </a:lnTo>
                  </a:path>
                </a:pathLst>
              </a:custGeom>
              <a:grpFill/>
              <a:ln w="19050" cap="flat" cmpd="sng" algn="ctr">
                <a:solidFill>
                  <a:srgbClr val="FF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CH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endParaRPr>
              </a:p>
            </p:txBody>
          </p:sp>
          <p:sp>
            <p:nvSpPr>
              <p:cNvPr id="274" name="Freeform 108">
                <a:extLst>
                  <a:ext uri="{FF2B5EF4-FFF2-40B4-BE49-F238E27FC236}">
                    <a16:creationId xmlns:a16="http://schemas.microsoft.com/office/drawing/2014/main" id="{46318329-C597-4999-9400-B79907B6D426}"/>
                  </a:ext>
                </a:extLst>
              </p:cNvPr>
              <p:cNvSpPr/>
              <p:nvPr/>
            </p:nvSpPr>
            <p:spPr>
              <a:xfrm>
                <a:off x="2655094" y="4399130"/>
                <a:ext cx="130969" cy="2381"/>
              </a:xfrm>
              <a:custGeom>
                <a:avLst/>
                <a:gdLst>
                  <a:gd name="connsiteX0" fmla="*/ 0 w 130969"/>
                  <a:gd name="connsiteY0" fmla="*/ 0 h 2381"/>
                  <a:gd name="connsiteX1" fmla="*/ 130969 w 130969"/>
                  <a:gd name="connsiteY1" fmla="*/ 2381 h 2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0969" h="2381">
                    <a:moveTo>
                      <a:pt x="0" y="0"/>
                    </a:moveTo>
                    <a:lnTo>
                      <a:pt x="130969" y="2381"/>
                    </a:lnTo>
                  </a:path>
                </a:pathLst>
              </a:custGeom>
              <a:grpFill/>
              <a:ln w="19050" cap="flat" cmpd="sng" algn="ctr">
                <a:solidFill>
                  <a:srgbClr val="FF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CH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endParaRPr>
              </a:p>
            </p:txBody>
          </p:sp>
          <p:sp>
            <p:nvSpPr>
              <p:cNvPr id="275" name="Freeform 109">
                <a:extLst>
                  <a:ext uri="{FF2B5EF4-FFF2-40B4-BE49-F238E27FC236}">
                    <a16:creationId xmlns:a16="http://schemas.microsoft.com/office/drawing/2014/main" id="{7EDA7C9B-E9AF-43EF-A6A2-0F00B3B87D42}"/>
                  </a:ext>
                </a:extLst>
              </p:cNvPr>
              <p:cNvSpPr/>
              <p:nvPr/>
            </p:nvSpPr>
            <p:spPr>
              <a:xfrm>
                <a:off x="2674144" y="4330186"/>
                <a:ext cx="95249" cy="138114"/>
              </a:xfrm>
              <a:custGeom>
                <a:avLst/>
                <a:gdLst>
                  <a:gd name="connsiteX0" fmla="*/ 0 w 95250"/>
                  <a:gd name="connsiteY0" fmla="*/ 0 h 138113"/>
                  <a:gd name="connsiteX1" fmla="*/ 95250 w 95250"/>
                  <a:gd name="connsiteY1" fmla="*/ 138113 h 138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0" h="138113">
                    <a:moveTo>
                      <a:pt x="0" y="0"/>
                    </a:moveTo>
                    <a:lnTo>
                      <a:pt x="95250" y="138113"/>
                    </a:lnTo>
                  </a:path>
                </a:pathLst>
              </a:custGeom>
              <a:grpFill/>
              <a:ln w="19050" cap="flat" cmpd="sng" algn="ctr">
                <a:solidFill>
                  <a:srgbClr val="FF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CH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endParaRPr>
              </a:p>
            </p:txBody>
          </p:sp>
          <p:sp>
            <p:nvSpPr>
              <p:cNvPr id="276" name="Freeform 116">
                <a:extLst>
                  <a:ext uri="{FF2B5EF4-FFF2-40B4-BE49-F238E27FC236}">
                    <a16:creationId xmlns:a16="http://schemas.microsoft.com/office/drawing/2014/main" id="{EE49A2E2-EBC1-4435-8F73-60F5167476F9}"/>
                  </a:ext>
                </a:extLst>
              </p:cNvPr>
              <p:cNvSpPr/>
              <p:nvPr/>
            </p:nvSpPr>
            <p:spPr>
              <a:xfrm>
                <a:off x="2674144" y="4327697"/>
                <a:ext cx="95249" cy="138114"/>
              </a:xfrm>
              <a:custGeom>
                <a:avLst/>
                <a:gdLst>
                  <a:gd name="connsiteX0" fmla="*/ 0 w 95250"/>
                  <a:gd name="connsiteY0" fmla="*/ 138113 h 138113"/>
                  <a:gd name="connsiteX1" fmla="*/ 95250 w 95250"/>
                  <a:gd name="connsiteY1" fmla="*/ 0 h 138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0" h="138113">
                    <a:moveTo>
                      <a:pt x="0" y="138113"/>
                    </a:moveTo>
                    <a:lnTo>
                      <a:pt x="95250" y="0"/>
                    </a:lnTo>
                  </a:path>
                </a:pathLst>
              </a:custGeom>
              <a:grpFill/>
              <a:ln w="19050" cap="flat" cmpd="sng" algn="ctr">
                <a:solidFill>
                  <a:srgbClr val="FF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CH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241" name="Group 240">
              <a:extLst>
                <a:ext uri="{FF2B5EF4-FFF2-40B4-BE49-F238E27FC236}">
                  <a16:creationId xmlns:a16="http://schemas.microsoft.com/office/drawing/2014/main" id="{F4ECAF1A-811E-4DD1-B1F7-188251730B5D}"/>
                </a:ext>
              </a:extLst>
            </p:cNvPr>
            <p:cNvGrpSpPr/>
            <p:nvPr/>
          </p:nvGrpSpPr>
          <p:grpSpPr>
            <a:xfrm>
              <a:off x="7928797" y="2787958"/>
              <a:ext cx="247306" cy="124160"/>
              <a:chOff x="2571184" y="4607663"/>
              <a:chExt cx="294238" cy="133350"/>
            </a:xfrm>
            <a:solidFill>
              <a:srgbClr val="7E2E78">
                <a:lumMod val="50000"/>
              </a:srgbClr>
            </a:solidFill>
          </p:grpSpPr>
          <p:sp>
            <p:nvSpPr>
              <p:cNvPr id="271" name="Freeform 117">
                <a:extLst>
                  <a:ext uri="{FF2B5EF4-FFF2-40B4-BE49-F238E27FC236}">
                    <a16:creationId xmlns:a16="http://schemas.microsoft.com/office/drawing/2014/main" id="{6FE159AC-1C99-424D-B2D5-202F0500FB40}"/>
                  </a:ext>
                </a:extLst>
              </p:cNvPr>
              <p:cNvSpPr/>
              <p:nvPr/>
            </p:nvSpPr>
            <p:spPr>
              <a:xfrm>
                <a:off x="2571184" y="4676245"/>
                <a:ext cx="294238" cy="4527"/>
              </a:xfrm>
              <a:custGeom>
                <a:avLst/>
                <a:gdLst>
                  <a:gd name="connsiteX0" fmla="*/ 0 w 294238"/>
                  <a:gd name="connsiteY0" fmla="*/ 0 h 4527"/>
                  <a:gd name="connsiteX1" fmla="*/ 294238 w 294238"/>
                  <a:gd name="connsiteY1" fmla="*/ 4527 h 4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238" h="4527">
                    <a:moveTo>
                      <a:pt x="0" y="0"/>
                    </a:moveTo>
                    <a:lnTo>
                      <a:pt x="294238" y="4527"/>
                    </a:lnTo>
                  </a:path>
                </a:pathLst>
              </a:custGeom>
              <a:grpFill/>
              <a:ln w="28575" cap="flat" cmpd="sng" algn="ctr">
                <a:solidFill>
                  <a:srgbClr val="1C75BC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CH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endParaRPr>
              </a:p>
            </p:txBody>
          </p:sp>
          <p:sp>
            <p:nvSpPr>
              <p:cNvPr id="272" name="Oval 271">
                <a:extLst>
                  <a:ext uri="{FF2B5EF4-FFF2-40B4-BE49-F238E27FC236}">
                    <a16:creationId xmlns:a16="http://schemas.microsoft.com/office/drawing/2014/main" id="{5BD6CD6F-F17E-4257-8C14-0F979CAF312B}"/>
                  </a:ext>
                </a:extLst>
              </p:cNvPr>
              <p:cNvSpPr/>
              <p:nvPr/>
            </p:nvSpPr>
            <p:spPr>
              <a:xfrm>
                <a:off x="2659547" y="4607663"/>
                <a:ext cx="128588" cy="133350"/>
              </a:xfrm>
              <a:prstGeom prst="ellipse">
                <a:avLst/>
              </a:prstGeom>
              <a:solidFill>
                <a:srgbClr val="1C75BC"/>
              </a:solidFill>
              <a:ln w="25400" cap="flat" cmpd="sng" algn="ctr">
                <a:solidFill>
                  <a:srgbClr val="1C75BC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CH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242" name="TextBox 241">
              <a:extLst>
                <a:ext uri="{FF2B5EF4-FFF2-40B4-BE49-F238E27FC236}">
                  <a16:creationId xmlns:a16="http://schemas.microsoft.com/office/drawing/2014/main" id="{C8CE7CC0-FD7A-40E9-BA23-6CCD7C222D45}"/>
                </a:ext>
              </a:extLst>
            </p:cNvPr>
            <p:cNvSpPr txBox="1"/>
            <p:nvPr/>
          </p:nvSpPr>
          <p:spPr>
            <a:xfrm>
              <a:off x="8134251" y="2711539"/>
              <a:ext cx="377181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Невзвешенная когорта NIH REVEAL (2001–2009)</a:t>
              </a:r>
            </a:p>
          </p:txBody>
        </p:sp>
        <p:grpSp>
          <p:nvGrpSpPr>
            <p:cNvPr id="243" name="Group 242">
              <a:extLst>
                <a:ext uri="{FF2B5EF4-FFF2-40B4-BE49-F238E27FC236}">
                  <a16:creationId xmlns:a16="http://schemas.microsoft.com/office/drawing/2014/main" id="{C292F25C-6950-4534-98F6-A22DCEF78AD2}"/>
                </a:ext>
              </a:extLst>
            </p:cNvPr>
            <p:cNvGrpSpPr/>
            <p:nvPr/>
          </p:nvGrpSpPr>
          <p:grpSpPr>
            <a:xfrm>
              <a:off x="7928814" y="3247103"/>
              <a:ext cx="247273" cy="133350"/>
              <a:chOff x="2578730" y="4853727"/>
              <a:chExt cx="294238" cy="133350"/>
            </a:xfrm>
            <a:noFill/>
          </p:grpSpPr>
          <p:sp>
            <p:nvSpPr>
              <p:cNvPr id="269" name="Freeform 121">
                <a:extLst>
                  <a:ext uri="{FF2B5EF4-FFF2-40B4-BE49-F238E27FC236}">
                    <a16:creationId xmlns:a16="http://schemas.microsoft.com/office/drawing/2014/main" id="{EA792EEF-AA23-4E8C-B260-2DC3D566DF78}"/>
                  </a:ext>
                </a:extLst>
              </p:cNvPr>
              <p:cNvSpPr/>
              <p:nvPr/>
            </p:nvSpPr>
            <p:spPr>
              <a:xfrm>
                <a:off x="2578730" y="4919644"/>
                <a:ext cx="294238" cy="0"/>
              </a:xfrm>
              <a:custGeom>
                <a:avLst/>
                <a:gdLst>
                  <a:gd name="connsiteX0" fmla="*/ 0 w 294238"/>
                  <a:gd name="connsiteY0" fmla="*/ 0 h 4527"/>
                  <a:gd name="connsiteX1" fmla="*/ 294238 w 294238"/>
                  <a:gd name="connsiteY1" fmla="*/ 4527 h 4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238" h="4527">
                    <a:moveTo>
                      <a:pt x="0" y="0"/>
                    </a:moveTo>
                    <a:lnTo>
                      <a:pt x="294238" y="4527"/>
                    </a:lnTo>
                  </a:path>
                </a:pathLst>
              </a:custGeom>
              <a:grpFill/>
              <a:ln w="28575" cap="flat" cmpd="sng" algn="ctr">
                <a:solidFill>
                  <a:srgbClr val="349941"/>
                </a:solidFill>
                <a:prstDash val="dash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CH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endParaRPr>
              </a:p>
            </p:txBody>
          </p:sp>
          <p:sp>
            <p:nvSpPr>
              <p:cNvPr id="270" name="Oval 269">
                <a:extLst>
                  <a:ext uri="{FF2B5EF4-FFF2-40B4-BE49-F238E27FC236}">
                    <a16:creationId xmlns:a16="http://schemas.microsoft.com/office/drawing/2014/main" id="{BE48405B-8206-49B6-9285-594857A9233D}"/>
                  </a:ext>
                </a:extLst>
              </p:cNvPr>
              <p:cNvSpPr/>
              <p:nvPr/>
            </p:nvSpPr>
            <p:spPr>
              <a:xfrm>
                <a:off x="2661998" y="4853727"/>
                <a:ext cx="128588" cy="133350"/>
              </a:xfrm>
              <a:prstGeom prst="ellipse">
                <a:avLst/>
              </a:prstGeom>
              <a:grpFill/>
              <a:ln w="25400" cap="flat" cmpd="sng" algn="ctr">
                <a:solidFill>
                  <a:srgbClr val="349941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CH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244" name="TextBox 243">
              <a:extLst>
                <a:ext uri="{FF2B5EF4-FFF2-40B4-BE49-F238E27FC236}">
                  <a16:creationId xmlns:a16="http://schemas.microsoft.com/office/drawing/2014/main" id="{2A17AA97-F02C-4AD4-9609-DFF60E2455C2}"/>
                </a:ext>
              </a:extLst>
            </p:cNvPr>
            <p:cNvSpPr txBox="1"/>
            <p:nvPr/>
          </p:nvSpPr>
          <p:spPr>
            <a:xfrm>
              <a:off x="8134251" y="3175279"/>
              <a:ext cx="394052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Прогнозируемая выживаемость по уравнению NIH (1981–1984)</a:t>
              </a:r>
            </a:p>
          </p:txBody>
        </p:sp>
        <p:sp>
          <p:nvSpPr>
            <p:cNvPr id="245" name="TextBox 244">
              <a:extLst>
                <a:ext uri="{FF2B5EF4-FFF2-40B4-BE49-F238E27FC236}">
                  <a16:creationId xmlns:a16="http://schemas.microsoft.com/office/drawing/2014/main" id="{C2F9F3F5-557B-4BDD-A8AA-24E61739BA79}"/>
                </a:ext>
              </a:extLst>
            </p:cNvPr>
            <p:cNvSpPr txBox="1"/>
            <p:nvPr/>
          </p:nvSpPr>
          <p:spPr>
            <a:xfrm>
              <a:off x="4052532" y="1976478"/>
              <a:ext cx="1234118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1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74,5 ± 2,5</a:t>
              </a:r>
            </a:p>
          </p:txBody>
        </p:sp>
        <p:sp>
          <p:nvSpPr>
            <p:cNvPr id="246" name="TextBox 245">
              <a:extLst>
                <a:ext uri="{FF2B5EF4-FFF2-40B4-BE49-F238E27FC236}">
                  <a16:creationId xmlns:a16="http://schemas.microsoft.com/office/drawing/2014/main" id="{D2ABA718-2D54-4262-BAE3-5EAE6B163F36}"/>
                </a:ext>
              </a:extLst>
            </p:cNvPr>
            <p:cNvSpPr txBox="1"/>
            <p:nvPr/>
          </p:nvSpPr>
          <p:spPr>
            <a:xfrm>
              <a:off x="5271224" y="2261281"/>
              <a:ext cx="1319154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1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64,5 ± 2,5</a:t>
              </a:r>
            </a:p>
          </p:txBody>
        </p:sp>
        <p:sp>
          <p:nvSpPr>
            <p:cNvPr id="247" name="TextBox 246">
              <a:extLst>
                <a:ext uri="{FF2B5EF4-FFF2-40B4-BE49-F238E27FC236}">
                  <a16:creationId xmlns:a16="http://schemas.microsoft.com/office/drawing/2014/main" id="{9ACFB0D4-405B-4A2F-A949-18660C6D5445}"/>
                </a:ext>
              </a:extLst>
            </p:cNvPr>
            <p:cNvSpPr txBox="1"/>
            <p:nvPr/>
          </p:nvSpPr>
          <p:spPr>
            <a:xfrm>
              <a:off x="6506935" y="2376149"/>
              <a:ext cx="1319154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1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58,9 ± 2,7</a:t>
              </a:r>
            </a:p>
          </p:txBody>
        </p:sp>
        <p:sp>
          <p:nvSpPr>
            <p:cNvPr id="248" name="TextBox 247">
              <a:extLst>
                <a:ext uri="{FF2B5EF4-FFF2-40B4-BE49-F238E27FC236}">
                  <a16:creationId xmlns:a16="http://schemas.microsoft.com/office/drawing/2014/main" id="{FEE4DC22-8715-4DF5-ABBC-0AE0A02B1E62}"/>
                </a:ext>
              </a:extLst>
            </p:cNvPr>
            <p:cNvSpPr txBox="1"/>
            <p:nvPr/>
          </p:nvSpPr>
          <p:spPr>
            <a:xfrm>
              <a:off x="3191350" y="2272320"/>
              <a:ext cx="677046" cy="2616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1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68,2 %</a:t>
              </a:r>
            </a:p>
          </p:txBody>
        </p:sp>
        <p:sp>
          <p:nvSpPr>
            <p:cNvPr id="249" name="TextBox 248">
              <a:extLst>
                <a:ext uri="{FF2B5EF4-FFF2-40B4-BE49-F238E27FC236}">
                  <a16:creationId xmlns:a16="http://schemas.microsoft.com/office/drawing/2014/main" id="{355BB2A2-D848-4813-8224-5120875EE990}"/>
                </a:ext>
              </a:extLst>
            </p:cNvPr>
            <p:cNvSpPr txBox="1"/>
            <p:nvPr/>
          </p:nvSpPr>
          <p:spPr>
            <a:xfrm>
              <a:off x="4617541" y="2869798"/>
              <a:ext cx="928311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1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46,9 %</a:t>
              </a:r>
            </a:p>
          </p:txBody>
        </p:sp>
        <p:sp>
          <p:nvSpPr>
            <p:cNvPr id="250" name="TextBox 249">
              <a:extLst>
                <a:ext uri="{FF2B5EF4-FFF2-40B4-BE49-F238E27FC236}">
                  <a16:creationId xmlns:a16="http://schemas.microsoft.com/office/drawing/2014/main" id="{E6FB6FED-956A-4AFA-9F8D-F583FC7D4CC7}"/>
                </a:ext>
              </a:extLst>
            </p:cNvPr>
            <p:cNvSpPr txBox="1"/>
            <p:nvPr/>
          </p:nvSpPr>
          <p:spPr>
            <a:xfrm>
              <a:off x="5858308" y="3076922"/>
              <a:ext cx="934876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1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35,6 %</a:t>
              </a:r>
            </a:p>
          </p:txBody>
        </p:sp>
        <p:sp>
          <p:nvSpPr>
            <p:cNvPr id="251" name="TextBox 250">
              <a:extLst>
                <a:ext uri="{FF2B5EF4-FFF2-40B4-BE49-F238E27FC236}">
                  <a16:creationId xmlns:a16="http://schemas.microsoft.com/office/drawing/2014/main" id="{B3D6B7A0-D993-446D-A87F-AA03F856645C}"/>
                </a:ext>
              </a:extLst>
            </p:cNvPr>
            <p:cNvSpPr txBox="1"/>
            <p:nvPr/>
          </p:nvSpPr>
          <p:spPr>
            <a:xfrm>
              <a:off x="6743478" y="3151749"/>
              <a:ext cx="83429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1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32,0 %</a:t>
              </a:r>
            </a:p>
          </p:txBody>
        </p:sp>
        <p:sp>
          <p:nvSpPr>
            <p:cNvPr id="252" name="TextBox 251">
              <a:extLst>
                <a:ext uri="{FF2B5EF4-FFF2-40B4-BE49-F238E27FC236}">
                  <a16:creationId xmlns:a16="http://schemas.microsoft.com/office/drawing/2014/main" id="{11A68A73-0714-41EF-95A5-C6373C96BB2B}"/>
                </a:ext>
              </a:extLst>
            </p:cNvPr>
            <p:cNvSpPr txBox="1"/>
            <p:nvPr/>
          </p:nvSpPr>
          <p:spPr>
            <a:xfrm>
              <a:off x="2728543" y="4477534"/>
              <a:ext cx="454075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Время с момента постановки диагноза (годы)</a:t>
              </a:r>
            </a:p>
          </p:txBody>
        </p:sp>
        <p:sp>
          <p:nvSpPr>
            <p:cNvPr id="253" name="TextBox 252">
              <a:extLst>
                <a:ext uri="{FF2B5EF4-FFF2-40B4-BE49-F238E27FC236}">
                  <a16:creationId xmlns:a16="http://schemas.microsoft.com/office/drawing/2014/main" id="{D36E38E7-5A79-4D54-8C6E-C4EFD75A17DD}"/>
                </a:ext>
              </a:extLst>
            </p:cNvPr>
            <p:cNvSpPr txBox="1"/>
            <p:nvPr/>
          </p:nvSpPr>
          <p:spPr>
            <a:xfrm>
              <a:off x="631767" y="4554256"/>
              <a:ext cx="189712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Пациенты, подверженные риску</a:t>
              </a:r>
              <a:endParaRPr kumimoji="0" lang="de-CH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itchFamily="34" charset="0"/>
              </a:endParaRPr>
            </a:p>
          </p:txBody>
        </p:sp>
        <p:sp>
          <p:nvSpPr>
            <p:cNvPr id="254" name="TextBox 253">
              <a:extLst>
                <a:ext uri="{FF2B5EF4-FFF2-40B4-BE49-F238E27FC236}">
                  <a16:creationId xmlns:a16="http://schemas.microsoft.com/office/drawing/2014/main" id="{319C7133-B89F-4B7F-8BAC-57C02AC67ABE}"/>
                </a:ext>
              </a:extLst>
            </p:cNvPr>
            <p:cNvSpPr txBox="1"/>
            <p:nvPr/>
          </p:nvSpPr>
          <p:spPr>
            <a:xfrm>
              <a:off x="2470607" y="4985697"/>
              <a:ext cx="47475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279</a:t>
              </a:r>
            </a:p>
          </p:txBody>
        </p:sp>
        <p:sp>
          <p:nvSpPr>
            <p:cNvPr id="255" name="TextBox 254">
              <a:extLst>
                <a:ext uri="{FF2B5EF4-FFF2-40B4-BE49-F238E27FC236}">
                  <a16:creationId xmlns:a16="http://schemas.microsoft.com/office/drawing/2014/main" id="{0EFF3829-0F78-4692-BC75-01BF9943BBDB}"/>
                </a:ext>
              </a:extLst>
            </p:cNvPr>
            <p:cNvSpPr txBox="1"/>
            <p:nvPr/>
          </p:nvSpPr>
          <p:spPr>
            <a:xfrm>
              <a:off x="3117850" y="4985697"/>
              <a:ext cx="47475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377</a:t>
              </a:r>
            </a:p>
          </p:txBody>
        </p:sp>
        <p:sp>
          <p:nvSpPr>
            <p:cNvPr id="256" name="TextBox 255">
              <a:extLst>
                <a:ext uri="{FF2B5EF4-FFF2-40B4-BE49-F238E27FC236}">
                  <a16:creationId xmlns:a16="http://schemas.microsoft.com/office/drawing/2014/main" id="{BDC55FC0-0A36-473C-8920-985E83270AF0}"/>
                </a:ext>
              </a:extLst>
            </p:cNvPr>
            <p:cNvSpPr txBox="1"/>
            <p:nvPr/>
          </p:nvSpPr>
          <p:spPr>
            <a:xfrm>
              <a:off x="3742396" y="4985697"/>
              <a:ext cx="47475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390</a:t>
              </a:r>
            </a:p>
          </p:txBody>
        </p:sp>
        <p:sp>
          <p:nvSpPr>
            <p:cNvPr id="257" name="TextBox 256">
              <a:extLst>
                <a:ext uri="{FF2B5EF4-FFF2-40B4-BE49-F238E27FC236}">
                  <a16:creationId xmlns:a16="http://schemas.microsoft.com/office/drawing/2014/main" id="{8AB86BA4-B3A6-4406-848C-EED3A63D9C65}"/>
                </a:ext>
              </a:extLst>
            </p:cNvPr>
            <p:cNvSpPr txBox="1"/>
            <p:nvPr/>
          </p:nvSpPr>
          <p:spPr>
            <a:xfrm>
              <a:off x="4383477" y="4985697"/>
              <a:ext cx="47475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388</a:t>
              </a:r>
            </a:p>
          </p:txBody>
        </p:sp>
        <p:sp>
          <p:nvSpPr>
            <p:cNvPr id="258" name="TextBox 257">
              <a:extLst>
                <a:ext uri="{FF2B5EF4-FFF2-40B4-BE49-F238E27FC236}">
                  <a16:creationId xmlns:a16="http://schemas.microsoft.com/office/drawing/2014/main" id="{30A346D6-5844-41E5-8496-9899FF454363}"/>
                </a:ext>
              </a:extLst>
            </p:cNvPr>
            <p:cNvSpPr txBox="1"/>
            <p:nvPr/>
          </p:nvSpPr>
          <p:spPr>
            <a:xfrm>
              <a:off x="5020333" y="4985697"/>
              <a:ext cx="47475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328</a:t>
              </a:r>
            </a:p>
          </p:txBody>
        </p:sp>
        <p:sp>
          <p:nvSpPr>
            <p:cNvPr id="259" name="TextBox 258">
              <a:extLst>
                <a:ext uri="{FF2B5EF4-FFF2-40B4-BE49-F238E27FC236}">
                  <a16:creationId xmlns:a16="http://schemas.microsoft.com/office/drawing/2014/main" id="{756C4AA9-5935-4B18-BB70-6F6149CB0D24}"/>
                </a:ext>
              </a:extLst>
            </p:cNvPr>
            <p:cNvSpPr txBox="1"/>
            <p:nvPr/>
          </p:nvSpPr>
          <p:spPr>
            <a:xfrm>
              <a:off x="5635937" y="4985697"/>
              <a:ext cx="47475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240</a:t>
              </a:r>
            </a:p>
          </p:txBody>
        </p:sp>
        <p:sp>
          <p:nvSpPr>
            <p:cNvPr id="260" name="TextBox 259">
              <a:extLst>
                <a:ext uri="{FF2B5EF4-FFF2-40B4-BE49-F238E27FC236}">
                  <a16:creationId xmlns:a16="http://schemas.microsoft.com/office/drawing/2014/main" id="{A50CA9F1-F289-4835-B603-9FA84D893F81}"/>
                </a:ext>
              </a:extLst>
            </p:cNvPr>
            <p:cNvSpPr txBox="1"/>
            <p:nvPr/>
          </p:nvSpPr>
          <p:spPr>
            <a:xfrm>
              <a:off x="6251542" y="4985697"/>
              <a:ext cx="49193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153</a:t>
              </a:r>
            </a:p>
          </p:txBody>
        </p:sp>
        <p:sp>
          <p:nvSpPr>
            <p:cNvPr id="261" name="TextBox 260">
              <a:extLst>
                <a:ext uri="{FF2B5EF4-FFF2-40B4-BE49-F238E27FC236}">
                  <a16:creationId xmlns:a16="http://schemas.microsoft.com/office/drawing/2014/main" id="{6328FAA0-067E-4DEC-9789-C80160A5C06B}"/>
                </a:ext>
              </a:extLst>
            </p:cNvPr>
            <p:cNvSpPr txBox="1"/>
            <p:nvPr/>
          </p:nvSpPr>
          <p:spPr>
            <a:xfrm>
              <a:off x="6905879" y="4985697"/>
              <a:ext cx="47475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88</a:t>
              </a:r>
            </a:p>
          </p:txBody>
        </p:sp>
        <p:cxnSp>
          <p:nvCxnSpPr>
            <p:cNvPr id="262" name="Straight Connector 261">
              <a:extLst>
                <a:ext uri="{FF2B5EF4-FFF2-40B4-BE49-F238E27FC236}">
                  <a16:creationId xmlns:a16="http://schemas.microsoft.com/office/drawing/2014/main" id="{D2646CE3-BFA2-48BD-A85E-16C53C7FBCDF}"/>
                </a:ext>
              </a:extLst>
            </p:cNvPr>
            <p:cNvCxnSpPr/>
            <p:nvPr/>
          </p:nvCxnSpPr>
          <p:spPr>
            <a:xfrm>
              <a:off x="2641374" y="3724163"/>
              <a:ext cx="72000" cy="0"/>
            </a:xfrm>
            <a:prstGeom prst="line">
              <a:avLst/>
            </a:prstGeom>
            <a:noFill/>
            <a:ln w="19050" cap="flat" cmpd="sng" algn="ctr">
              <a:solidFill>
                <a:srgbClr val="212121"/>
              </a:solidFill>
              <a:prstDash val="solid"/>
            </a:ln>
            <a:effectLst/>
          </p:spPr>
        </p:cxnSp>
        <p:sp>
          <p:nvSpPr>
            <p:cNvPr id="263" name="TextBox 262">
              <a:extLst>
                <a:ext uri="{FF2B5EF4-FFF2-40B4-BE49-F238E27FC236}">
                  <a16:creationId xmlns:a16="http://schemas.microsoft.com/office/drawing/2014/main" id="{6D0B2D49-82ED-4D90-9C5C-9DD9B4231831}"/>
                </a:ext>
              </a:extLst>
            </p:cNvPr>
            <p:cNvSpPr txBox="1"/>
            <p:nvPr/>
          </p:nvSpPr>
          <p:spPr>
            <a:xfrm>
              <a:off x="2145885" y="3602905"/>
              <a:ext cx="500243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20</a:t>
              </a:r>
            </a:p>
          </p:txBody>
        </p:sp>
        <p:sp>
          <p:nvSpPr>
            <p:cNvPr id="264" name="TextBox 263">
              <a:extLst>
                <a:ext uri="{FF2B5EF4-FFF2-40B4-BE49-F238E27FC236}">
                  <a16:creationId xmlns:a16="http://schemas.microsoft.com/office/drawing/2014/main" id="{61D6DFB8-A788-4B46-B918-712B4F5D50DA}"/>
                </a:ext>
              </a:extLst>
            </p:cNvPr>
            <p:cNvSpPr txBox="1"/>
            <p:nvPr/>
          </p:nvSpPr>
          <p:spPr>
            <a:xfrm rot="16200000">
              <a:off x="1040158" y="2869305"/>
              <a:ext cx="2182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Выживаемость (%)</a:t>
              </a:r>
              <a:r>
                <a:rPr kumimoji="0" lang="ru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 </a:t>
              </a:r>
            </a:p>
          </p:txBody>
        </p:sp>
        <p:grpSp>
          <p:nvGrpSpPr>
            <p:cNvPr id="265" name="Group 264">
              <a:extLst>
                <a:ext uri="{FF2B5EF4-FFF2-40B4-BE49-F238E27FC236}">
                  <a16:creationId xmlns:a16="http://schemas.microsoft.com/office/drawing/2014/main" id="{3B502539-545B-4DE9-A275-001143B5D839}"/>
                </a:ext>
              </a:extLst>
            </p:cNvPr>
            <p:cNvGrpSpPr/>
            <p:nvPr/>
          </p:nvGrpSpPr>
          <p:grpSpPr>
            <a:xfrm>
              <a:off x="2223301" y="5055187"/>
              <a:ext cx="247306" cy="124160"/>
              <a:chOff x="2571184" y="4607663"/>
              <a:chExt cx="294238" cy="133350"/>
            </a:xfrm>
            <a:solidFill>
              <a:srgbClr val="7E2E78">
                <a:lumMod val="50000"/>
              </a:srgbClr>
            </a:solidFill>
          </p:grpSpPr>
          <p:sp>
            <p:nvSpPr>
              <p:cNvPr id="267" name="Freeform 117">
                <a:extLst>
                  <a:ext uri="{FF2B5EF4-FFF2-40B4-BE49-F238E27FC236}">
                    <a16:creationId xmlns:a16="http://schemas.microsoft.com/office/drawing/2014/main" id="{76486234-3B52-436E-9C96-B800972E98F4}"/>
                  </a:ext>
                </a:extLst>
              </p:cNvPr>
              <p:cNvSpPr/>
              <p:nvPr/>
            </p:nvSpPr>
            <p:spPr>
              <a:xfrm>
                <a:off x="2571184" y="4676245"/>
                <a:ext cx="294238" cy="4527"/>
              </a:xfrm>
              <a:custGeom>
                <a:avLst/>
                <a:gdLst>
                  <a:gd name="connsiteX0" fmla="*/ 0 w 294238"/>
                  <a:gd name="connsiteY0" fmla="*/ 0 h 4527"/>
                  <a:gd name="connsiteX1" fmla="*/ 294238 w 294238"/>
                  <a:gd name="connsiteY1" fmla="*/ 4527 h 4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238" h="4527">
                    <a:moveTo>
                      <a:pt x="0" y="0"/>
                    </a:moveTo>
                    <a:lnTo>
                      <a:pt x="294238" y="4527"/>
                    </a:lnTo>
                  </a:path>
                </a:pathLst>
              </a:custGeom>
              <a:grpFill/>
              <a:ln w="28575" cap="flat" cmpd="sng" algn="ctr">
                <a:solidFill>
                  <a:srgbClr val="1C75BC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CH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endParaRPr>
              </a:p>
            </p:txBody>
          </p:sp>
          <p:sp>
            <p:nvSpPr>
              <p:cNvPr id="268" name="Oval 267">
                <a:extLst>
                  <a:ext uri="{FF2B5EF4-FFF2-40B4-BE49-F238E27FC236}">
                    <a16:creationId xmlns:a16="http://schemas.microsoft.com/office/drawing/2014/main" id="{6748BEDD-60A1-459B-89B0-256013432780}"/>
                  </a:ext>
                </a:extLst>
              </p:cNvPr>
              <p:cNvSpPr/>
              <p:nvPr/>
            </p:nvSpPr>
            <p:spPr>
              <a:xfrm>
                <a:off x="2659547" y="4607663"/>
                <a:ext cx="128588" cy="133350"/>
              </a:xfrm>
              <a:prstGeom prst="ellipse">
                <a:avLst/>
              </a:prstGeom>
              <a:solidFill>
                <a:srgbClr val="1C75BC"/>
              </a:solidFill>
              <a:ln w="25400" cap="flat" cmpd="sng" algn="ctr">
                <a:solidFill>
                  <a:srgbClr val="1C75BC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CH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endParaRPr>
              </a:p>
            </p:txBody>
          </p:sp>
        </p:grpSp>
        <p:cxnSp>
          <p:nvCxnSpPr>
            <p:cNvPr id="266" name="Straight Connector 265">
              <a:extLst>
                <a:ext uri="{FF2B5EF4-FFF2-40B4-BE49-F238E27FC236}">
                  <a16:creationId xmlns:a16="http://schemas.microsoft.com/office/drawing/2014/main" id="{DD15B922-EF21-4C29-B484-AFC05F54847D}"/>
                </a:ext>
              </a:extLst>
            </p:cNvPr>
            <p:cNvCxnSpPr/>
            <p:nvPr/>
          </p:nvCxnSpPr>
          <p:spPr>
            <a:xfrm>
              <a:off x="2641374" y="4199633"/>
              <a:ext cx="72000" cy="0"/>
            </a:xfrm>
            <a:prstGeom prst="line">
              <a:avLst/>
            </a:prstGeom>
            <a:noFill/>
            <a:ln w="19050" cap="flat" cmpd="sng" algn="ctr">
              <a:solidFill>
                <a:srgbClr val="212121"/>
              </a:solidFill>
              <a:prstDash val="soli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8405948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67693" y="1357929"/>
            <a:ext cx="9345600" cy="45561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6D61BB3F-4793-4D26-9DE8-A936393278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4543" y="477836"/>
            <a:ext cx="11172829" cy="480000"/>
          </a:xfrm>
        </p:spPr>
        <p:txBody>
          <a:bodyPr rtlCol="0"/>
          <a:lstStyle/>
          <a:p>
            <a:pPr rtl="0"/>
            <a:r>
              <a:rPr lang="ru" sz="2400" dirty="0">
                <a:solidFill>
                  <a:schemeClr val="tx2"/>
                </a:solidFill>
              </a:rPr>
              <a:t>Раннее вмешательство при ЛАГ остается чрезвычайно важным для исхода заболевания</a:t>
            </a:r>
            <a:endParaRPr lang="el-GR" sz="2400" dirty="0">
              <a:solidFill>
                <a:schemeClr val="tx2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977959" y="1401270"/>
            <a:ext cx="7555148" cy="492443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Основные цели: Отсутствие функциональных нарушений и увеличение продолжительности жизни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3944139" y="2771921"/>
            <a:ext cx="3336587" cy="492443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Регулярный контроль позволяет увеличить объем терапии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598119" y="3771492"/>
            <a:ext cx="2279520" cy="492443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Раннее вмешательство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4318194" y="4700080"/>
            <a:ext cx="2279520" cy="246221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озднее вмешательство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4501069" y="5191050"/>
            <a:ext cx="2279520" cy="246221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Время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494121" y="1562794"/>
            <a:ext cx="246221" cy="3674742"/>
          </a:xfrm>
          <a:prstGeom prst="rect">
            <a:avLst/>
          </a:prstGeom>
        </p:spPr>
        <p:txBody>
          <a:bodyPr vert="vert270"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Функциональные возможности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6875630" y="4109322"/>
            <a:ext cx="3589972" cy="984885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b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огрессивное ремоделирование сосудов и ПЖСН в отсутствие лечения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6429983" y="5703763"/>
            <a:ext cx="3891064" cy="184666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66A1CE5-BD93-46EB-9854-9BE4E0F5AD03}"/>
              </a:ext>
            </a:extLst>
          </p:cNvPr>
          <p:cNvSpPr/>
          <p:nvPr/>
        </p:nvSpPr>
        <p:spPr>
          <a:xfrm>
            <a:off x="827363" y="6300795"/>
            <a:ext cx="8705744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tb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O. Pulmonary arterial hypertension: combination therapy in the modern management era.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uropean Respiratory Review 19.118 (2010): 348-34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539944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B35B6D-97CD-4EBA-B439-A13700082A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4000" y="878809"/>
            <a:ext cx="10297336" cy="480000"/>
          </a:xfrm>
        </p:spPr>
        <p:txBody>
          <a:bodyPr rtlCol="0"/>
          <a:lstStyle/>
          <a:p>
            <a:pPr rtl="0"/>
            <a:r>
              <a:rPr lang="ru" sz="2400" dirty="0"/>
              <a:t>Бессимптомное прогрессирование заболевания может наблюдаться у пациентов, которые кажутся клинически «стабильными» </a:t>
            </a:r>
            <a:endParaRPr lang="en-GB" sz="24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6DA199-986F-4048-8E42-C89AE886F0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92188" y="6237288"/>
            <a:ext cx="8613008" cy="484187"/>
          </a:xfrm>
        </p:spPr>
        <p:txBody>
          <a:bodyPr rtlCol="0"/>
          <a:lstStyle/>
          <a:p>
            <a:pPr rtl="0"/>
            <a:r>
              <a:rPr lang="ru" dirty="0">
                <a:ea typeface="Verdana" panose="020B0604030504040204" pitchFamily="34" charset="0"/>
                <a:cs typeface="Arial" pitchFamily="34" charset="0"/>
              </a:rPr>
              <a:t>*</a:t>
            </a:r>
            <a:r>
              <a:rPr lang="ru" i="1" dirty="0">
                <a:ea typeface="Verdana" panose="020B0604030504040204" pitchFamily="34" charset="0"/>
                <a:cs typeface="Arial" pitchFamily="34" charset="0"/>
              </a:rPr>
              <a:t>p</a:t>
            </a:r>
            <a:r>
              <a:rPr lang="ru" dirty="0">
                <a:ea typeface="Verdana" panose="020B0604030504040204" pitchFamily="34" charset="0"/>
                <a:cs typeface="Arial" pitchFamily="34" charset="0"/>
              </a:rPr>
              <a:t> &lt; 0,05. ***</a:t>
            </a:r>
            <a:r>
              <a:rPr lang="ru" i="1" dirty="0">
                <a:ea typeface="Verdana" panose="020B0604030504040204" pitchFamily="34" charset="0"/>
                <a:cs typeface="Arial" pitchFamily="34" charset="0"/>
              </a:rPr>
              <a:t>p</a:t>
            </a:r>
            <a:r>
              <a:rPr lang="ru" dirty="0">
                <a:ea typeface="Verdana" panose="020B0604030504040204" pitchFamily="34" charset="0"/>
                <a:cs typeface="Arial" pitchFamily="34" charset="0"/>
              </a:rPr>
              <a:t> &lt; 0,001. </a:t>
            </a:r>
            <a:r>
              <a:rPr lang="ru" baseline="30000" dirty="0">
                <a:ea typeface="Verdana" panose="020B0604030504040204" pitchFamily="34" charset="0"/>
                <a:cs typeface="Arial" pitchFamily="34" charset="0"/>
              </a:rPr>
              <a:t>#</a:t>
            </a:r>
            <a:r>
              <a:rPr lang="ru" dirty="0">
                <a:ea typeface="Verdana" panose="020B0604030504040204" pitchFamily="34" charset="0"/>
                <a:cs typeface="Arial" pitchFamily="34" charset="0"/>
              </a:rPr>
              <a:t>По данным МРТ. </a:t>
            </a:r>
            <a:r>
              <a:rPr lang="ru" baseline="30000" dirty="0">
                <a:ea typeface="Verdana" panose="020B0604030504040204" pitchFamily="34" charset="0"/>
                <a:cs typeface="Arial" pitchFamily="34" charset="0"/>
              </a:rPr>
              <a:t>†</a:t>
            </a:r>
            <a:r>
              <a:rPr lang="ru" dirty="0"/>
              <a:t>Стабильное состояние определялось как стабильный функциональный класс II/III и по результатам Т6МХ. </a:t>
            </a:r>
            <a:r>
              <a:rPr lang="ru" baseline="30000" dirty="0"/>
              <a:t>‡</a:t>
            </a:r>
            <a:r>
              <a:rPr lang="ru" dirty="0"/>
              <a:t>Прогрессирование состояния определялось как переход в ФК IV и уменьшение показателя Т6МХ &gt; 15 %.</a:t>
            </a:r>
            <a:r>
              <a:rPr lang="ru-RU" dirty="0">
                <a:ea typeface="Verdana" panose="020B0604030504040204" pitchFamily="34" charset="0"/>
                <a:cs typeface="Arial" pitchFamily="34" charset="0"/>
              </a:rPr>
              <a:t> </a:t>
            </a:r>
          </a:p>
          <a:p>
            <a:pPr rtl="0"/>
            <a:r>
              <a:rPr lang="ru" dirty="0">
                <a:ea typeface="Verdana" panose="020B0604030504040204" pitchFamily="34" charset="0"/>
                <a:cs typeface="Arial" pitchFamily="34" charset="0"/>
              </a:rPr>
              <a:t>Т6МХ —  тест шестиминутной ходьбы, B — исходный уровень, ПЖ — правожелудочковая. </a:t>
            </a:r>
            <a:endParaRPr lang="ru-RU" dirty="0">
              <a:ea typeface="Verdana" panose="020B0604030504040204" pitchFamily="34" charset="0"/>
              <a:cs typeface="Arial" pitchFamily="34" charset="0"/>
            </a:endParaRPr>
          </a:p>
          <a:p>
            <a:pPr rtl="0"/>
            <a:r>
              <a:rPr lang="en-GB" dirty="0"/>
              <a:t>1</a:t>
            </a:r>
            <a:r>
              <a:rPr lang="ru-RU" dirty="0"/>
              <a:t>. </a:t>
            </a:r>
            <a:r>
              <a:rPr lang="nl-NL" dirty="0"/>
              <a:t>van de Veerdonk MC, </a:t>
            </a:r>
            <a:r>
              <a:rPr lang="nl-NL" i="1" dirty="0"/>
              <a:t>et al. Chest </a:t>
            </a:r>
            <a:r>
              <a:rPr lang="nl-NL" dirty="0"/>
              <a:t>2015; 147:1063-71; 2. </a:t>
            </a:r>
            <a:r>
              <a:rPr lang="en-GB" dirty="0">
                <a:ea typeface="Verdana" panose="020B0604030504040204" pitchFamily="34" charset="0"/>
              </a:rPr>
              <a:t>Galiè N, et al. </a:t>
            </a:r>
            <a:r>
              <a:rPr lang="en-GB" i="1" dirty="0">
                <a:ea typeface="Verdana" panose="020B0604030504040204" pitchFamily="34" charset="0"/>
              </a:rPr>
              <a:t>Eur Heart J </a:t>
            </a:r>
            <a:r>
              <a:rPr lang="en-GB" dirty="0">
                <a:ea typeface="Verdana" panose="020B0604030504040204" pitchFamily="34" charset="0"/>
              </a:rPr>
              <a:t>2016; 37:67-119; 3. Galiè N, </a:t>
            </a:r>
            <a:r>
              <a:rPr lang="en-GB" i="1" dirty="0">
                <a:ea typeface="Verdana" panose="020B0604030504040204" pitchFamily="34" charset="0"/>
              </a:rPr>
              <a:t>et al. Eur Respir J </a:t>
            </a:r>
            <a:r>
              <a:rPr lang="en-GB" dirty="0">
                <a:ea typeface="Verdana" panose="020B0604030504040204" pitchFamily="34" charset="0"/>
              </a:rPr>
              <a:t>2015; 46: 903-75.</a:t>
            </a:r>
            <a:endParaRPr lang="nl-NL" dirty="0"/>
          </a:p>
        </p:txBody>
      </p:sp>
      <p:sp>
        <p:nvSpPr>
          <p:cNvPr id="308" name="TextBox 307">
            <a:extLst>
              <a:ext uri="{FF2B5EF4-FFF2-40B4-BE49-F238E27FC236}">
                <a16:creationId xmlns:a16="http://schemas.microsoft.com/office/drawing/2014/main" id="{FA9B4435-4A1E-4C14-93FA-55A6330EED52}"/>
              </a:ext>
            </a:extLst>
          </p:cNvPr>
          <p:cNvSpPr txBox="1"/>
          <p:nvPr/>
        </p:nvSpPr>
        <p:spPr>
          <a:xfrm>
            <a:off x="457869" y="5077210"/>
            <a:ext cx="11276262" cy="922625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700" b="1" i="0" u="none" strike="noStrike" kern="1200" cap="none" spc="0" normalizeH="0" baseline="0" noProof="0" dirty="0">
                <a:ln>
                  <a:noFill/>
                </a:ln>
                <a:solidFill>
                  <a:srgbClr val="40539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У пациентов с идиопатической ЛАГ, которые оставались клинически «стабильными» в течение 5 лет, последующему позднему прогрессированию заболевания предшествовали изменения функции ПЖ.</a:t>
            </a:r>
            <a:r>
              <a:rPr kumimoji="0" lang="ru" sz="1700" b="1" i="0" u="none" strike="noStrike" kern="1200" cap="none" spc="0" normalizeH="0" baseline="30000" noProof="0" dirty="0">
                <a:ln>
                  <a:noFill/>
                </a:ln>
                <a:solidFill>
                  <a:srgbClr val="40539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700" b="1" i="0" u="none" strike="noStrike" kern="1200" cap="none" spc="0" normalizeH="0" baseline="0" noProof="0" dirty="0">
                <a:ln>
                  <a:noFill/>
                </a:ln>
                <a:solidFill>
                  <a:srgbClr val="40539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Это усиливает необходимость проведения всесторонней оценки риска у пациентов с ЛАГ</a:t>
            </a:r>
            <a:r>
              <a:rPr kumimoji="0" lang="ru" sz="1700" b="1" i="0" u="none" strike="noStrike" kern="1200" cap="none" spc="0" normalizeH="0" baseline="30000" noProof="0" dirty="0">
                <a:ln>
                  <a:noFill/>
                </a:ln>
                <a:solidFill>
                  <a:srgbClr val="40539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,3</a:t>
            </a:r>
          </a:p>
        </p:txBody>
      </p:sp>
      <p:cxnSp>
        <p:nvCxnSpPr>
          <p:cNvPr id="309" name="Straight Connector 308">
            <a:extLst>
              <a:ext uri="{FF2B5EF4-FFF2-40B4-BE49-F238E27FC236}">
                <a16:creationId xmlns:a16="http://schemas.microsoft.com/office/drawing/2014/main" id="{7F919779-0E2D-4F45-A3B8-62386A8B51F8}"/>
              </a:ext>
            </a:extLst>
          </p:cNvPr>
          <p:cNvCxnSpPr/>
          <p:nvPr/>
        </p:nvCxnSpPr>
        <p:spPr>
          <a:xfrm>
            <a:off x="3043121" y="4785470"/>
            <a:ext cx="232998" cy="0"/>
          </a:xfrm>
          <a:prstGeom prst="line">
            <a:avLst/>
          </a:prstGeom>
          <a:noFill/>
          <a:ln w="28575" cap="flat" cmpd="sng" algn="ctr">
            <a:solidFill>
              <a:srgbClr val="6EBD44"/>
            </a:solidFill>
            <a:prstDash val="solid"/>
          </a:ln>
          <a:effectLst/>
        </p:spPr>
      </p:cxnSp>
      <p:cxnSp>
        <p:nvCxnSpPr>
          <p:cNvPr id="310" name="Straight Connector 309">
            <a:extLst>
              <a:ext uri="{FF2B5EF4-FFF2-40B4-BE49-F238E27FC236}">
                <a16:creationId xmlns:a16="http://schemas.microsoft.com/office/drawing/2014/main" id="{C52BA75D-8F6D-4B75-AEB6-FFB0934850DF}"/>
              </a:ext>
            </a:extLst>
          </p:cNvPr>
          <p:cNvCxnSpPr/>
          <p:nvPr/>
        </p:nvCxnSpPr>
        <p:spPr>
          <a:xfrm>
            <a:off x="6023563" y="4785470"/>
            <a:ext cx="232998" cy="0"/>
          </a:xfrm>
          <a:prstGeom prst="line">
            <a:avLst/>
          </a:prstGeom>
          <a:noFill/>
          <a:ln w="28575" cap="flat" cmpd="sng" algn="ctr">
            <a:solidFill>
              <a:srgbClr val="7E2E78"/>
            </a:solidFill>
            <a:prstDash val="solid"/>
          </a:ln>
          <a:effectLst/>
        </p:spPr>
      </p:cxnSp>
      <p:sp>
        <p:nvSpPr>
          <p:cNvPr id="311" name="TextBox 310">
            <a:extLst>
              <a:ext uri="{FF2B5EF4-FFF2-40B4-BE49-F238E27FC236}">
                <a16:creationId xmlns:a16="http://schemas.microsoft.com/office/drawing/2014/main" id="{0DC4B9D4-6DCE-4D26-AEC0-577F1F76E6A7}"/>
              </a:ext>
            </a:extLst>
          </p:cNvPr>
          <p:cNvSpPr txBox="1"/>
          <p:nvPr/>
        </p:nvSpPr>
        <p:spPr>
          <a:xfrm>
            <a:off x="3291306" y="4646971"/>
            <a:ext cx="2026517" cy="276999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itchFamily="34" charset="0"/>
              </a:rPr>
              <a:t>Стабильное состояние</a:t>
            </a:r>
            <a:r>
              <a:rPr kumimoji="0" lang="ru" sz="1200" b="1" i="0" u="none" strike="noStrike" kern="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itchFamily="34" charset="0"/>
              </a:rPr>
              <a:t>†</a:t>
            </a:r>
            <a:r>
              <a:rPr kumimoji="0" lang="ru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itchFamily="34" charset="0"/>
              </a:rPr>
              <a:t>, </a:t>
            </a:r>
            <a:r>
              <a:rPr kumimoji="0" lang="ru" sz="12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itchFamily="34" charset="0"/>
              </a:rPr>
              <a:t>n</a:t>
            </a:r>
            <a:r>
              <a:rPr kumimoji="0" lang="ru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itchFamily="34" charset="0"/>
              </a:rPr>
              <a:t> = 12</a:t>
            </a:r>
          </a:p>
        </p:txBody>
      </p:sp>
      <p:sp>
        <p:nvSpPr>
          <p:cNvPr id="312" name="TextBox 311">
            <a:extLst>
              <a:ext uri="{FF2B5EF4-FFF2-40B4-BE49-F238E27FC236}">
                <a16:creationId xmlns:a16="http://schemas.microsoft.com/office/drawing/2014/main" id="{9E68ED4D-5E76-4678-86F8-8377D955465E}"/>
              </a:ext>
            </a:extLst>
          </p:cNvPr>
          <p:cNvSpPr txBox="1"/>
          <p:nvPr/>
        </p:nvSpPr>
        <p:spPr>
          <a:xfrm>
            <a:off x="6271747" y="4646971"/>
            <a:ext cx="2457724" cy="276999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itchFamily="34" charset="0"/>
              </a:rPr>
              <a:t>Прогрессирование состояния</a:t>
            </a:r>
            <a:r>
              <a:rPr kumimoji="0" lang="ru" sz="1200" b="1" i="0" u="none" strike="noStrike" kern="0" cap="none" spc="0" normalizeH="0" baseline="3000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‡</a:t>
            </a:r>
            <a:r>
              <a:rPr kumimoji="0" lang="ru" sz="12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itchFamily="34" charset="0"/>
              </a:rPr>
              <a:t>, </a:t>
            </a:r>
            <a:r>
              <a:rPr kumimoji="0" lang="ru" sz="1200" b="1" i="1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itchFamily="34" charset="0"/>
              </a:rPr>
              <a:t>n</a:t>
            </a:r>
            <a:r>
              <a:rPr kumimoji="0" lang="ru" sz="12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itchFamily="34" charset="0"/>
              </a:rPr>
              <a:t> = 10</a:t>
            </a:r>
          </a:p>
        </p:txBody>
      </p:sp>
      <p:sp>
        <p:nvSpPr>
          <p:cNvPr id="313" name="Rectangle 312">
            <a:extLst>
              <a:ext uri="{FF2B5EF4-FFF2-40B4-BE49-F238E27FC236}">
                <a16:creationId xmlns:a16="http://schemas.microsoft.com/office/drawing/2014/main" id="{B51204D2-1636-4D20-AA73-428D55274E58}"/>
              </a:ext>
            </a:extLst>
          </p:cNvPr>
          <p:cNvSpPr/>
          <p:nvPr/>
        </p:nvSpPr>
        <p:spPr>
          <a:xfrm>
            <a:off x="3589686" y="1981994"/>
            <a:ext cx="2180289" cy="338554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6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itchFamily="34" charset="0"/>
              </a:rPr>
              <a:t>Функциональный класс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Verdana" panose="020B0604030504040204" pitchFamily="34" charset="0"/>
              <a:cs typeface="+mn-cs"/>
            </a:endParaRPr>
          </a:p>
        </p:txBody>
      </p:sp>
      <p:sp>
        <p:nvSpPr>
          <p:cNvPr id="314" name="Rectangle 313">
            <a:extLst>
              <a:ext uri="{FF2B5EF4-FFF2-40B4-BE49-F238E27FC236}">
                <a16:creationId xmlns:a16="http://schemas.microsoft.com/office/drawing/2014/main" id="{04C900A6-EF53-44DE-9158-587E17D31B7D}"/>
              </a:ext>
            </a:extLst>
          </p:cNvPr>
          <p:cNvSpPr/>
          <p:nvPr/>
        </p:nvSpPr>
        <p:spPr>
          <a:xfrm>
            <a:off x="6234860" y="1981994"/>
            <a:ext cx="2830177" cy="338554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6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itchFamily="34" charset="0"/>
              </a:rPr>
              <a:t>Конечно-диастолический объем ПЖ</a:t>
            </a:r>
            <a:r>
              <a:rPr kumimoji="0" lang="ru" sz="1600" b="1" i="0" u="none" strike="noStrike" kern="0" cap="none" spc="0" normalizeH="0" baseline="3000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itchFamily="34" charset="0"/>
              </a:rPr>
              <a:t>#</a:t>
            </a:r>
            <a:endParaRPr kumimoji="0" lang="en-US" sz="1600" b="1" i="0" u="none" strike="noStrike" kern="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Verdana" panose="020B0604030504040204" pitchFamily="34" charset="0"/>
              <a:cs typeface="+mn-cs"/>
            </a:endParaRPr>
          </a:p>
        </p:txBody>
      </p:sp>
      <p:sp>
        <p:nvSpPr>
          <p:cNvPr id="315" name="Rectangle 314">
            <a:extLst>
              <a:ext uri="{FF2B5EF4-FFF2-40B4-BE49-F238E27FC236}">
                <a16:creationId xmlns:a16="http://schemas.microsoft.com/office/drawing/2014/main" id="{1CEA3AA5-63EA-4A26-9448-6E41D862A3A5}"/>
              </a:ext>
            </a:extLst>
          </p:cNvPr>
          <p:cNvSpPr/>
          <p:nvPr/>
        </p:nvSpPr>
        <p:spPr>
          <a:xfrm>
            <a:off x="9214591" y="1981206"/>
            <a:ext cx="2732244" cy="338554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itchFamily="34" charset="0"/>
              </a:rPr>
              <a:t>Фракция выброса ПЖ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Verdana" panose="020B0604030504040204" pitchFamily="34" charset="0"/>
              <a:cs typeface="+mn-cs"/>
            </a:endParaRPr>
          </a:p>
        </p:txBody>
      </p:sp>
      <p:sp>
        <p:nvSpPr>
          <p:cNvPr id="316" name="Rectangle 315">
            <a:extLst>
              <a:ext uri="{FF2B5EF4-FFF2-40B4-BE49-F238E27FC236}">
                <a16:creationId xmlns:a16="http://schemas.microsoft.com/office/drawing/2014/main" id="{E07ACFC4-3C86-48B2-9D28-D5298B7F594A}"/>
              </a:ext>
            </a:extLst>
          </p:cNvPr>
          <p:cNvSpPr/>
          <p:nvPr/>
        </p:nvSpPr>
        <p:spPr>
          <a:xfrm>
            <a:off x="1042226" y="1981994"/>
            <a:ext cx="1670107" cy="338554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6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itchFamily="34" charset="0"/>
              </a:rPr>
              <a:t>Т6МХ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Verdana" panose="020B0604030504040204" pitchFamily="34" charset="0"/>
              <a:cs typeface="+mn-cs"/>
            </a:endParaRPr>
          </a:p>
        </p:txBody>
      </p:sp>
      <p:sp>
        <p:nvSpPr>
          <p:cNvPr id="317" name="TextBox 316">
            <a:extLst>
              <a:ext uri="{FF2B5EF4-FFF2-40B4-BE49-F238E27FC236}">
                <a16:creationId xmlns:a16="http://schemas.microsoft.com/office/drawing/2014/main" id="{E807354E-60E0-41CC-96D4-ADBC06D32256}"/>
              </a:ext>
            </a:extLst>
          </p:cNvPr>
          <p:cNvSpPr txBox="1"/>
          <p:nvPr/>
        </p:nvSpPr>
        <p:spPr>
          <a:xfrm>
            <a:off x="3825725" y="4108961"/>
            <a:ext cx="18775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itchFamily="34" charset="0"/>
              </a:rPr>
              <a:t>Продолжительность наблюдения (годы)</a:t>
            </a:r>
          </a:p>
        </p:txBody>
      </p:sp>
      <p:grpSp>
        <p:nvGrpSpPr>
          <p:cNvPr id="318" name="Group 317">
            <a:extLst>
              <a:ext uri="{FF2B5EF4-FFF2-40B4-BE49-F238E27FC236}">
                <a16:creationId xmlns:a16="http://schemas.microsoft.com/office/drawing/2014/main" id="{F5902026-7484-44BF-B052-307909FFE9A4}"/>
              </a:ext>
            </a:extLst>
          </p:cNvPr>
          <p:cNvGrpSpPr/>
          <p:nvPr/>
        </p:nvGrpSpPr>
        <p:grpSpPr>
          <a:xfrm>
            <a:off x="3139712" y="2475227"/>
            <a:ext cx="2697385" cy="1694975"/>
            <a:chOff x="3054063" y="1945231"/>
            <a:chExt cx="2697385" cy="1694975"/>
          </a:xfrm>
        </p:grpSpPr>
        <p:sp>
          <p:nvSpPr>
            <p:cNvPr id="319" name="TextBox 318">
              <a:extLst>
                <a:ext uri="{FF2B5EF4-FFF2-40B4-BE49-F238E27FC236}">
                  <a16:creationId xmlns:a16="http://schemas.microsoft.com/office/drawing/2014/main" id="{25FCAEE8-2E9F-488F-A5FB-94C76FE6C021}"/>
                </a:ext>
              </a:extLst>
            </p:cNvPr>
            <p:cNvSpPr txBox="1"/>
            <p:nvPr/>
          </p:nvSpPr>
          <p:spPr>
            <a:xfrm rot="16200000">
              <a:off x="2496699" y="2576379"/>
              <a:ext cx="139172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Функциональный класс</a:t>
              </a:r>
            </a:p>
          </p:txBody>
        </p:sp>
        <p:sp>
          <p:nvSpPr>
            <p:cNvPr id="320" name="TextBox 319">
              <a:extLst>
                <a:ext uri="{FF2B5EF4-FFF2-40B4-BE49-F238E27FC236}">
                  <a16:creationId xmlns:a16="http://schemas.microsoft.com/office/drawing/2014/main" id="{ABFAD4B7-10F0-4291-88BE-7440A2C59AA9}"/>
                </a:ext>
              </a:extLst>
            </p:cNvPr>
            <p:cNvSpPr txBox="1"/>
            <p:nvPr/>
          </p:nvSpPr>
          <p:spPr>
            <a:xfrm>
              <a:off x="3292340" y="3272758"/>
              <a:ext cx="25519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0</a:t>
              </a:r>
            </a:p>
          </p:txBody>
        </p:sp>
        <p:sp>
          <p:nvSpPr>
            <p:cNvPr id="321" name="TextBox 320">
              <a:extLst>
                <a:ext uri="{FF2B5EF4-FFF2-40B4-BE49-F238E27FC236}">
                  <a16:creationId xmlns:a16="http://schemas.microsoft.com/office/drawing/2014/main" id="{FD69A5B4-2A58-4210-BE82-36E06A2AF777}"/>
                </a:ext>
              </a:extLst>
            </p:cNvPr>
            <p:cNvSpPr txBox="1"/>
            <p:nvPr/>
          </p:nvSpPr>
          <p:spPr>
            <a:xfrm>
              <a:off x="3327605" y="2940876"/>
              <a:ext cx="219933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I</a:t>
              </a:r>
            </a:p>
          </p:txBody>
        </p:sp>
        <p:sp>
          <p:nvSpPr>
            <p:cNvPr id="322" name="TextBox 321">
              <a:extLst>
                <a:ext uri="{FF2B5EF4-FFF2-40B4-BE49-F238E27FC236}">
                  <a16:creationId xmlns:a16="http://schemas.microsoft.com/office/drawing/2014/main" id="{56641683-4DA0-4F3A-8DA6-1CC7C186ECC1}"/>
                </a:ext>
              </a:extLst>
            </p:cNvPr>
            <p:cNvSpPr txBox="1"/>
            <p:nvPr/>
          </p:nvSpPr>
          <p:spPr>
            <a:xfrm>
              <a:off x="3242645" y="1945231"/>
              <a:ext cx="304893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IV</a:t>
              </a:r>
            </a:p>
          </p:txBody>
        </p:sp>
        <p:sp>
          <p:nvSpPr>
            <p:cNvPr id="323" name="TextBox 322">
              <a:extLst>
                <a:ext uri="{FF2B5EF4-FFF2-40B4-BE49-F238E27FC236}">
                  <a16:creationId xmlns:a16="http://schemas.microsoft.com/office/drawing/2014/main" id="{C611052F-CFD5-4A7F-978C-952B33439C98}"/>
                </a:ext>
              </a:extLst>
            </p:cNvPr>
            <p:cNvSpPr txBox="1"/>
            <p:nvPr/>
          </p:nvSpPr>
          <p:spPr>
            <a:xfrm>
              <a:off x="3257073" y="2277113"/>
              <a:ext cx="290465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III</a:t>
              </a:r>
            </a:p>
          </p:txBody>
        </p:sp>
        <p:sp>
          <p:nvSpPr>
            <p:cNvPr id="324" name="TextBox 323">
              <a:extLst>
                <a:ext uri="{FF2B5EF4-FFF2-40B4-BE49-F238E27FC236}">
                  <a16:creationId xmlns:a16="http://schemas.microsoft.com/office/drawing/2014/main" id="{6234C011-8CC9-40C3-85E8-049E27DB5496}"/>
                </a:ext>
              </a:extLst>
            </p:cNvPr>
            <p:cNvSpPr txBox="1"/>
            <p:nvPr/>
          </p:nvSpPr>
          <p:spPr>
            <a:xfrm>
              <a:off x="3292339" y="2608995"/>
              <a:ext cx="255199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II</a:t>
              </a:r>
            </a:p>
          </p:txBody>
        </p:sp>
        <p:sp>
          <p:nvSpPr>
            <p:cNvPr id="325" name="Freeform 516">
              <a:extLst>
                <a:ext uri="{FF2B5EF4-FFF2-40B4-BE49-F238E27FC236}">
                  <a16:creationId xmlns:a16="http://schemas.microsoft.com/office/drawing/2014/main" id="{BDB8D620-B2F2-42CE-863F-D8D999537BCB}"/>
                </a:ext>
              </a:extLst>
            </p:cNvPr>
            <p:cNvSpPr/>
            <p:nvPr/>
          </p:nvSpPr>
          <p:spPr>
            <a:xfrm>
              <a:off x="3726501" y="2369556"/>
              <a:ext cx="1855134" cy="266517"/>
            </a:xfrm>
            <a:custGeom>
              <a:avLst/>
              <a:gdLst>
                <a:gd name="connsiteX0" fmla="*/ 0 w 1964760"/>
                <a:gd name="connsiteY0" fmla="*/ 0 h 303911"/>
                <a:gd name="connsiteX1" fmla="*/ 335902 w 1964760"/>
                <a:gd name="connsiteY1" fmla="*/ 303911 h 303911"/>
                <a:gd name="connsiteX2" fmla="*/ 666472 w 1964760"/>
                <a:gd name="connsiteY2" fmla="*/ 245262 h 303911"/>
                <a:gd name="connsiteX3" fmla="*/ 1013038 w 1964760"/>
                <a:gd name="connsiteY3" fmla="*/ 253259 h 303911"/>
                <a:gd name="connsiteX4" fmla="*/ 1319615 w 1964760"/>
                <a:gd name="connsiteY4" fmla="*/ 301245 h 303911"/>
                <a:gd name="connsiteX5" fmla="*/ 1964760 w 1964760"/>
                <a:gd name="connsiteY5" fmla="*/ 274586 h 303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64760" h="303911">
                  <a:moveTo>
                    <a:pt x="0" y="0"/>
                  </a:moveTo>
                  <a:lnTo>
                    <a:pt x="335902" y="303911"/>
                  </a:lnTo>
                  <a:lnTo>
                    <a:pt x="666472" y="245262"/>
                  </a:lnTo>
                  <a:lnTo>
                    <a:pt x="1013038" y="253259"/>
                  </a:lnTo>
                  <a:lnTo>
                    <a:pt x="1319615" y="301245"/>
                  </a:lnTo>
                  <a:lnTo>
                    <a:pt x="1964760" y="274586"/>
                  </a:lnTo>
                </a:path>
              </a:pathLst>
            </a:custGeom>
            <a:noFill/>
            <a:ln w="28575" cap="flat" cmpd="sng" algn="ctr">
              <a:solidFill>
                <a:srgbClr val="92D05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endParaRPr>
            </a:p>
          </p:txBody>
        </p:sp>
        <p:sp>
          <p:nvSpPr>
            <p:cNvPr id="326" name="Freeform 517">
              <a:extLst>
                <a:ext uri="{FF2B5EF4-FFF2-40B4-BE49-F238E27FC236}">
                  <a16:creationId xmlns:a16="http://schemas.microsoft.com/office/drawing/2014/main" id="{1E4AA3CD-492D-4C0E-BF6E-7AA6BF0701E1}"/>
                </a:ext>
              </a:extLst>
            </p:cNvPr>
            <p:cNvSpPr/>
            <p:nvPr/>
          </p:nvSpPr>
          <p:spPr>
            <a:xfrm>
              <a:off x="3726412" y="2284686"/>
              <a:ext cx="1243468" cy="306261"/>
            </a:xfrm>
            <a:custGeom>
              <a:avLst/>
              <a:gdLst>
                <a:gd name="connsiteX0" fmla="*/ 0 w 1316949"/>
                <a:gd name="connsiteY0" fmla="*/ 122631 h 349231"/>
                <a:gd name="connsiteX1" fmla="*/ 335902 w 1316949"/>
                <a:gd name="connsiteY1" fmla="*/ 317241 h 349231"/>
                <a:gd name="connsiteX2" fmla="*/ 661141 w 1316949"/>
                <a:gd name="connsiteY2" fmla="*/ 349231 h 349231"/>
                <a:gd name="connsiteX3" fmla="*/ 999708 w 1316949"/>
                <a:gd name="connsiteY3" fmla="*/ 295914 h 349231"/>
                <a:gd name="connsiteX4" fmla="*/ 1316949 w 1316949"/>
                <a:gd name="connsiteY4" fmla="*/ 0 h 349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6949" h="349231">
                  <a:moveTo>
                    <a:pt x="0" y="122631"/>
                  </a:moveTo>
                  <a:lnTo>
                    <a:pt x="335902" y="317241"/>
                  </a:lnTo>
                  <a:lnTo>
                    <a:pt x="661141" y="349231"/>
                  </a:lnTo>
                  <a:lnTo>
                    <a:pt x="999708" y="295914"/>
                  </a:lnTo>
                  <a:lnTo>
                    <a:pt x="1316949" y="0"/>
                  </a:lnTo>
                </a:path>
              </a:pathLst>
            </a:custGeom>
            <a:noFill/>
            <a:ln w="28575" cap="flat" cmpd="sng" algn="ctr">
              <a:solidFill>
                <a:srgbClr val="7E2E78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endParaRPr>
            </a:p>
          </p:txBody>
        </p:sp>
        <p:cxnSp>
          <p:nvCxnSpPr>
            <p:cNvPr id="327" name="Straight Connector 326">
              <a:extLst>
                <a:ext uri="{FF2B5EF4-FFF2-40B4-BE49-F238E27FC236}">
                  <a16:creationId xmlns:a16="http://schemas.microsoft.com/office/drawing/2014/main" id="{F25AF54B-7E6F-4618-B5EC-CC8EB293A55C}"/>
                </a:ext>
              </a:extLst>
            </p:cNvPr>
            <p:cNvCxnSpPr>
              <a:cxnSpLocks/>
            </p:cNvCxnSpPr>
            <p:nvPr/>
          </p:nvCxnSpPr>
          <p:spPr>
            <a:xfrm>
              <a:off x="3732493" y="2295690"/>
              <a:ext cx="0" cy="154112"/>
            </a:xfrm>
            <a:prstGeom prst="line">
              <a:avLst/>
            </a:prstGeom>
            <a:noFill/>
            <a:ln w="19050" cap="flat" cmpd="sng" algn="ctr">
              <a:solidFill>
                <a:srgbClr val="92D050"/>
              </a:solidFill>
              <a:prstDash val="solid"/>
            </a:ln>
            <a:effectLst/>
          </p:spPr>
        </p:cxnSp>
        <p:sp>
          <p:nvSpPr>
            <p:cNvPr id="328" name="Oval 327">
              <a:extLst>
                <a:ext uri="{FF2B5EF4-FFF2-40B4-BE49-F238E27FC236}">
                  <a16:creationId xmlns:a16="http://schemas.microsoft.com/office/drawing/2014/main" id="{A1739905-A770-4BC6-AC27-4044B0589F4C}"/>
                </a:ext>
              </a:extLst>
            </p:cNvPr>
            <p:cNvSpPr/>
            <p:nvPr/>
          </p:nvSpPr>
          <p:spPr>
            <a:xfrm>
              <a:off x="3701346" y="2341227"/>
              <a:ext cx="64583" cy="72612"/>
            </a:xfrm>
            <a:prstGeom prst="ellipse">
              <a:avLst/>
            </a:prstGeom>
            <a:solidFill>
              <a:srgbClr val="92D05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endParaRPr>
            </a:p>
          </p:txBody>
        </p:sp>
        <p:sp>
          <p:nvSpPr>
            <p:cNvPr id="329" name="Rectangle 328">
              <a:extLst>
                <a:ext uri="{FF2B5EF4-FFF2-40B4-BE49-F238E27FC236}">
                  <a16:creationId xmlns:a16="http://schemas.microsoft.com/office/drawing/2014/main" id="{E562D69A-B541-4E23-B8CD-9435D7353AD1}"/>
                </a:ext>
              </a:extLst>
            </p:cNvPr>
            <p:cNvSpPr/>
            <p:nvPr/>
          </p:nvSpPr>
          <p:spPr>
            <a:xfrm>
              <a:off x="3698773" y="2351988"/>
              <a:ext cx="64583" cy="69456"/>
            </a:xfrm>
            <a:prstGeom prst="rect">
              <a:avLst/>
            </a:prstGeom>
            <a:solidFill>
              <a:srgbClr val="7E2E78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endParaRPr>
            </a:p>
          </p:txBody>
        </p:sp>
        <p:sp>
          <p:nvSpPr>
            <p:cNvPr id="330" name="Oval 329">
              <a:extLst>
                <a:ext uri="{FF2B5EF4-FFF2-40B4-BE49-F238E27FC236}">
                  <a16:creationId xmlns:a16="http://schemas.microsoft.com/office/drawing/2014/main" id="{5AB0A983-094D-436C-AFA6-4461DB9C9509}"/>
                </a:ext>
              </a:extLst>
            </p:cNvPr>
            <p:cNvSpPr/>
            <p:nvPr/>
          </p:nvSpPr>
          <p:spPr>
            <a:xfrm>
              <a:off x="4631174" y="2541413"/>
              <a:ext cx="64583" cy="72612"/>
            </a:xfrm>
            <a:prstGeom prst="ellipse">
              <a:avLst/>
            </a:prstGeom>
            <a:solidFill>
              <a:srgbClr val="92D05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endParaRPr>
            </a:p>
          </p:txBody>
        </p:sp>
        <p:cxnSp>
          <p:nvCxnSpPr>
            <p:cNvPr id="331" name="Straight Connector 330">
              <a:extLst>
                <a:ext uri="{FF2B5EF4-FFF2-40B4-BE49-F238E27FC236}">
                  <a16:creationId xmlns:a16="http://schemas.microsoft.com/office/drawing/2014/main" id="{CC16C0A5-DC6D-4704-B5F7-3CBE8A66DC8B}"/>
                </a:ext>
              </a:extLst>
            </p:cNvPr>
            <p:cNvCxnSpPr/>
            <p:nvPr/>
          </p:nvCxnSpPr>
          <p:spPr>
            <a:xfrm>
              <a:off x="4663858" y="2526631"/>
              <a:ext cx="0" cy="120785"/>
            </a:xfrm>
            <a:prstGeom prst="line">
              <a:avLst/>
            </a:prstGeom>
            <a:noFill/>
            <a:ln w="19050" cap="flat" cmpd="sng" algn="ctr">
              <a:solidFill>
                <a:srgbClr val="92D050"/>
              </a:solidFill>
              <a:prstDash val="solid"/>
            </a:ln>
            <a:effectLst/>
          </p:spPr>
        </p:cxnSp>
        <p:cxnSp>
          <p:nvCxnSpPr>
            <p:cNvPr id="332" name="Straight Connector 331">
              <a:extLst>
                <a:ext uri="{FF2B5EF4-FFF2-40B4-BE49-F238E27FC236}">
                  <a16:creationId xmlns:a16="http://schemas.microsoft.com/office/drawing/2014/main" id="{10448ECB-1A66-48EF-83A2-9D75BE56304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732495" y="2423415"/>
              <a:ext cx="0" cy="64583"/>
            </a:xfrm>
            <a:prstGeom prst="line">
              <a:avLst/>
            </a:prstGeom>
            <a:noFill/>
            <a:ln w="19050" cap="flat" cmpd="sng" algn="ctr">
              <a:solidFill>
                <a:srgbClr val="92D050"/>
              </a:solidFill>
              <a:prstDash val="solid"/>
            </a:ln>
            <a:effectLst/>
          </p:spPr>
        </p:cxnSp>
        <p:sp>
          <p:nvSpPr>
            <p:cNvPr id="333" name="TextBox 332">
              <a:extLst>
                <a:ext uri="{FF2B5EF4-FFF2-40B4-BE49-F238E27FC236}">
                  <a16:creationId xmlns:a16="http://schemas.microsoft.com/office/drawing/2014/main" id="{58E84C4F-472E-4EC8-A59C-AAB4F5416145}"/>
                </a:ext>
              </a:extLst>
            </p:cNvPr>
            <p:cNvSpPr txBox="1"/>
            <p:nvPr/>
          </p:nvSpPr>
          <p:spPr>
            <a:xfrm>
              <a:off x="3857919" y="3393985"/>
              <a:ext cx="36099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1,5</a:t>
              </a:r>
            </a:p>
          </p:txBody>
        </p:sp>
        <p:sp>
          <p:nvSpPr>
            <p:cNvPr id="334" name="TextBox 333">
              <a:extLst>
                <a:ext uri="{FF2B5EF4-FFF2-40B4-BE49-F238E27FC236}">
                  <a16:creationId xmlns:a16="http://schemas.microsoft.com/office/drawing/2014/main" id="{B5097030-7666-47DA-9EAF-7E7434F444F6}"/>
                </a:ext>
              </a:extLst>
            </p:cNvPr>
            <p:cNvSpPr txBox="1"/>
            <p:nvPr/>
          </p:nvSpPr>
          <p:spPr>
            <a:xfrm>
              <a:off x="3597683" y="3392854"/>
              <a:ext cx="26962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B</a:t>
              </a:r>
            </a:p>
          </p:txBody>
        </p:sp>
        <p:sp>
          <p:nvSpPr>
            <p:cNvPr id="335" name="TextBox 334">
              <a:extLst>
                <a:ext uri="{FF2B5EF4-FFF2-40B4-BE49-F238E27FC236}">
                  <a16:creationId xmlns:a16="http://schemas.microsoft.com/office/drawing/2014/main" id="{CF4EFECB-F91D-49F2-A192-B3234B77D040}"/>
                </a:ext>
              </a:extLst>
            </p:cNvPr>
            <p:cNvSpPr txBox="1"/>
            <p:nvPr/>
          </p:nvSpPr>
          <p:spPr>
            <a:xfrm>
              <a:off x="4170639" y="3393985"/>
              <a:ext cx="36099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3,5</a:t>
              </a:r>
            </a:p>
          </p:txBody>
        </p:sp>
        <p:sp>
          <p:nvSpPr>
            <p:cNvPr id="336" name="TextBox 335">
              <a:extLst>
                <a:ext uri="{FF2B5EF4-FFF2-40B4-BE49-F238E27FC236}">
                  <a16:creationId xmlns:a16="http://schemas.microsoft.com/office/drawing/2014/main" id="{AEB7408B-0FC5-4C91-8C0E-AFAAEFD7D058}"/>
                </a:ext>
              </a:extLst>
            </p:cNvPr>
            <p:cNvSpPr txBox="1"/>
            <p:nvPr/>
          </p:nvSpPr>
          <p:spPr>
            <a:xfrm>
              <a:off x="4470122" y="3393985"/>
              <a:ext cx="36099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5,0</a:t>
              </a:r>
            </a:p>
          </p:txBody>
        </p:sp>
        <p:sp>
          <p:nvSpPr>
            <p:cNvPr id="337" name="TextBox 336">
              <a:extLst>
                <a:ext uri="{FF2B5EF4-FFF2-40B4-BE49-F238E27FC236}">
                  <a16:creationId xmlns:a16="http://schemas.microsoft.com/office/drawing/2014/main" id="{CE4D4F4F-F520-47D2-B2A3-5B35D2434D3B}"/>
                </a:ext>
              </a:extLst>
            </p:cNvPr>
            <p:cNvSpPr txBox="1"/>
            <p:nvPr/>
          </p:nvSpPr>
          <p:spPr>
            <a:xfrm>
              <a:off x="4799086" y="3393985"/>
              <a:ext cx="36099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6,5</a:t>
              </a:r>
            </a:p>
          </p:txBody>
        </p:sp>
        <p:sp>
          <p:nvSpPr>
            <p:cNvPr id="338" name="TextBox 337">
              <a:extLst>
                <a:ext uri="{FF2B5EF4-FFF2-40B4-BE49-F238E27FC236}">
                  <a16:creationId xmlns:a16="http://schemas.microsoft.com/office/drawing/2014/main" id="{F8734B88-4776-4888-928C-F4A7968E148D}"/>
                </a:ext>
              </a:extLst>
            </p:cNvPr>
            <p:cNvSpPr txBox="1"/>
            <p:nvPr/>
          </p:nvSpPr>
          <p:spPr>
            <a:xfrm>
              <a:off x="5425717" y="3393985"/>
              <a:ext cx="325731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10</a:t>
              </a:r>
            </a:p>
          </p:txBody>
        </p:sp>
        <p:cxnSp>
          <p:nvCxnSpPr>
            <p:cNvPr id="339" name="Straight Connector 338">
              <a:extLst>
                <a:ext uri="{FF2B5EF4-FFF2-40B4-BE49-F238E27FC236}">
                  <a16:creationId xmlns:a16="http://schemas.microsoft.com/office/drawing/2014/main" id="{56A2765F-A616-4A82-8856-23A5459EA244}"/>
                </a:ext>
              </a:extLst>
            </p:cNvPr>
            <p:cNvCxnSpPr>
              <a:cxnSpLocks/>
            </p:cNvCxnSpPr>
            <p:nvPr/>
          </p:nvCxnSpPr>
          <p:spPr>
            <a:xfrm>
              <a:off x="3573484" y="2042765"/>
              <a:ext cx="0" cy="1336506"/>
            </a:xfrm>
            <a:prstGeom prst="line">
              <a:avLst/>
            </a:prstGeom>
            <a:noFill/>
            <a:ln w="19050" cap="flat" cmpd="sng" algn="ctr">
              <a:solidFill>
                <a:srgbClr val="212121"/>
              </a:solidFill>
              <a:prstDash val="solid"/>
            </a:ln>
            <a:effectLst/>
          </p:spPr>
        </p:cxnSp>
        <p:cxnSp>
          <p:nvCxnSpPr>
            <p:cNvPr id="340" name="Straight Connector 339">
              <a:extLst>
                <a:ext uri="{FF2B5EF4-FFF2-40B4-BE49-F238E27FC236}">
                  <a16:creationId xmlns:a16="http://schemas.microsoft.com/office/drawing/2014/main" id="{F18D6A57-6D47-4A2F-A263-41B7ADD1A25E}"/>
                </a:ext>
              </a:extLst>
            </p:cNvPr>
            <p:cNvCxnSpPr/>
            <p:nvPr/>
          </p:nvCxnSpPr>
          <p:spPr>
            <a:xfrm>
              <a:off x="3528546" y="3381356"/>
              <a:ext cx="2216235" cy="2550"/>
            </a:xfrm>
            <a:prstGeom prst="line">
              <a:avLst/>
            </a:prstGeom>
            <a:noFill/>
            <a:ln w="19050" cap="flat" cmpd="sng" algn="ctr">
              <a:solidFill>
                <a:srgbClr val="212121"/>
              </a:solidFill>
              <a:prstDash val="solid"/>
            </a:ln>
            <a:effectLst/>
          </p:spPr>
        </p:cxnSp>
        <p:cxnSp>
          <p:nvCxnSpPr>
            <p:cNvPr id="341" name="Straight Connector 340">
              <a:extLst>
                <a:ext uri="{FF2B5EF4-FFF2-40B4-BE49-F238E27FC236}">
                  <a16:creationId xmlns:a16="http://schemas.microsoft.com/office/drawing/2014/main" id="{250B571E-EEE6-49C0-856B-1C6A23C96A54}"/>
                </a:ext>
              </a:extLst>
            </p:cNvPr>
            <p:cNvCxnSpPr>
              <a:cxnSpLocks/>
            </p:cNvCxnSpPr>
            <p:nvPr/>
          </p:nvCxnSpPr>
          <p:spPr>
            <a:xfrm>
              <a:off x="3523390" y="2049163"/>
              <a:ext cx="57785" cy="0"/>
            </a:xfrm>
            <a:prstGeom prst="line">
              <a:avLst/>
            </a:prstGeom>
            <a:noFill/>
            <a:ln w="19050" cap="flat" cmpd="sng" algn="ctr">
              <a:solidFill>
                <a:srgbClr val="212121"/>
              </a:solidFill>
              <a:prstDash val="solid"/>
            </a:ln>
            <a:effectLst/>
          </p:spPr>
        </p:cxnSp>
        <p:cxnSp>
          <p:nvCxnSpPr>
            <p:cNvPr id="342" name="Straight Connector 341">
              <a:extLst>
                <a:ext uri="{FF2B5EF4-FFF2-40B4-BE49-F238E27FC236}">
                  <a16:creationId xmlns:a16="http://schemas.microsoft.com/office/drawing/2014/main" id="{2B24AD25-F589-4B96-8B51-CDFE449E1C67}"/>
                </a:ext>
              </a:extLst>
            </p:cNvPr>
            <p:cNvCxnSpPr>
              <a:cxnSpLocks/>
            </p:cNvCxnSpPr>
            <p:nvPr/>
          </p:nvCxnSpPr>
          <p:spPr>
            <a:xfrm>
              <a:off x="3511625" y="2716794"/>
              <a:ext cx="57785" cy="0"/>
            </a:xfrm>
            <a:prstGeom prst="line">
              <a:avLst/>
            </a:prstGeom>
            <a:noFill/>
            <a:ln w="19050" cap="flat" cmpd="sng" algn="ctr">
              <a:solidFill>
                <a:srgbClr val="212121"/>
              </a:solidFill>
              <a:prstDash val="solid"/>
            </a:ln>
            <a:effectLst/>
          </p:spPr>
        </p:cxnSp>
        <p:cxnSp>
          <p:nvCxnSpPr>
            <p:cNvPr id="343" name="Straight Connector 342">
              <a:extLst>
                <a:ext uri="{FF2B5EF4-FFF2-40B4-BE49-F238E27FC236}">
                  <a16:creationId xmlns:a16="http://schemas.microsoft.com/office/drawing/2014/main" id="{B353180A-7D2E-4ABC-B8EC-72BC5EB62C31}"/>
                </a:ext>
              </a:extLst>
            </p:cNvPr>
            <p:cNvCxnSpPr>
              <a:cxnSpLocks/>
            </p:cNvCxnSpPr>
            <p:nvPr/>
          </p:nvCxnSpPr>
          <p:spPr>
            <a:xfrm>
              <a:off x="3511625" y="3061199"/>
              <a:ext cx="57785" cy="0"/>
            </a:xfrm>
            <a:prstGeom prst="line">
              <a:avLst/>
            </a:prstGeom>
            <a:noFill/>
            <a:ln w="19050" cap="flat" cmpd="sng" algn="ctr">
              <a:solidFill>
                <a:srgbClr val="212121"/>
              </a:solidFill>
              <a:prstDash val="solid"/>
            </a:ln>
            <a:effectLst/>
          </p:spPr>
        </p:cxnSp>
        <p:cxnSp>
          <p:nvCxnSpPr>
            <p:cNvPr id="344" name="Straight Connector 343">
              <a:extLst>
                <a:ext uri="{FF2B5EF4-FFF2-40B4-BE49-F238E27FC236}">
                  <a16:creationId xmlns:a16="http://schemas.microsoft.com/office/drawing/2014/main" id="{5FF52F56-F690-4E9B-8B96-38687689E93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705659" y="3409756"/>
              <a:ext cx="53669" cy="0"/>
            </a:xfrm>
            <a:prstGeom prst="line">
              <a:avLst/>
            </a:prstGeom>
            <a:noFill/>
            <a:ln w="19050" cap="flat" cmpd="sng" algn="ctr">
              <a:solidFill>
                <a:srgbClr val="212121"/>
              </a:solidFill>
              <a:prstDash val="solid"/>
            </a:ln>
            <a:effectLst/>
          </p:spPr>
        </p:cxnSp>
        <p:cxnSp>
          <p:nvCxnSpPr>
            <p:cNvPr id="345" name="Straight Connector 344">
              <a:extLst>
                <a:ext uri="{FF2B5EF4-FFF2-40B4-BE49-F238E27FC236}">
                  <a16:creationId xmlns:a16="http://schemas.microsoft.com/office/drawing/2014/main" id="{87CB0F9B-D4A6-45F5-93BA-7F3C21611CD6}"/>
                </a:ext>
              </a:extLst>
            </p:cNvPr>
            <p:cNvCxnSpPr/>
            <p:nvPr/>
          </p:nvCxnSpPr>
          <p:spPr>
            <a:xfrm rot="5400000">
              <a:off x="4012255" y="3409756"/>
              <a:ext cx="53669" cy="0"/>
            </a:xfrm>
            <a:prstGeom prst="line">
              <a:avLst/>
            </a:prstGeom>
            <a:noFill/>
            <a:ln w="19050" cap="flat" cmpd="sng" algn="ctr">
              <a:solidFill>
                <a:srgbClr val="212121"/>
              </a:solidFill>
              <a:prstDash val="solid"/>
            </a:ln>
            <a:effectLst/>
          </p:spPr>
        </p:cxnSp>
        <p:cxnSp>
          <p:nvCxnSpPr>
            <p:cNvPr id="346" name="Straight Connector 345">
              <a:extLst>
                <a:ext uri="{FF2B5EF4-FFF2-40B4-BE49-F238E27FC236}">
                  <a16:creationId xmlns:a16="http://schemas.microsoft.com/office/drawing/2014/main" id="{712F9DCA-3B3F-435A-836B-D1ECC48017F6}"/>
                </a:ext>
              </a:extLst>
            </p:cNvPr>
            <p:cNvCxnSpPr/>
            <p:nvPr/>
          </p:nvCxnSpPr>
          <p:spPr>
            <a:xfrm rot="5400000">
              <a:off x="4320903" y="3409756"/>
              <a:ext cx="53669" cy="0"/>
            </a:xfrm>
            <a:prstGeom prst="line">
              <a:avLst/>
            </a:prstGeom>
            <a:noFill/>
            <a:ln w="19050" cap="flat" cmpd="sng" algn="ctr">
              <a:solidFill>
                <a:srgbClr val="212121"/>
              </a:solidFill>
              <a:prstDash val="solid"/>
            </a:ln>
            <a:effectLst/>
          </p:spPr>
        </p:cxnSp>
        <p:cxnSp>
          <p:nvCxnSpPr>
            <p:cNvPr id="347" name="Straight Connector 346">
              <a:extLst>
                <a:ext uri="{FF2B5EF4-FFF2-40B4-BE49-F238E27FC236}">
                  <a16:creationId xmlns:a16="http://schemas.microsoft.com/office/drawing/2014/main" id="{51F14F09-4009-4897-8191-DF718D1496A0}"/>
                </a:ext>
              </a:extLst>
            </p:cNvPr>
            <p:cNvCxnSpPr/>
            <p:nvPr/>
          </p:nvCxnSpPr>
          <p:spPr>
            <a:xfrm rot="5400000">
              <a:off x="4634492" y="3409756"/>
              <a:ext cx="53669" cy="0"/>
            </a:xfrm>
            <a:prstGeom prst="line">
              <a:avLst/>
            </a:prstGeom>
            <a:noFill/>
            <a:ln w="19050" cap="flat" cmpd="sng" algn="ctr">
              <a:solidFill>
                <a:srgbClr val="212121"/>
              </a:solidFill>
              <a:prstDash val="solid"/>
            </a:ln>
            <a:effectLst/>
          </p:spPr>
        </p:cxnSp>
        <p:cxnSp>
          <p:nvCxnSpPr>
            <p:cNvPr id="348" name="Straight Connector 347">
              <a:extLst>
                <a:ext uri="{FF2B5EF4-FFF2-40B4-BE49-F238E27FC236}">
                  <a16:creationId xmlns:a16="http://schemas.microsoft.com/office/drawing/2014/main" id="{B7D46C0F-C759-4123-BDDA-1D05A6C29661}"/>
                </a:ext>
              </a:extLst>
            </p:cNvPr>
            <p:cNvCxnSpPr/>
            <p:nvPr/>
          </p:nvCxnSpPr>
          <p:spPr>
            <a:xfrm rot="5400000">
              <a:off x="4942945" y="3409756"/>
              <a:ext cx="53669" cy="0"/>
            </a:xfrm>
            <a:prstGeom prst="line">
              <a:avLst/>
            </a:prstGeom>
            <a:noFill/>
            <a:ln w="19050" cap="flat" cmpd="sng" algn="ctr">
              <a:solidFill>
                <a:srgbClr val="212121"/>
              </a:solidFill>
              <a:prstDash val="solid"/>
            </a:ln>
            <a:effectLst/>
          </p:spPr>
        </p:cxnSp>
        <p:cxnSp>
          <p:nvCxnSpPr>
            <p:cNvPr id="349" name="Straight Connector 348">
              <a:extLst>
                <a:ext uri="{FF2B5EF4-FFF2-40B4-BE49-F238E27FC236}">
                  <a16:creationId xmlns:a16="http://schemas.microsoft.com/office/drawing/2014/main" id="{4EBD41B2-DCCE-4745-ABEE-E23D60A91715}"/>
                </a:ext>
              </a:extLst>
            </p:cNvPr>
            <p:cNvCxnSpPr/>
            <p:nvPr/>
          </p:nvCxnSpPr>
          <p:spPr>
            <a:xfrm rot="5400000">
              <a:off x="5561587" y="3409756"/>
              <a:ext cx="53669" cy="0"/>
            </a:xfrm>
            <a:prstGeom prst="line">
              <a:avLst/>
            </a:prstGeom>
            <a:noFill/>
            <a:ln w="19050" cap="flat" cmpd="sng" algn="ctr">
              <a:solidFill>
                <a:srgbClr val="212121"/>
              </a:solidFill>
              <a:prstDash val="solid"/>
            </a:ln>
            <a:effectLst/>
          </p:spPr>
        </p:cxnSp>
        <p:cxnSp>
          <p:nvCxnSpPr>
            <p:cNvPr id="350" name="Straight Connector 349">
              <a:extLst>
                <a:ext uri="{FF2B5EF4-FFF2-40B4-BE49-F238E27FC236}">
                  <a16:creationId xmlns:a16="http://schemas.microsoft.com/office/drawing/2014/main" id="{1E5E951B-05E0-488F-9CE9-DF1A061959F2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732111" y="2272553"/>
              <a:ext cx="0" cy="64583"/>
            </a:xfrm>
            <a:prstGeom prst="line">
              <a:avLst/>
            </a:prstGeom>
            <a:noFill/>
            <a:ln w="19050" cap="flat" cmpd="sng" algn="ctr">
              <a:solidFill>
                <a:srgbClr val="6EBD44"/>
              </a:solidFill>
              <a:prstDash val="solid"/>
            </a:ln>
            <a:effectLst/>
          </p:spPr>
        </p:cxnSp>
        <p:sp>
          <p:nvSpPr>
            <p:cNvPr id="351" name="Oval 350">
              <a:extLst>
                <a:ext uri="{FF2B5EF4-FFF2-40B4-BE49-F238E27FC236}">
                  <a16:creationId xmlns:a16="http://schemas.microsoft.com/office/drawing/2014/main" id="{096E4C50-7A68-43B3-B69B-715F0D711B32}"/>
                </a:ext>
              </a:extLst>
            </p:cNvPr>
            <p:cNvSpPr/>
            <p:nvPr/>
          </p:nvSpPr>
          <p:spPr>
            <a:xfrm>
              <a:off x="4325251" y="2551765"/>
              <a:ext cx="64583" cy="72612"/>
            </a:xfrm>
            <a:prstGeom prst="ellipse">
              <a:avLst/>
            </a:prstGeom>
            <a:solidFill>
              <a:srgbClr val="92D05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endParaRPr>
            </a:p>
          </p:txBody>
        </p:sp>
        <p:sp>
          <p:nvSpPr>
            <p:cNvPr id="383" name="Oval 382">
              <a:extLst>
                <a:ext uri="{FF2B5EF4-FFF2-40B4-BE49-F238E27FC236}">
                  <a16:creationId xmlns:a16="http://schemas.microsoft.com/office/drawing/2014/main" id="{6C3A9F7A-46FE-423E-B56C-CCFFD6672087}"/>
                </a:ext>
              </a:extLst>
            </p:cNvPr>
            <p:cNvSpPr/>
            <p:nvPr/>
          </p:nvSpPr>
          <p:spPr>
            <a:xfrm>
              <a:off x="4937589" y="2595981"/>
              <a:ext cx="64583" cy="72612"/>
            </a:xfrm>
            <a:prstGeom prst="ellipse">
              <a:avLst/>
            </a:prstGeom>
            <a:solidFill>
              <a:srgbClr val="92D05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endParaRPr>
            </a:p>
          </p:txBody>
        </p:sp>
        <p:sp>
          <p:nvSpPr>
            <p:cNvPr id="388" name="Oval 387">
              <a:extLst>
                <a:ext uri="{FF2B5EF4-FFF2-40B4-BE49-F238E27FC236}">
                  <a16:creationId xmlns:a16="http://schemas.microsoft.com/office/drawing/2014/main" id="{0EEBBDE2-AAA8-409F-8DD4-E6092BB0ABF2}"/>
                </a:ext>
              </a:extLst>
            </p:cNvPr>
            <p:cNvSpPr/>
            <p:nvPr/>
          </p:nvSpPr>
          <p:spPr>
            <a:xfrm>
              <a:off x="5553103" y="2578557"/>
              <a:ext cx="64583" cy="72612"/>
            </a:xfrm>
            <a:prstGeom prst="ellipse">
              <a:avLst/>
            </a:prstGeom>
            <a:solidFill>
              <a:srgbClr val="92D05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endParaRPr>
            </a:p>
          </p:txBody>
        </p:sp>
        <p:cxnSp>
          <p:nvCxnSpPr>
            <p:cNvPr id="389" name="Straight Connector 388">
              <a:extLst>
                <a:ext uri="{FF2B5EF4-FFF2-40B4-BE49-F238E27FC236}">
                  <a16:creationId xmlns:a16="http://schemas.microsoft.com/office/drawing/2014/main" id="{5CFA4871-F7B0-4D9E-A2FE-61F2AAD9F5BB}"/>
                </a:ext>
              </a:extLst>
            </p:cNvPr>
            <p:cNvCxnSpPr/>
            <p:nvPr/>
          </p:nvCxnSpPr>
          <p:spPr>
            <a:xfrm>
              <a:off x="4352610" y="2531571"/>
              <a:ext cx="0" cy="106892"/>
            </a:xfrm>
            <a:prstGeom prst="line">
              <a:avLst/>
            </a:prstGeom>
            <a:noFill/>
            <a:ln w="19050" cap="flat" cmpd="sng" algn="ctr">
              <a:solidFill>
                <a:srgbClr val="92D050"/>
              </a:solidFill>
              <a:prstDash val="solid"/>
            </a:ln>
            <a:effectLst/>
          </p:spPr>
        </p:cxnSp>
        <p:cxnSp>
          <p:nvCxnSpPr>
            <p:cNvPr id="390" name="Straight Connector 389">
              <a:extLst>
                <a:ext uri="{FF2B5EF4-FFF2-40B4-BE49-F238E27FC236}">
                  <a16:creationId xmlns:a16="http://schemas.microsoft.com/office/drawing/2014/main" id="{AC6252D6-7B23-4C3C-A5BD-37D963F88A1B}"/>
                </a:ext>
              </a:extLst>
            </p:cNvPr>
            <p:cNvCxnSpPr/>
            <p:nvPr/>
          </p:nvCxnSpPr>
          <p:spPr>
            <a:xfrm>
              <a:off x="4967853" y="2574239"/>
              <a:ext cx="403" cy="129761"/>
            </a:xfrm>
            <a:prstGeom prst="line">
              <a:avLst/>
            </a:prstGeom>
            <a:noFill/>
            <a:ln w="19050" cap="flat" cmpd="sng" algn="ctr">
              <a:solidFill>
                <a:srgbClr val="92D050"/>
              </a:solidFill>
              <a:prstDash val="solid"/>
            </a:ln>
            <a:effectLst/>
          </p:spPr>
        </p:cxnSp>
        <p:cxnSp>
          <p:nvCxnSpPr>
            <p:cNvPr id="391" name="Straight Connector 390">
              <a:extLst>
                <a:ext uri="{FF2B5EF4-FFF2-40B4-BE49-F238E27FC236}">
                  <a16:creationId xmlns:a16="http://schemas.microsoft.com/office/drawing/2014/main" id="{B3CE5D27-9295-49A0-BED8-B0E06F095B95}"/>
                </a:ext>
              </a:extLst>
            </p:cNvPr>
            <p:cNvCxnSpPr/>
            <p:nvPr/>
          </p:nvCxnSpPr>
          <p:spPr>
            <a:xfrm flipH="1">
              <a:off x="5583628" y="2551765"/>
              <a:ext cx="3819" cy="135410"/>
            </a:xfrm>
            <a:prstGeom prst="line">
              <a:avLst/>
            </a:prstGeom>
            <a:noFill/>
            <a:ln w="19050" cap="flat" cmpd="sng" algn="ctr">
              <a:solidFill>
                <a:srgbClr val="92D050"/>
              </a:solidFill>
              <a:prstDash val="solid"/>
            </a:ln>
            <a:effectLst/>
          </p:spPr>
        </p:cxnSp>
        <p:cxnSp>
          <p:nvCxnSpPr>
            <p:cNvPr id="392" name="Straight Connector 391">
              <a:extLst>
                <a:ext uri="{FF2B5EF4-FFF2-40B4-BE49-F238E27FC236}">
                  <a16:creationId xmlns:a16="http://schemas.microsoft.com/office/drawing/2014/main" id="{CBC9B35A-6407-41DF-9B3D-132337558691}"/>
                </a:ext>
              </a:extLst>
            </p:cNvPr>
            <p:cNvCxnSpPr/>
            <p:nvPr/>
          </p:nvCxnSpPr>
          <p:spPr>
            <a:xfrm rot="5400000">
              <a:off x="4349438" y="2612956"/>
              <a:ext cx="0" cy="64583"/>
            </a:xfrm>
            <a:prstGeom prst="line">
              <a:avLst/>
            </a:prstGeom>
            <a:noFill/>
            <a:ln w="19050" cap="flat" cmpd="sng" algn="ctr">
              <a:solidFill>
                <a:srgbClr val="92D050"/>
              </a:solidFill>
              <a:prstDash val="solid"/>
            </a:ln>
            <a:effectLst/>
          </p:spPr>
        </p:cxnSp>
        <p:cxnSp>
          <p:nvCxnSpPr>
            <p:cNvPr id="393" name="Straight Connector 392">
              <a:extLst>
                <a:ext uri="{FF2B5EF4-FFF2-40B4-BE49-F238E27FC236}">
                  <a16:creationId xmlns:a16="http://schemas.microsoft.com/office/drawing/2014/main" id="{D5AB769B-78AE-49A1-9A77-45FC1956C569}"/>
                </a:ext>
              </a:extLst>
            </p:cNvPr>
            <p:cNvCxnSpPr/>
            <p:nvPr/>
          </p:nvCxnSpPr>
          <p:spPr>
            <a:xfrm rot="5400000">
              <a:off x="4967853" y="2534055"/>
              <a:ext cx="0" cy="64583"/>
            </a:xfrm>
            <a:prstGeom prst="line">
              <a:avLst/>
            </a:prstGeom>
            <a:noFill/>
            <a:ln w="19050" cap="flat" cmpd="sng" algn="ctr">
              <a:solidFill>
                <a:srgbClr val="92D050"/>
              </a:solidFill>
              <a:prstDash val="solid"/>
            </a:ln>
            <a:effectLst/>
          </p:spPr>
        </p:cxnSp>
        <p:cxnSp>
          <p:nvCxnSpPr>
            <p:cNvPr id="394" name="Straight Connector 393">
              <a:extLst>
                <a:ext uri="{FF2B5EF4-FFF2-40B4-BE49-F238E27FC236}">
                  <a16:creationId xmlns:a16="http://schemas.microsoft.com/office/drawing/2014/main" id="{38886F6F-5CBB-4D77-8822-A7A8E82B7824}"/>
                </a:ext>
              </a:extLst>
            </p:cNvPr>
            <p:cNvCxnSpPr/>
            <p:nvPr/>
          </p:nvCxnSpPr>
          <p:spPr>
            <a:xfrm rot="5400000">
              <a:off x="4663474" y="2490515"/>
              <a:ext cx="0" cy="64583"/>
            </a:xfrm>
            <a:prstGeom prst="line">
              <a:avLst/>
            </a:prstGeom>
            <a:noFill/>
            <a:ln w="19050" cap="flat" cmpd="sng" algn="ctr">
              <a:solidFill>
                <a:srgbClr val="92D050"/>
              </a:solidFill>
              <a:prstDash val="solid"/>
            </a:ln>
            <a:effectLst/>
          </p:spPr>
        </p:cxnSp>
        <p:cxnSp>
          <p:nvCxnSpPr>
            <p:cNvPr id="395" name="Straight Connector 394">
              <a:extLst>
                <a:ext uri="{FF2B5EF4-FFF2-40B4-BE49-F238E27FC236}">
                  <a16:creationId xmlns:a16="http://schemas.microsoft.com/office/drawing/2014/main" id="{C3A94621-6D0F-4D96-8AC3-2E29DBC2DC05}"/>
                </a:ext>
              </a:extLst>
            </p:cNvPr>
            <p:cNvCxnSpPr/>
            <p:nvPr/>
          </p:nvCxnSpPr>
          <p:spPr>
            <a:xfrm rot="5400000">
              <a:off x="4663474" y="2607461"/>
              <a:ext cx="0" cy="64583"/>
            </a:xfrm>
            <a:prstGeom prst="line">
              <a:avLst/>
            </a:prstGeom>
            <a:noFill/>
            <a:ln w="19050" cap="flat" cmpd="sng" algn="ctr">
              <a:solidFill>
                <a:srgbClr val="92D050"/>
              </a:solidFill>
              <a:prstDash val="solid"/>
            </a:ln>
            <a:effectLst/>
          </p:spPr>
        </p:cxnSp>
        <p:cxnSp>
          <p:nvCxnSpPr>
            <p:cNvPr id="396" name="Straight Connector 395">
              <a:extLst>
                <a:ext uri="{FF2B5EF4-FFF2-40B4-BE49-F238E27FC236}">
                  <a16:creationId xmlns:a16="http://schemas.microsoft.com/office/drawing/2014/main" id="{11B77003-064D-47C5-BE85-47014B0FC344}"/>
                </a:ext>
              </a:extLst>
            </p:cNvPr>
            <p:cNvCxnSpPr/>
            <p:nvPr/>
          </p:nvCxnSpPr>
          <p:spPr>
            <a:xfrm rot="5400000">
              <a:off x="4349438" y="2499055"/>
              <a:ext cx="0" cy="64583"/>
            </a:xfrm>
            <a:prstGeom prst="line">
              <a:avLst/>
            </a:prstGeom>
            <a:noFill/>
            <a:ln w="19050" cap="flat" cmpd="sng" algn="ctr">
              <a:solidFill>
                <a:srgbClr val="92D050"/>
              </a:solidFill>
              <a:prstDash val="solid"/>
            </a:ln>
            <a:effectLst/>
          </p:spPr>
        </p:cxnSp>
        <p:cxnSp>
          <p:nvCxnSpPr>
            <p:cNvPr id="397" name="Straight Connector 396">
              <a:extLst>
                <a:ext uri="{FF2B5EF4-FFF2-40B4-BE49-F238E27FC236}">
                  <a16:creationId xmlns:a16="http://schemas.microsoft.com/office/drawing/2014/main" id="{3824DEB4-ED85-4EEE-9359-92569C7DBF85}"/>
                </a:ext>
              </a:extLst>
            </p:cNvPr>
            <p:cNvCxnSpPr/>
            <p:nvPr/>
          </p:nvCxnSpPr>
          <p:spPr>
            <a:xfrm rot="5400000">
              <a:off x="5586494" y="2518372"/>
              <a:ext cx="0" cy="64583"/>
            </a:xfrm>
            <a:prstGeom prst="line">
              <a:avLst/>
            </a:prstGeom>
            <a:noFill/>
            <a:ln w="19050" cap="flat" cmpd="sng" algn="ctr">
              <a:solidFill>
                <a:srgbClr val="92D050"/>
              </a:solidFill>
              <a:prstDash val="solid"/>
            </a:ln>
            <a:effectLst/>
          </p:spPr>
        </p:cxnSp>
        <p:cxnSp>
          <p:nvCxnSpPr>
            <p:cNvPr id="398" name="Straight Connector 397">
              <a:extLst>
                <a:ext uri="{FF2B5EF4-FFF2-40B4-BE49-F238E27FC236}">
                  <a16:creationId xmlns:a16="http://schemas.microsoft.com/office/drawing/2014/main" id="{25C6DF17-A261-453C-AD81-35C6FEE8B8BD}"/>
                </a:ext>
              </a:extLst>
            </p:cNvPr>
            <p:cNvCxnSpPr/>
            <p:nvPr/>
          </p:nvCxnSpPr>
          <p:spPr>
            <a:xfrm rot="5400000">
              <a:off x="5586494" y="2647709"/>
              <a:ext cx="0" cy="64583"/>
            </a:xfrm>
            <a:prstGeom prst="line">
              <a:avLst/>
            </a:prstGeom>
            <a:noFill/>
            <a:ln w="19050" cap="flat" cmpd="sng" algn="ctr">
              <a:solidFill>
                <a:srgbClr val="92D050"/>
              </a:solidFill>
              <a:prstDash val="solid"/>
            </a:ln>
            <a:effectLst/>
          </p:spPr>
        </p:cxnSp>
        <p:sp>
          <p:nvSpPr>
            <p:cNvPr id="399" name="Oval 398">
              <a:extLst>
                <a:ext uri="{FF2B5EF4-FFF2-40B4-BE49-F238E27FC236}">
                  <a16:creationId xmlns:a16="http://schemas.microsoft.com/office/drawing/2014/main" id="{316FEE9D-5804-4CF4-990F-7CAEFB85D88A}"/>
                </a:ext>
              </a:extLst>
            </p:cNvPr>
            <p:cNvSpPr/>
            <p:nvPr/>
          </p:nvSpPr>
          <p:spPr>
            <a:xfrm>
              <a:off x="4009714" y="2601934"/>
              <a:ext cx="64583" cy="72612"/>
            </a:xfrm>
            <a:prstGeom prst="ellipse">
              <a:avLst/>
            </a:prstGeom>
            <a:solidFill>
              <a:srgbClr val="92D05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endParaRPr>
            </a:p>
          </p:txBody>
        </p:sp>
        <p:cxnSp>
          <p:nvCxnSpPr>
            <p:cNvPr id="400" name="Straight Connector 399">
              <a:extLst>
                <a:ext uri="{FF2B5EF4-FFF2-40B4-BE49-F238E27FC236}">
                  <a16:creationId xmlns:a16="http://schemas.microsoft.com/office/drawing/2014/main" id="{417FBAA9-6EF9-47A2-81BA-C72152F89410}"/>
                </a:ext>
              </a:extLst>
            </p:cNvPr>
            <p:cNvCxnSpPr/>
            <p:nvPr/>
          </p:nvCxnSpPr>
          <p:spPr>
            <a:xfrm rot="5400000">
              <a:off x="4038319" y="2701500"/>
              <a:ext cx="0" cy="64583"/>
            </a:xfrm>
            <a:prstGeom prst="line">
              <a:avLst/>
            </a:prstGeom>
            <a:noFill/>
            <a:ln w="19050" cap="flat" cmpd="sng" algn="ctr">
              <a:solidFill>
                <a:srgbClr val="92D050"/>
              </a:solidFill>
              <a:prstDash val="solid"/>
            </a:ln>
            <a:effectLst/>
          </p:spPr>
        </p:cxnSp>
        <p:cxnSp>
          <p:nvCxnSpPr>
            <p:cNvPr id="401" name="Straight Connector 400">
              <a:extLst>
                <a:ext uri="{FF2B5EF4-FFF2-40B4-BE49-F238E27FC236}">
                  <a16:creationId xmlns:a16="http://schemas.microsoft.com/office/drawing/2014/main" id="{539C4E86-C216-464F-9EDE-21B19D0C9EDF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728713" y="2437199"/>
              <a:ext cx="0" cy="64583"/>
            </a:xfrm>
            <a:prstGeom prst="line">
              <a:avLst/>
            </a:prstGeom>
            <a:noFill/>
            <a:ln w="19050" cap="flat" cmpd="sng" algn="ctr">
              <a:solidFill>
                <a:srgbClr val="7E2E78"/>
              </a:solidFill>
              <a:prstDash val="solid"/>
            </a:ln>
            <a:effectLst/>
          </p:spPr>
        </p:cxnSp>
        <p:cxnSp>
          <p:nvCxnSpPr>
            <p:cNvPr id="402" name="Straight Connector 401">
              <a:extLst>
                <a:ext uri="{FF2B5EF4-FFF2-40B4-BE49-F238E27FC236}">
                  <a16:creationId xmlns:a16="http://schemas.microsoft.com/office/drawing/2014/main" id="{6AD8FAE3-9C75-4A4A-BDF2-1BB291349FAF}"/>
                </a:ext>
              </a:extLst>
            </p:cNvPr>
            <p:cNvCxnSpPr/>
            <p:nvPr/>
          </p:nvCxnSpPr>
          <p:spPr>
            <a:xfrm rot="5400000">
              <a:off x="4349210" y="2636302"/>
              <a:ext cx="0" cy="64583"/>
            </a:xfrm>
            <a:prstGeom prst="line">
              <a:avLst/>
            </a:prstGeom>
            <a:noFill/>
            <a:ln w="19050" cap="flat" cmpd="sng" algn="ctr">
              <a:solidFill>
                <a:srgbClr val="7E2E78"/>
              </a:solidFill>
              <a:prstDash val="solid"/>
            </a:ln>
            <a:effectLst/>
          </p:spPr>
        </p:cxnSp>
        <p:cxnSp>
          <p:nvCxnSpPr>
            <p:cNvPr id="403" name="Straight Connector 402">
              <a:extLst>
                <a:ext uri="{FF2B5EF4-FFF2-40B4-BE49-F238E27FC236}">
                  <a16:creationId xmlns:a16="http://schemas.microsoft.com/office/drawing/2014/main" id="{F70FFEB6-E251-4FB6-B8D7-60E0F0FC7E10}"/>
                </a:ext>
              </a:extLst>
            </p:cNvPr>
            <p:cNvCxnSpPr/>
            <p:nvPr/>
          </p:nvCxnSpPr>
          <p:spPr>
            <a:xfrm rot="5400000">
              <a:off x="4965987" y="2168287"/>
              <a:ext cx="0" cy="64583"/>
            </a:xfrm>
            <a:prstGeom prst="line">
              <a:avLst/>
            </a:prstGeom>
            <a:noFill/>
            <a:ln w="19050" cap="flat" cmpd="sng" algn="ctr">
              <a:solidFill>
                <a:srgbClr val="7E2E78"/>
              </a:solidFill>
              <a:prstDash val="solid"/>
            </a:ln>
            <a:effectLst/>
          </p:spPr>
        </p:cxnSp>
        <p:cxnSp>
          <p:nvCxnSpPr>
            <p:cNvPr id="404" name="Straight Connector 403">
              <a:extLst>
                <a:ext uri="{FF2B5EF4-FFF2-40B4-BE49-F238E27FC236}">
                  <a16:creationId xmlns:a16="http://schemas.microsoft.com/office/drawing/2014/main" id="{DE6CAF11-9272-4E3B-8CEF-AD401EE5856E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728713" y="2261403"/>
              <a:ext cx="0" cy="64583"/>
            </a:xfrm>
            <a:prstGeom prst="line">
              <a:avLst/>
            </a:prstGeom>
            <a:noFill/>
            <a:ln w="19050" cap="flat" cmpd="sng" algn="ctr">
              <a:solidFill>
                <a:srgbClr val="7E2E78"/>
              </a:solidFill>
              <a:prstDash val="solid"/>
            </a:ln>
            <a:effectLst/>
          </p:spPr>
        </p:cxnSp>
        <p:cxnSp>
          <p:nvCxnSpPr>
            <p:cNvPr id="405" name="Straight Connector 404">
              <a:extLst>
                <a:ext uri="{FF2B5EF4-FFF2-40B4-BE49-F238E27FC236}">
                  <a16:creationId xmlns:a16="http://schemas.microsoft.com/office/drawing/2014/main" id="{CD4F21D5-DCA5-4DDC-9330-EF6A6FF9923E}"/>
                </a:ext>
              </a:extLst>
            </p:cNvPr>
            <p:cNvCxnSpPr/>
            <p:nvPr/>
          </p:nvCxnSpPr>
          <p:spPr>
            <a:xfrm>
              <a:off x="4353916" y="2505700"/>
              <a:ext cx="0" cy="160034"/>
            </a:xfrm>
            <a:prstGeom prst="line">
              <a:avLst/>
            </a:prstGeom>
            <a:noFill/>
            <a:ln w="19050" cap="flat" cmpd="sng" algn="ctr">
              <a:solidFill>
                <a:srgbClr val="7E2E78"/>
              </a:solidFill>
              <a:prstDash val="solid"/>
            </a:ln>
            <a:effectLst/>
          </p:spPr>
        </p:cxnSp>
        <p:sp>
          <p:nvSpPr>
            <p:cNvPr id="406" name="Rectangle 405">
              <a:extLst>
                <a:ext uri="{FF2B5EF4-FFF2-40B4-BE49-F238E27FC236}">
                  <a16:creationId xmlns:a16="http://schemas.microsoft.com/office/drawing/2014/main" id="{F5BFDAFC-0091-4B22-9D73-054DC2BCCA61}"/>
                </a:ext>
              </a:extLst>
            </p:cNvPr>
            <p:cNvSpPr/>
            <p:nvPr/>
          </p:nvSpPr>
          <p:spPr>
            <a:xfrm>
              <a:off x="4321923" y="2555173"/>
              <a:ext cx="64583" cy="69456"/>
            </a:xfrm>
            <a:prstGeom prst="rect">
              <a:avLst/>
            </a:prstGeom>
            <a:solidFill>
              <a:srgbClr val="7E2E78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endParaRPr>
            </a:p>
          </p:txBody>
        </p:sp>
        <p:sp>
          <p:nvSpPr>
            <p:cNvPr id="407" name="Rectangle 406">
              <a:extLst>
                <a:ext uri="{FF2B5EF4-FFF2-40B4-BE49-F238E27FC236}">
                  <a16:creationId xmlns:a16="http://schemas.microsoft.com/office/drawing/2014/main" id="{E57325B7-F3F2-4ED7-B962-4A4C5679D05A}"/>
                </a:ext>
              </a:extLst>
            </p:cNvPr>
            <p:cNvSpPr/>
            <p:nvPr/>
          </p:nvSpPr>
          <p:spPr>
            <a:xfrm>
              <a:off x="4632186" y="2507222"/>
              <a:ext cx="64583" cy="69456"/>
            </a:xfrm>
            <a:prstGeom prst="rect">
              <a:avLst/>
            </a:prstGeom>
            <a:solidFill>
              <a:srgbClr val="7E2E78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endParaRPr>
            </a:p>
          </p:txBody>
        </p:sp>
        <p:sp>
          <p:nvSpPr>
            <p:cNvPr id="408" name="Rectangle 407">
              <a:extLst>
                <a:ext uri="{FF2B5EF4-FFF2-40B4-BE49-F238E27FC236}">
                  <a16:creationId xmlns:a16="http://schemas.microsoft.com/office/drawing/2014/main" id="{33FD1013-2709-485D-8D78-49785E3375C0}"/>
                </a:ext>
              </a:extLst>
            </p:cNvPr>
            <p:cNvSpPr/>
            <p:nvPr/>
          </p:nvSpPr>
          <p:spPr>
            <a:xfrm>
              <a:off x="4933651" y="2258047"/>
              <a:ext cx="64583" cy="69456"/>
            </a:xfrm>
            <a:prstGeom prst="rect">
              <a:avLst/>
            </a:prstGeom>
            <a:solidFill>
              <a:srgbClr val="7E2E78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endParaRPr>
            </a:p>
          </p:txBody>
        </p:sp>
        <p:cxnSp>
          <p:nvCxnSpPr>
            <p:cNvPr id="409" name="Straight Connector 408">
              <a:extLst>
                <a:ext uri="{FF2B5EF4-FFF2-40B4-BE49-F238E27FC236}">
                  <a16:creationId xmlns:a16="http://schemas.microsoft.com/office/drawing/2014/main" id="{F303CCFB-0FA8-4755-85FA-9FF46E1D2050}"/>
                </a:ext>
              </a:extLst>
            </p:cNvPr>
            <p:cNvCxnSpPr/>
            <p:nvPr/>
          </p:nvCxnSpPr>
          <p:spPr>
            <a:xfrm>
              <a:off x="4660237" y="2467428"/>
              <a:ext cx="0" cy="147970"/>
            </a:xfrm>
            <a:prstGeom prst="line">
              <a:avLst/>
            </a:prstGeom>
            <a:noFill/>
            <a:ln w="19050" cap="flat" cmpd="sng" algn="ctr">
              <a:solidFill>
                <a:srgbClr val="7E2E78"/>
              </a:solidFill>
              <a:prstDash val="solid"/>
            </a:ln>
            <a:effectLst/>
          </p:spPr>
        </p:cxnSp>
        <p:cxnSp>
          <p:nvCxnSpPr>
            <p:cNvPr id="411" name="Straight Connector 410">
              <a:extLst>
                <a:ext uri="{FF2B5EF4-FFF2-40B4-BE49-F238E27FC236}">
                  <a16:creationId xmlns:a16="http://schemas.microsoft.com/office/drawing/2014/main" id="{F00CC4DD-C88D-444C-AE59-37E0AF9DF4CF}"/>
                </a:ext>
              </a:extLst>
            </p:cNvPr>
            <p:cNvCxnSpPr/>
            <p:nvPr/>
          </p:nvCxnSpPr>
          <p:spPr>
            <a:xfrm>
              <a:off x="4965987" y="2209026"/>
              <a:ext cx="0" cy="176527"/>
            </a:xfrm>
            <a:prstGeom prst="line">
              <a:avLst/>
            </a:prstGeom>
            <a:noFill/>
            <a:ln w="19050" cap="flat" cmpd="sng" algn="ctr">
              <a:solidFill>
                <a:srgbClr val="7E2E78"/>
              </a:solidFill>
              <a:prstDash val="solid"/>
            </a:ln>
            <a:effectLst/>
          </p:spPr>
        </p:cxnSp>
        <p:cxnSp>
          <p:nvCxnSpPr>
            <p:cNvPr id="412" name="Straight Connector 411">
              <a:extLst>
                <a:ext uri="{FF2B5EF4-FFF2-40B4-BE49-F238E27FC236}">
                  <a16:creationId xmlns:a16="http://schemas.microsoft.com/office/drawing/2014/main" id="{96CE3338-9E26-4097-841C-A54F02C75D84}"/>
                </a:ext>
              </a:extLst>
            </p:cNvPr>
            <p:cNvCxnSpPr/>
            <p:nvPr/>
          </p:nvCxnSpPr>
          <p:spPr>
            <a:xfrm rot="5400000">
              <a:off x="4036442" y="2452394"/>
              <a:ext cx="0" cy="64583"/>
            </a:xfrm>
            <a:prstGeom prst="line">
              <a:avLst/>
            </a:prstGeom>
            <a:noFill/>
            <a:ln w="19050" cap="flat" cmpd="sng" algn="ctr">
              <a:solidFill>
                <a:srgbClr val="7E2E78"/>
              </a:solidFill>
              <a:prstDash val="solid"/>
            </a:ln>
            <a:effectLst/>
          </p:spPr>
        </p:cxnSp>
        <p:cxnSp>
          <p:nvCxnSpPr>
            <p:cNvPr id="413" name="Straight Connector 412">
              <a:extLst>
                <a:ext uri="{FF2B5EF4-FFF2-40B4-BE49-F238E27FC236}">
                  <a16:creationId xmlns:a16="http://schemas.microsoft.com/office/drawing/2014/main" id="{B26D105D-9504-4AEE-B499-894634116F9E}"/>
                </a:ext>
              </a:extLst>
            </p:cNvPr>
            <p:cNvCxnSpPr/>
            <p:nvPr/>
          </p:nvCxnSpPr>
          <p:spPr>
            <a:xfrm rot="5400000">
              <a:off x="4349210" y="2477024"/>
              <a:ext cx="0" cy="64583"/>
            </a:xfrm>
            <a:prstGeom prst="line">
              <a:avLst/>
            </a:prstGeom>
            <a:noFill/>
            <a:ln w="19050" cap="flat" cmpd="sng" algn="ctr">
              <a:solidFill>
                <a:srgbClr val="7E2E78"/>
              </a:solidFill>
              <a:prstDash val="solid"/>
            </a:ln>
            <a:effectLst/>
          </p:spPr>
        </p:cxnSp>
        <p:cxnSp>
          <p:nvCxnSpPr>
            <p:cNvPr id="414" name="Straight Connector 413">
              <a:extLst>
                <a:ext uri="{FF2B5EF4-FFF2-40B4-BE49-F238E27FC236}">
                  <a16:creationId xmlns:a16="http://schemas.microsoft.com/office/drawing/2014/main" id="{833C1D90-8AD0-41E9-A588-DBC0A1C150E4}"/>
                </a:ext>
              </a:extLst>
            </p:cNvPr>
            <p:cNvCxnSpPr/>
            <p:nvPr/>
          </p:nvCxnSpPr>
          <p:spPr>
            <a:xfrm flipH="1">
              <a:off x="4036882" y="2560154"/>
              <a:ext cx="1435" cy="173638"/>
            </a:xfrm>
            <a:prstGeom prst="line">
              <a:avLst/>
            </a:prstGeom>
            <a:noFill/>
            <a:ln w="19050" cap="flat" cmpd="sng" algn="ctr">
              <a:solidFill>
                <a:srgbClr val="92D050"/>
              </a:solidFill>
              <a:prstDash val="solid"/>
            </a:ln>
            <a:effectLst/>
          </p:spPr>
        </p:cxnSp>
        <p:cxnSp>
          <p:nvCxnSpPr>
            <p:cNvPr id="415" name="Straight Connector 414">
              <a:extLst>
                <a:ext uri="{FF2B5EF4-FFF2-40B4-BE49-F238E27FC236}">
                  <a16:creationId xmlns:a16="http://schemas.microsoft.com/office/drawing/2014/main" id="{CA7A4194-1479-4B57-B31E-6708F4134BF3}"/>
                </a:ext>
              </a:extLst>
            </p:cNvPr>
            <p:cNvCxnSpPr/>
            <p:nvPr/>
          </p:nvCxnSpPr>
          <p:spPr>
            <a:xfrm rot="5400000">
              <a:off x="4657684" y="2580378"/>
              <a:ext cx="0" cy="64583"/>
            </a:xfrm>
            <a:prstGeom prst="line">
              <a:avLst/>
            </a:prstGeom>
            <a:noFill/>
            <a:ln w="19050" cap="flat" cmpd="sng" algn="ctr">
              <a:solidFill>
                <a:srgbClr val="7E2E78"/>
              </a:solidFill>
              <a:prstDash val="solid"/>
            </a:ln>
            <a:effectLst/>
          </p:spPr>
        </p:cxnSp>
        <p:cxnSp>
          <p:nvCxnSpPr>
            <p:cNvPr id="416" name="Straight Connector 415">
              <a:extLst>
                <a:ext uri="{FF2B5EF4-FFF2-40B4-BE49-F238E27FC236}">
                  <a16:creationId xmlns:a16="http://schemas.microsoft.com/office/drawing/2014/main" id="{90A5BAB4-B0AB-4FE9-90EF-14DF22F30676}"/>
                </a:ext>
              </a:extLst>
            </p:cNvPr>
            <p:cNvCxnSpPr/>
            <p:nvPr/>
          </p:nvCxnSpPr>
          <p:spPr>
            <a:xfrm rot="5400000">
              <a:off x="4965987" y="2353261"/>
              <a:ext cx="0" cy="64583"/>
            </a:xfrm>
            <a:prstGeom prst="line">
              <a:avLst/>
            </a:prstGeom>
            <a:noFill/>
            <a:ln w="19050" cap="flat" cmpd="sng" algn="ctr">
              <a:solidFill>
                <a:srgbClr val="7E2E78"/>
              </a:solidFill>
              <a:prstDash val="solid"/>
            </a:ln>
            <a:effectLst/>
          </p:spPr>
        </p:cxnSp>
        <p:cxnSp>
          <p:nvCxnSpPr>
            <p:cNvPr id="417" name="Straight Connector 416">
              <a:extLst>
                <a:ext uri="{FF2B5EF4-FFF2-40B4-BE49-F238E27FC236}">
                  <a16:creationId xmlns:a16="http://schemas.microsoft.com/office/drawing/2014/main" id="{F7548411-D8CC-4FBF-975B-61A4FFA8FE54}"/>
                </a:ext>
              </a:extLst>
            </p:cNvPr>
            <p:cNvCxnSpPr/>
            <p:nvPr/>
          </p:nvCxnSpPr>
          <p:spPr>
            <a:xfrm rot="5400000">
              <a:off x="4658017" y="2439343"/>
              <a:ext cx="0" cy="64583"/>
            </a:xfrm>
            <a:prstGeom prst="line">
              <a:avLst/>
            </a:prstGeom>
            <a:noFill/>
            <a:ln w="19050" cap="flat" cmpd="sng" algn="ctr">
              <a:solidFill>
                <a:srgbClr val="7E2E78"/>
              </a:solidFill>
              <a:prstDash val="solid"/>
            </a:ln>
            <a:effectLst/>
          </p:spPr>
        </p:cxnSp>
        <p:sp>
          <p:nvSpPr>
            <p:cNvPr id="418" name="Rectangle 417">
              <a:extLst>
                <a:ext uri="{FF2B5EF4-FFF2-40B4-BE49-F238E27FC236}">
                  <a16:creationId xmlns:a16="http://schemas.microsoft.com/office/drawing/2014/main" id="{9DE323E5-CDBD-4A13-8E31-758AAC3F53E7}"/>
                </a:ext>
              </a:extLst>
            </p:cNvPr>
            <p:cNvSpPr/>
            <p:nvPr/>
          </p:nvSpPr>
          <p:spPr>
            <a:xfrm>
              <a:off x="4006027" y="2534421"/>
              <a:ext cx="64583" cy="69456"/>
            </a:xfrm>
            <a:prstGeom prst="rect">
              <a:avLst/>
            </a:prstGeom>
            <a:solidFill>
              <a:srgbClr val="7E2E78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endParaRPr>
            </a:p>
          </p:txBody>
        </p:sp>
        <p:cxnSp>
          <p:nvCxnSpPr>
            <p:cNvPr id="419" name="Straight Connector 418">
              <a:extLst>
                <a:ext uri="{FF2B5EF4-FFF2-40B4-BE49-F238E27FC236}">
                  <a16:creationId xmlns:a16="http://schemas.microsoft.com/office/drawing/2014/main" id="{2538648C-3AEA-4D15-8AF1-C303E73E3AD4}"/>
                </a:ext>
              </a:extLst>
            </p:cNvPr>
            <p:cNvCxnSpPr/>
            <p:nvPr/>
          </p:nvCxnSpPr>
          <p:spPr>
            <a:xfrm flipH="1">
              <a:off x="4036882" y="2481058"/>
              <a:ext cx="1435" cy="151538"/>
            </a:xfrm>
            <a:prstGeom prst="line">
              <a:avLst/>
            </a:prstGeom>
            <a:noFill/>
            <a:ln w="19050" cap="flat" cmpd="sng" algn="ctr">
              <a:solidFill>
                <a:srgbClr val="7E2E78"/>
              </a:solidFill>
              <a:prstDash val="solid"/>
            </a:ln>
            <a:effectLst/>
          </p:spPr>
        </p:cxnSp>
        <p:cxnSp>
          <p:nvCxnSpPr>
            <p:cNvPr id="420" name="Straight Connector 419">
              <a:extLst>
                <a:ext uri="{FF2B5EF4-FFF2-40B4-BE49-F238E27FC236}">
                  <a16:creationId xmlns:a16="http://schemas.microsoft.com/office/drawing/2014/main" id="{C9D43558-F772-4173-BC34-4BBF120A635C}"/>
                </a:ext>
              </a:extLst>
            </p:cNvPr>
            <p:cNvCxnSpPr/>
            <p:nvPr/>
          </p:nvCxnSpPr>
          <p:spPr>
            <a:xfrm rot="5400000">
              <a:off x="4036442" y="2601837"/>
              <a:ext cx="0" cy="64583"/>
            </a:xfrm>
            <a:prstGeom prst="line">
              <a:avLst/>
            </a:prstGeom>
            <a:noFill/>
            <a:ln w="19050" cap="flat" cmpd="sng" algn="ctr">
              <a:solidFill>
                <a:srgbClr val="7E2E78"/>
              </a:solidFill>
              <a:prstDash val="solid"/>
            </a:ln>
            <a:effectLst/>
          </p:spPr>
        </p:cxnSp>
        <p:cxnSp>
          <p:nvCxnSpPr>
            <p:cNvPr id="421" name="Straight Connector 420">
              <a:extLst>
                <a:ext uri="{FF2B5EF4-FFF2-40B4-BE49-F238E27FC236}">
                  <a16:creationId xmlns:a16="http://schemas.microsoft.com/office/drawing/2014/main" id="{7292C487-8DD5-4B38-B4CF-238F20D7ED7D}"/>
                </a:ext>
              </a:extLst>
            </p:cNvPr>
            <p:cNvCxnSpPr>
              <a:cxnSpLocks/>
            </p:cNvCxnSpPr>
            <p:nvPr/>
          </p:nvCxnSpPr>
          <p:spPr>
            <a:xfrm>
              <a:off x="3732493" y="2295890"/>
              <a:ext cx="0" cy="180890"/>
            </a:xfrm>
            <a:prstGeom prst="line">
              <a:avLst/>
            </a:prstGeom>
            <a:noFill/>
            <a:ln w="19050" cap="flat" cmpd="sng" algn="ctr">
              <a:solidFill>
                <a:srgbClr val="7E2E78"/>
              </a:solidFill>
              <a:prstDash val="solid"/>
            </a:ln>
            <a:effectLst/>
          </p:spPr>
        </p:cxnSp>
        <p:cxnSp>
          <p:nvCxnSpPr>
            <p:cNvPr id="422" name="Straight Connector 421">
              <a:extLst>
                <a:ext uri="{FF2B5EF4-FFF2-40B4-BE49-F238E27FC236}">
                  <a16:creationId xmlns:a16="http://schemas.microsoft.com/office/drawing/2014/main" id="{DFEC659C-4159-4C87-B1D2-FF698BCD3C0A}"/>
                </a:ext>
              </a:extLst>
            </p:cNvPr>
            <p:cNvCxnSpPr>
              <a:cxnSpLocks/>
            </p:cNvCxnSpPr>
            <p:nvPr/>
          </p:nvCxnSpPr>
          <p:spPr>
            <a:xfrm>
              <a:off x="3513476" y="2393128"/>
              <a:ext cx="57785" cy="0"/>
            </a:xfrm>
            <a:prstGeom prst="line">
              <a:avLst/>
            </a:prstGeom>
            <a:noFill/>
            <a:ln w="19050" cap="flat" cmpd="sng" algn="ctr">
              <a:solidFill>
                <a:srgbClr val="212121"/>
              </a:solidFill>
              <a:prstDash val="solid"/>
            </a:ln>
            <a:effectLst/>
          </p:spPr>
        </p:cxnSp>
        <p:cxnSp>
          <p:nvCxnSpPr>
            <p:cNvPr id="423" name="Straight Connector 422">
              <a:extLst>
                <a:ext uri="{FF2B5EF4-FFF2-40B4-BE49-F238E27FC236}">
                  <a16:creationId xmlns:a16="http://schemas.microsoft.com/office/drawing/2014/main" id="{2C63C765-6E62-4A4F-8CEB-4A345B811F45}"/>
                </a:ext>
              </a:extLst>
            </p:cNvPr>
            <p:cNvCxnSpPr/>
            <p:nvPr/>
          </p:nvCxnSpPr>
          <p:spPr>
            <a:xfrm rot="5400000">
              <a:off x="4967853" y="2675728"/>
              <a:ext cx="0" cy="64583"/>
            </a:xfrm>
            <a:prstGeom prst="line">
              <a:avLst/>
            </a:prstGeom>
            <a:noFill/>
            <a:ln w="19050" cap="flat" cmpd="sng" algn="ctr">
              <a:solidFill>
                <a:srgbClr val="92D050"/>
              </a:solidFill>
              <a:prstDash val="solid"/>
            </a:ln>
            <a:effectLst/>
          </p:spPr>
        </p:cxnSp>
        <p:sp>
          <p:nvSpPr>
            <p:cNvPr id="424" name="Rectangle 423">
              <a:extLst>
                <a:ext uri="{FF2B5EF4-FFF2-40B4-BE49-F238E27FC236}">
                  <a16:creationId xmlns:a16="http://schemas.microsoft.com/office/drawing/2014/main" id="{723A0C7A-5ACA-4AD9-82A6-06767727AA72}"/>
                </a:ext>
              </a:extLst>
            </p:cNvPr>
            <p:cNvSpPr/>
            <p:nvPr/>
          </p:nvSpPr>
          <p:spPr>
            <a:xfrm>
              <a:off x="4877261" y="1996048"/>
              <a:ext cx="234360" cy="246221"/>
            </a:xfrm>
            <a:prstGeom prst="rect">
              <a:avLst/>
            </a:prstGeom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*</a:t>
              </a:r>
            </a:p>
          </p:txBody>
        </p:sp>
      </p:grpSp>
      <p:grpSp>
        <p:nvGrpSpPr>
          <p:cNvPr id="425" name="Group 424">
            <a:extLst>
              <a:ext uri="{FF2B5EF4-FFF2-40B4-BE49-F238E27FC236}">
                <a16:creationId xmlns:a16="http://schemas.microsoft.com/office/drawing/2014/main" id="{F69669E6-5660-45EB-993C-B5C3C959A5C2}"/>
              </a:ext>
            </a:extLst>
          </p:cNvPr>
          <p:cNvGrpSpPr/>
          <p:nvPr/>
        </p:nvGrpSpPr>
        <p:grpSpPr>
          <a:xfrm>
            <a:off x="6042267" y="2431306"/>
            <a:ext cx="2819678" cy="2152020"/>
            <a:chOff x="5944870" y="1945231"/>
            <a:chExt cx="2819678" cy="2152020"/>
          </a:xfrm>
        </p:grpSpPr>
        <p:cxnSp>
          <p:nvCxnSpPr>
            <p:cNvPr id="426" name="Straight Connector 425">
              <a:extLst>
                <a:ext uri="{FF2B5EF4-FFF2-40B4-BE49-F238E27FC236}">
                  <a16:creationId xmlns:a16="http://schemas.microsoft.com/office/drawing/2014/main" id="{83DE59B5-5C56-43C0-80AD-D2BF29387E08}"/>
                </a:ext>
              </a:extLst>
            </p:cNvPr>
            <p:cNvCxnSpPr/>
            <p:nvPr/>
          </p:nvCxnSpPr>
          <p:spPr>
            <a:xfrm>
              <a:off x="6599127" y="2067630"/>
              <a:ext cx="3353" cy="1339840"/>
            </a:xfrm>
            <a:prstGeom prst="line">
              <a:avLst/>
            </a:prstGeom>
            <a:noFill/>
            <a:ln w="19050" cap="flat" cmpd="sng" algn="ctr">
              <a:solidFill>
                <a:srgbClr val="212121"/>
              </a:solidFill>
              <a:prstDash val="solid"/>
            </a:ln>
            <a:effectLst/>
          </p:spPr>
        </p:cxnSp>
        <p:cxnSp>
          <p:nvCxnSpPr>
            <p:cNvPr id="427" name="Straight Connector 426">
              <a:extLst>
                <a:ext uri="{FF2B5EF4-FFF2-40B4-BE49-F238E27FC236}">
                  <a16:creationId xmlns:a16="http://schemas.microsoft.com/office/drawing/2014/main" id="{C3F04087-F3EC-4169-8D6A-AB54B365529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599128" y="3405200"/>
              <a:ext cx="2113331" cy="0"/>
            </a:xfrm>
            <a:prstGeom prst="line">
              <a:avLst/>
            </a:prstGeom>
            <a:noFill/>
            <a:ln w="19050" cap="flat" cmpd="sng" algn="ctr">
              <a:solidFill>
                <a:srgbClr val="212121"/>
              </a:solidFill>
              <a:prstDash val="solid"/>
            </a:ln>
            <a:effectLst/>
          </p:spPr>
        </p:cxnSp>
        <p:cxnSp>
          <p:nvCxnSpPr>
            <p:cNvPr id="428" name="Straight Connector 427">
              <a:extLst>
                <a:ext uri="{FF2B5EF4-FFF2-40B4-BE49-F238E27FC236}">
                  <a16:creationId xmlns:a16="http://schemas.microsoft.com/office/drawing/2014/main" id="{501A108E-0F42-4103-861C-4D50A18E2FB1}"/>
                </a:ext>
              </a:extLst>
            </p:cNvPr>
            <p:cNvCxnSpPr/>
            <p:nvPr/>
          </p:nvCxnSpPr>
          <p:spPr>
            <a:xfrm>
              <a:off x="6545445" y="2067630"/>
              <a:ext cx="57035" cy="0"/>
            </a:xfrm>
            <a:prstGeom prst="line">
              <a:avLst/>
            </a:prstGeom>
            <a:noFill/>
            <a:ln w="19050" cap="flat" cmpd="sng" algn="ctr">
              <a:solidFill>
                <a:srgbClr val="212121"/>
              </a:solidFill>
              <a:prstDash val="solid"/>
            </a:ln>
            <a:effectLst/>
          </p:spPr>
        </p:cxnSp>
        <p:cxnSp>
          <p:nvCxnSpPr>
            <p:cNvPr id="429" name="Straight Connector 428">
              <a:extLst>
                <a:ext uri="{FF2B5EF4-FFF2-40B4-BE49-F238E27FC236}">
                  <a16:creationId xmlns:a16="http://schemas.microsoft.com/office/drawing/2014/main" id="{B09A479F-3BC8-4C46-82EC-1FC1A8951DAE}"/>
                </a:ext>
              </a:extLst>
            </p:cNvPr>
            <p:cNvCxnSpPr/>
            <p:nvPr/>
          </p:nvCxnSpPr>
          <p:spPr>
            <a:xfrm>
              <a:off x="6545445" y="2403937"/>
              <a:ext cx="57035" cy="0"/>
            </a:xfrm>
            <a:prstGeom prst="line">
              <a:avLst/>
            </a:prstGeom>
            <a:noFill/>
            <a:ln w="19050" cap="flat" cmpd="sng" algn="ctr">
              <a:solidFill>
                <a:srgbClr val="212121"/>
              </a:solidFill>
              <a:prstDash val="solid"/>
            </a:ln>
            <a:effectLst/>
          </p:spPr>
        </p:cxnSp>
        <p:cxnSp>
          <p:nvCxnSpPr>
            <p:cNvPr id="430" name="Straight Connector 429">
              <a:extLst>
                <a:ext uri="{FF2B5EF4-FFF2-40B4-BE49-F238E27FC236}">
                  <a16:creationId xmlns:a16="http://schemas.microsoft.com/office/drawing/2014/main" id="{EC7A5515-7C9F-4920-9ADB-BA35531D24ED}"/>
                </a:ext>
              </a:extLst>
            </p:cNvPr>
            <p:cNvCxnSpPr/>
            <p:nvPr/>
          </p:nvCxnSpPr>
          <p:spPr>
            <a:xfrm>
              <a:off x="6545445" y="2735392"/>
              <a:ext cx="57035" cy="0"/>
            </a:xfrm>
            <a:prstGeom prst="line">
              <a:avLst/>
            </a:prstGeom>
            <a:noFill/>
            <a:ln w="19050" cap="flat" cmpd="sng" algn="ctr">
              <a:solidFill>
                <a:srgbClr val="212121"/>
              </a:solidFill>
              <a:prstDash val="solid"/>
            </a:ln>
            <a:effectLst/>
          </p:spPr>
        </p:cxnSp>
        <p:cxnSp>
          <p:nvCxnSpPr>
            <p:cNvPr id="431" name="Straight Connector 430">
              <a:extLst>
                <a:ext uri="{FF2B5EF4-FFF2-40B4-BE49-F238E27FC236}">
                  <a16:creationId xmlns:a16="http://schemas.microsoft.com/office/drawing/2014/main" id="{6ECFD78F-EE7A-4947-8A5F-4C06F50ECCEF}"/>
                </a:ext>
              </a:extLst>
            </p:cNvPr>
            <p:cNvCxnSpPr/>
            <p:nvPr/>
          </p:nvCxnSpPr>
          <p:spPr>
            <a:xfrm>
              <a:off x="6545445" y="3074766"/>
              <a:ext cx="57035" cy="0"/>
            </a:xfrm>
            <a:prstGeom prst="line">
              <a:avLst/>
            </a:prstGeom>
            <a:noFill/>
            <a:ln w="19050" cap="flat" cmpd="sng" algn="ctr">
              <a:solidFill>
                <a:srgbClr val="212121"/>
              </a:solidFill>
              <a:prstDash val="solid"/>
            </a:ln>
            <a:effectLst/>
          </p:spPr>
        </p:cxnSp>
        <p:cxnSp>
          <p:nvCxnSpPr>
            <p:cNvPr id="432" name="Straight Connector 431">
              <a:extLst>
                <a:ext uri="{FF2B5EF4-FFF2-40B4-BE49-F238E27FC236}">
                  <a16:creationId xmlns:a16="http://schemas.microsoft.com/office/drawing/2014/main" id="{05FB091D-BF21-4D4E-B72A-F2A934268740}"/>
                </a:ext>
              </a:extLst>
            </p:cNvPr>
            <p:cNvCxnSpPr>
              <a:cxnSpLocks/>
            </p:cNvCxnSpPr>
            <p:nvPr/>
          </p:nvCxnSpPr>
          <p:spPr>
            <a:xfrm>
              <a:off x="6545445" y="3405200"/>
              <a:ext cx="57035" cy="0"/>
            </a:xfrm>
            <a:prstGeom prst="line">
              <a:avLst/>
            </a:prstGeom>
            <a:noFill/>
            <a:ln w="19050" cap="flat" cmpd="sng" algn="ctr">
              <a:solidFill>
                <a:srgbClr val="212121"/>
              </a:solidFill>
              <a:prstDash val="solid"/>
            </a:ln>
            <a:effectLst/>
          </p:spPr>
        </p:cxnSp>
        <p:cxnSp>
          <p:nvCxnSpPr>
            <p:cNvPr id="433" name="Straight Connector 432">
              <a:extLst>
                <a:ext uri="{FF2B5EF4-FFF2-40B4-BE49-F238E27FC236}">
                  <a16:creationId xmlns:a16="http://schemas.microsoft.com/office/drawing/2014/main" id="{AF738500-093D-4D12-BAD0-7E85A3C383F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6692424" y="3432634"/>
              <a:ext cx="54866" cy="0"/>
            </a:xfrm>
            <a:prstGeom prst="line">
              <a:avLst/>
            </a:prstGeom>
            <a:noFill/>
            <a:ln w="19050" cap="flat" cmpd="sng" algn="ctr">
              <a:solidFill>
                <a:srgbClr val="212121"/>
              </a:solidFill>
              <a:prstDash val="solid"/>
            </a:ln>
            <a:effectLst/>
          </p:spPr>
        </p:cxnSp>
        <p:cxnSp>
          <p:nvCxnSpPr>
            <p:cNvPr id="434" name="Straight Connector 433">
              <a:extLst>
                <a:ext uri="{FF2B5EF4-FFF2-40B4-BE49-F238E27FC236}">
                  <a16:creationId xmlns:a16="http://schemas.microsoft.com/office/drawing/2014/main" id="{8FCD34E9-232A-4EF4-9F83-A4CF1472CFBE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6898129" y="3432634"/>
              <a:ext cx="54866" cy="0"/>
            </a:xfrm>
            <a:prstGeom prst="line">
              <a:avLst/>
            </a:prstGeom>
            <a:noFill/>
            <a:ln w="19050" cap="flat" cmpd="sng" algn="ctr">
              <a:solidFill>
                <a:srgbClr val="212121"/>
              </a:solidFill>
              <a:prstDash val="solid"/>
            </a:ln>
            <a:effectLst/>
          </p:spPr>
        </p:cxnSp>
        <p:cxnSp>
          <p:nvCxnSpPr>
            <p:cNvPr id="435" name="Straight Connector 434">
              <a:extLst>
                <a:ext uri="{FF2B5EF4-FFF2-40B4-BE49-F238E27FC236}">
                  <a16:creationId xmlns:a16="http://schemas.microsoft.com/office/drawing/2014/main" id="{C5345936-0B8D-494E-8FF1-17C206A6C1A0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7314618" y="3432634"/>
              <a:ext cx="54866" cy="0"/>
            </a:xfrm>
            <a:prstGeom prst="line">
              <a:avLst/>
            </a:prstGeom>
            <a:noFill/>
            <a:ln w="19050" cap="flat" cmpd="sng" algn="ctr">
              <a:solidFill>
                <a:srgbClr val="212121"/>
              </a:solidFill>
              <a:prstDash val="solid"/>
            </a:ln>
            <a:effectLst/>
          </p:spPr>
        </p:cxnSp>
        <p:cxnSp>
          <p:nvCxnSpPr>
            <p:cNvPr id="436" name="Straight Connector 435">
              <a:extLst>
                <a:ext uri="{FF2B5EF4-FFF2-40B4-BE49-F238E27FC236}">
                  <a16:creationId xmlns:a16="http://schemas.microsoft.com/office/drawing/2014/main" id="{8364D1C9-3FCF-48A4-ABCA-F92ACA82EBB8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7944938" y="3432634"/>
              <a:ext cx="54866" cy="0"/>
            </a:xfrm>
            <a:prstGeom prst="line">
              <a:avLst/>
            </a:prstGeom>
            <a:noFill/>
            <a:ln w="19050" cap="flat" cmpd="sng" algn="ctr">
              <a:solidFill>
                <a:srgbClr val="212121"/>
              </a:solidFill>
              <a:prstDash val="solid"/>
            </a:ln>
            <a:effectLst/>
          </p:spPr>
        </p:cxnSp>
        <p:cxnSp>
          <p:nvCxnSpPr>
            <p:cNvPr id="437" name="Straight Connector 436">
              <a:extLst>
                <a:ext uri="{FF2B5EF4-FFF2-40B4-BE49-F238E27FC236}">
                  <a16:creationId xmlns:a16="http://schemas.microsoft.com/office/drawing/2014/main" id="{E4A8306B-50DB-4578-BB9E-D20B9D9D552A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573676" y="3432634"/>
              <a:ext cx="54866" cy="0"/>
            </a:xfrm>
            <a:prstGeom prst="line">
              <a:avLst/>
            </a:prstGeom>
            <a:noFill/>
            <a:ln w="19050" cap="flat" cmpd="sng" algn="ctr">
              <a:solidFill>
                <a:srgbClr val="212121"/>
              </a:solidFill>
              <a:prstDash val="solid"/>
            </a:ln>
            <a:effectLst/>
          </p:spPr>
        </p:cxnSp>
        <p:sp>
          <p:nvSpPr>
            <p:cNvPr id="438" name="Oval 437">
              <a:extLst>
                <a:ext uri="{FF2B5EF4-FFF2-40B4-BE49-F238E27FC236}">
                  <a16:creationId xmlns:a16="http://schemas.microsoft.com/office/drawing/2014/main" id="{D557A314-8B2F-4222-9CA4-E235CFBCDEE8}"/>
                </a:ext>
              </a:extLst>
            </p:cNvPr>
            <p:cNvSpPr/>
            <p:nvPr/>
          </p:nvSpPr>
          <p:spPr>
            <a:xfrm>
              <a:off x="8564198" y="2862794"/>
              <a:ext cx="76046" cy="73155"/>
            </a:xfrm>
            <a:prstGeom prst="ellipse">
              <a:avLst/>
            </a:prstGeom>
            <a:solidFill>
              <a:srgbClr val="92D05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endParaRPr>
            </a:p>
          </p:txBody>
        </p:sp>
        <p:sp>
          <p:nvSpPr>
            <p:cNvPr id="439" name="Oval 438">
              <a:extLst>
                <a:ext uri="{FF2B5EF4-FFF2-40B4-BE49-F238E27FC236}">
                  <a16:creationId xmlns:a16="http://schemas.microsoft.com/office/drawing/2014/main" id="{79911405-8980-4003-A189-31347F2733D6}"/>
                </a:ext>
              </a:extLst>
            </p:cNvPr>
            <p:cNvSpPr/>
            <p:nvPr/>
          </p:nvSpPr>
          <p:spPr>
            <a:xfrm>
              <a:off x="7934348" y="2849341"/>
              <a:ext cx="76046" cy="73155"/>
            </a:xfrm>
            <a:prstGeom prst="ellipse">
              <a:avLst/>
            </a:prstGeom>
            <a:solidFill>
              <a:srgbClr val="92D05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endParaRPr>
            </a:p>
          </p:txBody>
        </p:sp>
        <p:sp>
          <p:nvSpPr>
            <p:cNvPr id="440" name="Oval 439">
              <a:extLst>
                <a:ext uri="{FF2B5EF4-FFF2-40B4-BE49-F238E27FC236}">
                  <a16:creationId xmlns:a16="http://schemas.microsoft.com/office/drawing/2014/main" id="{7A895762-56B1-4B38-A222-83E0B81FA019}"/>
                </a:ext>
              </a:extLst>
            </p:cNvPr>
            <p:cNvSpPr/>
            <p:nvPr/>
          </p:nvSpPr>
          <p:spPr>
            <a:xfrm>
              <a:off x="7304028" y="2853115"/>
              <a:ext cx="76046" cy="73155"/>
            </a:xfrm>
            <a:prstGeom prst="ellipse">
              <a:avLst/>
            </a:prstGeom>
            <a:solidFill>
              <a:srgbClr val="92D05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endParaRPr>
            </a:p>
          </p:txBody>
        </p:sp>
        <p:sp>
          <p:nvSpPr>
            <p:cNvPr id="441" name="Oval 440">
              <a:extLst>
                <a:ext uri="{FF2B5EF4-FFF2-40B4-BE49-F238E27FC236}">
                  <a16:creationId xmlns:a16="http://schemas.microsoft.com/office/drawing/2014/main" id="{259DCC73-DB9B-48D4-9A93-37B26E7F0207}"/>
                </a:ext>
              </a:extLst>
            </p:cNvPr>
            <p:cNvSpPr/>
            <p:nvPr/>
          </p:nvSpPr>
          <p:spPr>
            <a:xfrm>
              <a:off x="6887539" y="2896686"/>
              <a:ext cx="76046" cy="73155"/>
            </a:xfrm>
            <a:prstGeom prst="ellipse">
              <a:avLst/>
            </a:prstGeom>
            <a:solidFill>
              <a:srgbClr val="92D05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endParaRPr>
            </a:p>
          </p:txBody>
        </p:sp>
        <p:sp>
          <p:nvSpPr>
            <p:cNvPr id="442" name="Oval 441">
              <a:extLst>
                <a:ext uri="{FF2B5EF4-FFF2-40B4-BE49-F238E27FC236}">
                  <a16:creationId xmlns:a16="http://schemas.microsoft.com/office/drawing/2014/main" id="{25EBFC7F-5E1C-44CB-80F0-7E3B37E01B02}"/>
                </a:ext>
              </a:extLst>
            </p:cNvPr>
            <p:cNvSpPr/>
            <p:nvPr/>
          </p:nvSpPr>
          <p:spPr>
            <a:xfrm>
              <a:off x="6681835" y="2883863"/>
              <a:ext cx="76046" cy="73155"/>
            </a:xfrm>
            <a:prstGeom prst="ellipse">
              <a:avLst/>
            </a:prstGeom>
            <a:solidFill>
              <a:srgbClr val="92D05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endParaRPr>
            </a:p>
          </p:txBody>
        </p:sp>
        <p:cxnSp>
          <p:nvCxnSpPr>
            <p:cNvPr id="443" name="Straight Connector 442">
              <a:extLst>
                <a:ext uri="{FF2B5EF4-FFF2-40B4-BE49-F238E27FC236}">
                  <a16:creationId xmlns:a16="http://schemas.microsoft.com/office/drawing/2014/main" id="{949F38A5-4007-4166-A675-A41CF34B4DCA}"/>
                </a:ext>
              </a:extLst>
            </p:cNvPr>
            <p:cNvCxnSpPr/>
            <p:nvPr/>
          </p:nvCxnSpPr>
          <p:spPr>
            <a:xfrm>
              <a:off x="6681835" y="2963385"/>
              <a:ext cx="76046" cy="0"/>
            </a:xfrm>
            <a:prstGeom prst="line">
              <a:avLst/>
            </a:prstGeom>
            <a:noFill/>
            <a:ln w="19050" cap="flat" cmpd="sng" algn="ctr">
              <a:solidFill>
                <a:srgbClr val="92D050"/>
              </a:solidFill>
              <a:prstDash val="solid"/>
            </a:ln>
            <a:effectLst/>
          </p:spPr>
        </p:cxnSp>
        <p:sp>
          <p:nvSpPr>
            <p:cNvPr id="444" name="Rectangle 443">
              <a:extLst>
                <a:ext uri="{FF2B5EF4-FFF2-40B4-BE49-F238E27FC236}">
                  <a16:creationId xmlns:a16="http://schemas.microsoft.com/office/drawing/2014/main" id="{7642EF63-EBAB-4EAF-852E-CAB27EFA1D77}"/>
                </a:ext>
              </a:extLst>
            </p:cNvPr>
            <p:cNvSpPr/>
            <p:nvPr/>
          </p:nvSpPr>
          <p:spPr>
            <a:xfrm>
              <a:off x="6681835" y="2813482"/>
              <a:ext cx="76046" cy="71716"/>
            </a:xfrm>
            <a:prstGeom prst="rect">
              <a:avLst/>
            </a:prstGeom>
            <a:solidFill>
              <a:srgbClr val="7E2E78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endParaRPr>
            </a:p>
          </p:txBody>
        </p:sp>
        <p:sp>
          <p:nvSpPr>
            <p:cNvPr id="445" name="Rectangle 444">
              <a:extLst>
                <a:ext uri="{FF2B5EF4-FFF2-40B4-BE49-F238E27FC236}">
                  <a16:creationId xmlns:a16="http://schemas.microsoft.com/office/drawing/2014/main" id="{65693BB1-5081-4619-B123-05866743498F}"/>
                </a:ext>
              </a:extLst>
            </p:cNvPr>
            <p:cNvSpPr/>
            <p:nvPr/>
          </p:nvSpPr>
          <p:spPr>
            <a:xfrm>
              <a:off x="6887539" y="2740449"/>
              <a:ext cx="76046" cy="71716"/>
            </a:xfrm>
            <a:prstGeom prst="rect">
              <a:avLst/>
            </a:prstGeom>
            <a:solidFill>
              <a:srgbClr val="7E2E78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endParaRPr>
            </a:p>
          </p:txBody>
        </p:sp>
        <p:sp>
          <p:nvSpPr>
            <p:cNvPr id="446" name="Rectangle 445">
              <a:extLst>
                <a:ext uri="{FF2B5EF4-FFF2-40B4-BE49-F238E27FC236}">
                  <a16:creationId xmlns:a16="http://schemas.microsoft.com/office/drawing/2014/main" id="{FA12B8C5-5CFC-4D41-894B-04ECFC77C3CD}"/>
                </a:ext>
              </a:extLst>
            </p:cNvPr>
            <p:cNvSpPr/>
            <p:nvPr/>
          </p:nvSpPr>
          <p:spPr>
            <a:xfrm>
              <a:off x="7304028" y="2578346"/>
              <a:ext cx="76046" cy="71716"/>
            </a:xfrm>
            <a:prstGeom prst="rect">
              <a:avLst/>
            </a:prstGeom>
            <a:solidFill>
              <a:srgbClr val="7E2E78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endParaRPr>
            </a:p>
          </p:txBody>
        </p:sp>
        <p:sp>
          <p:nvSpPr>
            <p:cNvPr id="447" name="Rectangle 446">
              <a:extLst>
                <a:ext uri="{FF2B5EF4-FFF2-40B4-BE49-F238E27FC236}">
                  <a16:creationId xmlns:a16="http://schemas.microsoft.com/office/drawing/2014/main" id="{69CDD808-FA35-442C-8878-CA68F112C371}"/>
                </a:ext>
              </a:extLst>
            </p:cNvPr>
            <p:cNvSpPr/>
            <p:nvPr/>
          </p:nvSpPr>
          <p:spPr>
            <a:xfrm>
              <a:off x="7934348" y="2348725"/>
              <a:ext cx="76046" cy="71716"/>
            </a:xfrm>
            <a:prstGeom prst="rect">
              <a:avLst/>
            </a:prstGeom>
            <a:solidFill>
              <a:srgbClr val="7E2E78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endParaRPr>
            </a:p>
          </p:txBody>
        </p:sp>
        <p:cxnSp>
          <p:nvCxnSpPr>
            <p:cNvPr id="448" name="Straight Connector 447">
              <a:extLst>
                <a:ext uri="{FF2B5EF4-FFF2-40B4-BE49-F238E27FC236}">
                  <a16:creationId xmlns:a16="http://schemas.microsoft.com/office/drawing/2014/main" id="{2D0EFEB0-09F8-41C2-9A21-4DDF6C5F131D}"/>
                </a:ext>
              </a:extLst>
            </p:cNvPr>
            <p:cNvCxnSpPr/>
            <p:nvPr/>
          </p:nvCxnSpPr>
          <p:spPr>
            <a:xfrm>
              <a:off x="6887539" y="2722085"/>
              <a:ext cx="76046" cy="0"/>
            </a:xfrm>
            <a:prstGeom prst="line">
              <a:avLst/>
            </a:prstGeom>
            <a:noFill/>
            <a:ln w="19050" cap="flat" cmpd="sng" algn="ctr">
              <a:solidFill>
                <a:srgbClr val="7E2E78"/>
              </a:solidFill>
              <a:prstDash val="solid"/>
            </a:ln>
            <a:effectLst/>
          </p:spPr>
        </p:cxnSp>
        <p:cxnSp>
          <p:nvCxnSpPr>
            <p:cNvPr id="449" name="Straight Connector 448">
              <a:extLst>
                <a:ext uri="{FF2B5EF4-FFF2-40B4-BE49-F238E27FC236}">
                  <a16:creationId xmlns:a16="http://schemas.microsoft.com/office/drawing/2014/main" id="{52D7A541-18AF-4DA5-AFF6-9E208D8EA70C}"/>
                </a:ext>
              </a:extLst>
            </p:cNvPr>
            <p:cNvCxnSpPr/>
            <p:nvPr/>
          </p:nvCxnSpPr>
          <p:spPr>
            <a:xfrm>
              <a:off x="6887539" y="2827998"/>
              <a:ext cx="76046" cy="0"/>
            </a:xfrm>
            <a:prstGeom prst="line">
              <a:avLst/>
            </a:prstGeom>
            <a:noFill/>
            <a:ln w="19050" cap="flat" cmpd="sng" algn="ctr">
              <a:solidFill>
                <a:srgbClr val="7E2E78"/>
              </a:solidFill>
              <a:prstDash val="solid"/>
            </a:ln>
            <a:effectLst/>
          </p:spPr>
        </p:cxnSp>
        <p:cxnSp>
          <p:nvCxnSpPr>
            <p:cNvPr id="450" name="Straight Connector 449">
              <a:extLst>
                <a:ext uri="{FF2B5EF4-FFF2-40B4-BE49-F238E27FC236}">
                  <a16:creationId xmlns:a16="http://schemas.microsoft.com/office/drawing/2014/main" id="{DB552E84-D61B-4342-8431-D3B34D6BCD7D}"/>
                </a:ext>
              </a:extLst>
            </p:cNvPr>
            <p:cNvCxnSpPr/>
            <p:nvPr/>
          </p:nvCxnSpPr>
          <p:spPr>
            <a:xfrm flipV="1">
              <a:off x="6925563" y="2730555"/>
              <a:ext cx="0" cy="97444"/>
            </a:xfrm>
            <a:prstGeom prst="line">
              <a:avLst/>
            </a:prstGeom>
            <a:noFill/>
            <a:ln w="19050" cap="flat" cmpd="sng" algn="ctr">
              <a:solidFill>
                <a:srgbClr val="7E2E78"/>
              </a:solidFill>
              <a:prstDash val="solid"/>
            </a:ln>
            <a:effectLst/>
          </p:spPr>
        </p:cxnSp>
        <p:cxnSp>
          <p:nvCxnSpPr>
            <p:cNvPr id="452" name="Straight Connector 451">
              <a:extLst>
                <a:ext uri="{FF2B5EF4-FFF2-40B4-BE49-F238E27FC236}">
                  <a16:creationId xmlns:a16="http://schemas.microsoft.com/office/drawing/2014/main" id="{C4768299-C0FE-4A9D-B326-919112F4715B}"/>
                </a:ext>
              </a:extLst>
            </p:cNvPr>
            <p:cNvCxnSpPr/>
            <p:nvPr/>
          </p:nvCxnSpPr>
          <p:spPr>
            <a:xfrm>
              <a:off x="7304028" y="2541730"/>
              <a:ext cx="76046" cy="0"/>
            </a:xfrm>
            <a:prstGeom prst="line">
              <a:avLst/>
            </a:prstGeom>
            <a:noFill/>
            <a:ln w="19050" cap="flat" cmpd="sng" algn="ctr">
              <a:solidFill>
                <a:srgbClr val="7E2E78"/>
              </a:solidFill>
              <a:prstDash val="solid"/>
            </a:ln>
            <a:effectLst/>
          </p:spPr>
        </p:cxnSp>
        <p:cxnSp>
          <p:nvCxnSpPr>
            <p:cNvPr id="453" name="Straight Connector 452">
              <a:extLst>
                <a:ext uri="{FF2B5EF4-FFF2-40B4-BE49-F238E27FC236}">
                  <a16:creationId xmlns:a16="http://schemas.microsoft.com/office/drawing/2014/main" id="{4AE8D4F5-16C9-41A7-A698-940C50E3FCCC}"/>
                </a:ext>
              </a:extLst>
            </p:cNvPr>
            <p:cNvCxnSpPr/>
            <p:nvPr/>
          </p:nvCxnSpPr>
          <p:spPr>
            <a:xfrm>
              <a:off x="7304028" y="2696026"/>
              <a:ext cx="76046" cy="0"/>
            </a:xfrm>
            <a:prstGeom prst="line">
              <a:avLst/>
            </a:prstGeom>
            <a:noFill/>
            <a:ln w="19050" cap="flat" cmpd="sng" algn="ctr">
              <a:solidFill>
                <a:srgbClr val="7E2E78"/>
              </a:solidFill>
              <a:prstDash val="solid"/>
            </a:ln>
            <a:effectLst/>
          </p:spPr>
        </p:cxnSp>
        <p:cxnSp>
          <p:nvCxnSpPr>
            <p:cNvPr id="454" name="Straight Connector 453">
              <a:extLst>
                <a:ext uri="{FF2B5EF4-FFF2-40B4-BE49-F238E27FC236}">
                  <a16:creationId xmlns:a16="http://schemas.microsoft.com/office/drawing/2014/main" id="{C5AC38FF-382E-4532-BCF7-F73DCA01BDCA}"/>
                </a:ext>
              </a:extLst>
            </p:cNvPr>
            <p:cNvCxnSpPr/>
            <p:nvPr/>
          </p:nvCxnSpPr>
          <p:spPr>
            <a:xfrm flipV="1">
              <a:off x="7342051" y="2541730"/>
              <a:ext cx="0" cy="154297"/>
            </a:xfrm>
            <a:prstGeom prst="line">
              <a:avLst/>
            </a:prstGeom>
            <a:noFill/>
            <a:ln w="19050" cap="flat" cmpd="sng" algn="ctr">
              <a:solidFill>
                <a:srgbClr val="7E2E78"/>
              </a:solidFill>
              <a:prstDash val="solid"/>
            </a:ln>
            <a:effectLst/>
          </p:spPr>
        </p:cxnSp>
        <p:cxnSp>
          <p:nvCxnSpPr>
            <p:cNvPr id="455" name="Straight Connector 454">
              <a:extLst>
                <a:ext uri="{FF2B5EF4-FFF2-40B4-BE49-F238E27FC236}">
                  <a16:creationId xmlns:a16="http://schemas.microsoft.com/office/drawing/2014/main" id="{1621CB74-0F1A-40BC-90A3-064897371CCF}"/>
                </a:ext>
              </a:extLst>
            </p:cNvPr>
            <p:cNvCxnSpPr/>
            <p:nvPr/>
          </p:nvCxnSpPr>
          <p:spPr>
            <a:xfrm>
              <a:off x="7934348" y="2239961"/>
              <a:ext cx="76046" cy="0"/>
            </a:xfrm>
            <a:prstGeom prst="line">
              <a:avLst/>
            </a:prstGeom>
            <a:noFill/>
            <a:ln w="19050" cap="flat" cmpd="sng" algn="ctr">
              <a:solidFill>
                <a:srgbClr val="7E2E78"/>
              </a:solidFill>
              <a:prstDash val="solid"/>
            </a:ln>
            <a:effectLst/>
          </p:spPr>
        </p:cxnSp>
        <p:cxnSp>
          <p:nvCxnSpPr>
            <p:cNvPr id="456" name="Straight Connector 455">
              <a:extLst>
                <a:ext uri="{FF2B5EF4-FFF2-40B4-BE49-F238E27FC236}">
                  <a16:creationId xmlns:a16="http://schemas.microsoft.com/office/drawing/2014/main" id="{F90EDBCD-C2A8-42E6-9DEA-7CCE1FCE3716}"/>
                </a:ext>
              </a:extLst>
            </p:cNvPr>
            <p:cNvCxnSpPr/>
            <p:nvPr/>
          </p:nvCxnSpPr>
          <p:spPr>
            <a:xfrm>
              <a:off x="7934348" y="2529749"/>
              <a:ext cx="76046" cy="0"/>
            </a:xfrm>
            <a:prstGeom prst="line">
              <a:avLst/>
            </a:prstGeom>
            <a:noFill/>
            <a:ln w="19050" cap="flat" cmpd="sng" algn="ctr">
              <a:solidFill>
                <a:srgbClr val="7E2E78"/>
              </a:solidFill>
              <a:prstDash val="solid"/>
            </a:ln>
            <a:effectLst/>
          </p:spPr>
        </p:cxnSp>
        <p:cxnSp>
          <p:nvCxnSpPr>
            <p:cNvPr id="457" name="Straight Connector 456">
              <a:extLst>
                <a:ext uri="{FF2B5EF4-FFF2-40B4-BE49-F238E27FC236}">
                  <a16:creationId xmlns:a16="http://schemas.microsoft.com/office/drawing/2014/main" id="{0E331C93-EF1D-42D0-A62F-4E9C7C0A52A2}"/>
                </a:ext>
              </a:extLst>
            </p:cNvPr>
            <p:cNvCxnSpPr/>
            <p:nvPr/>
          </p:nvCxnSpPr>
          <p:spPr>
            <a:xfrm flipV="1">
              <a:off x="7972372" y="2239961"/>
              <a:ext cx="0" cy="289787"/>
            </a:xfrm>
            <a:prstGeom prst="line">
              <a:avLst/>
            </a:prstGeom>
            <a:noFill/>
            <a:ln w="19050" cap="flat" cmpd="sng" algn="ctr">
              <a:solidFill>
                <a:srgbClr val="7E2E78"/>
              </a:solidFill>
              <a:prstDash val="solid"/>
            </a:ln>
            <a:effectLst/>
          </p:spPr>
        </p:cxnSp>
        <p:sp>
          <p:nvSpPr>
            <p:cNvPr id="458" name="Freeform 51">
              <a:extLst>
                <a:ext uri="{FF2B5EF4-FFF2-40B4-BE49-F238E27FC236}">
                  <a16:creationId xmlns:a16="http://schemas.microsoft.com/office/drawing/2014/main" id="{FCAFB73F-959C-4260-BCD2-702A35E75960}"/>
                </a:ext>
              </a:extLst>
            </p:cNvPr>
            <p:cNvSpPr/>
            <p:nvPr/>
          </p:nvSpPr>
          <p:spPr>
            <a:xfrm>
              <a:off x="6706437" y="2379744"/>
              <a:ext cx="1267597" cy="464540"/>
            </a:xfrm>
            <a:custGeom>
              <a:avLst/>
              <a:gdLst>
                <a:gd name="connsiteX0" fmla="*/ 0 w 1200150"/>
                <a:gd name="connsiteY0" fmla="*/ 457200 h 457200"/>
                <a:gd name="connsiteX1" fmla="*/ 200025 w 1200150"/>
                <a:gd name="connsiteY1" fmla="*/ 385762 h 457200"/>
                <a:gd name="connsiteX2" fmla="*/ 600075 w 1200150"/>
                <a:gd name="connsiteY2" fmla="*/ 228600 h 457200"/>
                <a:gd name="connsiteX3" fmla="*/ 1200150 w 120015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0150" h="457200">
                  <a:moveTo>
                    <a:pt x="0" y="457200"/>
                  </a:moveTo>
                  <a:lnTo>
                    <a:pt x="200025" y="385762"/>
                  </a:lnTo>
                  <a:lnTo>
                    <a:pt x="600075" y="228600"/>
                  </a:lnTo>
                  <a:lnTo>
                    <a:pt x="1200150" y="0"/>
                  </a:lnTo>
                </a:path>
              </a:pathLst>
            </a:custGeom>
            <a:noFill/>
            <a:ln w="25400" cap="flat" cmpd="sng" algn="ctr">
              <a:solidFill>
                <a:srgbClr val="7E2E78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endParaRPr>
            </a:p>
          </p:txBody>
        </p:sp>
        <p:sp>
          <p:nvSpPr>
            <p:cNvPr id="522" name="Freeform 52">
              <a:extLst>
                <a:ext uri="{FF2B5EF4-FFF2-40B4-BE49-F238E27FC236}">
                  <a16:creationId xmlns:a16="http://schemas.microsoft.com/office/drawing/2014/main" id="{33F067F0-7D37-403E-80C4-4B9598D4E6A4}"/>
                </a:ext>
              </a:extLst>
            </p:cNvPr>
            <p:cNvSpPr/>
            <p:nvPr/>
          </p:nvSpPr>
          <p:spPr>
            <a:xfrm>
              <a:off x="6706437" y="2887833"/>
              <a:ext cx="1896364" cy="48390"/>
            </a:xfrm>
            <a:custGeom>
              <a:avLst/>
              <a:gdLst>
                <a:gd name="connsiteX0" fmla="*/ 0 w 1795463"/>
                <a:gd name="connsiteY0" fmla="*/ 23813 h 47625"/>
                <a:gd name="connsiteX1" fmla="*/ 209550 w 1795463"/>
                <a:gd name="connsiteY1" fmla="*/ 47625 h 47625"/>
                <a:gd name="connsiteX2" fmla="*/ 600075 w 1795463"/>
                <a:gd name="connsiteY2" fmla="*/ 0 h 47625"/>
                <a:gd name="connsiteX3" fmla="*/ 1195388 w 1795463"/>
                <a:gd name="connsiteY3" fmla="*/ 0 h 47625"/>
                <a:gd name="connsiteX4" fmla="*/ 1795463 w 1795463"/>
                <a:gd name="connsiteY4" fmla="*/ 14288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95463" h="47625">
                  <a:moveTo>
                    <a:pt x="0" y="23813"/>
                  </a:moveTo>
                  <a:lnTo>
                    <a:pt x="209550" y="47625"/>
                  </a:lnTo>
                  <a:lnTo>
                    <a:pt x="600075" y="0"/>
                  </a:lnTo>
                  <a:lnTo>
                    <a:pt x="1195388" y="0"/>
                  </a:lnTo>
                  <a:lnTo>
                    <a:pt x="1795463" y="14288"/>
                  </a:lnTo>
                </a:path>
              </a:pathLst>
            </a:custGeom>
            <a:noFill/>
            <a:ln w="28575" cap="flat" cmpd="sng" algn="ctr">
              <a:solidFill>
                <a:srgbClr val="92D05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endParaRPr>
            </a:p>
          </p:txBody>
        </p:sp>
        <p:sp>
          <p:nvSpPr>
            <p:cNvPr id="524" name="TextBox 523">
              <a:extLst>
                <a:ext uri="{FF2B5EF4-FFF2-40B4-BE49-F238E27FC236}">
                  <a16:creationId xmlns:a16="http://schemas.microsoft.com/office/drawing/2014/main" id="{E59B7802-624E-4358-B04B-09077EF9C729}"/>
                </a:ext>
              </a:extLst>
            </p:cNvPr>
            <p:cNvSpPr txBox="1"/>
            <p:nvPr/>
          </p:nvSpPr>
          <p:spPr>
            <a:xfrm>
              <a:off x="6170716" y="1945231"/>
              <a:ext cx="396262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200</a:t>
              </a:r>
            </a:p>
          </p:txBody>
        </p:sp>
        <p:sp>
          <p:nvSpPr>
            <p:cNvPr id="525" name="TextBox 524">
              <a:extLst>
                <a:ext uri="{FF2B5EF4-FFF2-40B4-BE49-F238E27FC236}">
                  <a16:creationId xmlns:a16="http://schemas.microsoft.com/office/drawing/2014/main" id="{346DD2EF-BBC2-43F3-9762-8FBCAC33631A}"/>
                </a:ext>
              </a:extLst>
            </p:cNvPr>
            <p:cNvSpPr txBox="1"/>
            <p:nvPr/>
          </p:nvSpPr>
          <p:spPr>
            <a:xfrm>
              <a:off x="6170716" y="2280239"/>
              <a:ext cx="396262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150</a:t>
              </a:r>
            </a:p>
          </p:txBody>
        </p:sp>
        <p:sp>
          <p:nvSpPr>
            <p:cNvPr id="526" name="TextBox 525">
              <a:extLst>
                <a:ext uri="{FF2B5EF4-FFF2-40B4-BE49-F238E27FC236}">
                  <a16:creationId xmlns:a16="http://schemas.microsoft.com/office/drawing/2014/main" id="{5344E865-1C42-4D2C-A8E0-AF6653EEB9ED}"/>
                </a:ext>
              </a:extLst>
            </p:cNvPr>
            <p:cNvSpPr txBox="1"/>
            <p:nvPr/>
          </p:nvSpPr>
          <p:spPr>
            <a:xfrm>
              <a:off x="6170716" y="2603431"/>
              <a:ext cx="396262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100</a:t>
              </a:r>
            </a:p>
          </p:txBody>
        </p:sp>
        <p:sp>
          <p:nvSpPr>
            <p:cNvPr id="527" name="TextBox 526">
              <a:extLst>
                <a:ext uri="{FF2B5EF4-FFF2-40B4-BE49-F238E27FC236}">
                  <a16:creationId xmlns:a16="http://schemas.microsoft.com/office/drawing/2014/main" id="{96EA8DDE-FDB6-43A2-B0EA-CB9E1BFA023F}"/>
                </a:ext>
              </a:extLst>
            </p:cNvPr>
            <p:cNvSpPr txBox="1"/>
            <p:nvPr/>
          </p:nvSpPr>
          <p:spPr>
            <a:xfrm>
              <a:off x="6241248" y="2943201"/>
              <a:ext cx="32573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50</a:t>
              </a:r>
            </a:p>
          </p:txBody>
        </p:sp>
        <p:sp>
          <p:nvSpPr>
            <p:cNvPr id="528" name="TextBox 527">
              <a:extLst>
                <a:ext uri="{FF2B5EF4-FFF2-40B4-BE49-F238E27FC236}">
                  <a16:creationId xmlns:a16="http://schemas.microsoft.com/office/drawing/2014/main" id="{112D138D-36A4-4F8D-975B-D4B32D5DDF08}"/>
                </a:ext>
              </a:extLst>
            </p:cNvPr>
            <p:cNvSpPr txBox="1"/>
            <p:nvPr/>
          </p:nvSpPr>
          <p:spPr>
            <a:xfrm>
              <a:off x="6311780" y="3273596"/>
              <a:ext cx="25519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0</a:t>
              </a:r>
            </a:p>
          </p:txBody>
        </p:sp>
        <p:sp>
          <p:nvSpPr>
            <p:cNvPr id="529" name="TextBox 528">
              <a:extLst>
                <a:ext uri="{FF2B5EF4-FFF2-40B4-BE49-F238E27FC236}">
                  <a16:creationId xmlns:a16="http://schemas.microsoft.com/office/drawing/2014/main" id="{C0F52369-BF71-4495-817D-A9D185E03416}"/>
                </a:ext>
              </a:extLst>
            </p:cNvPr>
            <p:cNvSpPr txBox="1"/>
            <p:nvPr/>
          </p:nvSpPr>
          <p:spPr>
            <a:xfrm rot="16200000">
              <a:off x="5756998" y="2556378"/>
              <a:ext cx="65274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2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мл/м</a:t>
              </a:r>
              <a:r>
                <a:rPr kumimoji="0" lang="ru" sz="1200" b="1" i="0" u="none" strike="noStrike" kern="0" cap="none" spc="0" normalizeH="0" baseline="3000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2</a:t>
              </a:r>
              <a:endPara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itchFamily="34" charset="0"/>
              </a:endParaRPr>
            </a:p>
          </p:txBody>
        </p:sp>
        <p:sp>
          <p:nvSpPr>
            <p:cNvPr id="530" name="TextBox 529">
              <a:extLst>
                <a:ext uri="{FF2B5EF4-FFF2-40B4-BE49-F238E27FC236}">
                  <a16:creationId xmlns:a16="http://schemas.microsoft.com/office/drawing/2014/main" id="{197AED10-9D85-4A3A-B6C5-060B35D37811}"/>
                </a:ext>
              </a:extLst>
            </p:cNvPr>
            <p:cNvSpPr txBox="1"/>
            <p:nvPr/>
          </p:nvSpPr>
          <p:spPr>
            <a:xfrm>
              <a:off x="6614346" y="3412889"/>
              <a:ext cx="26962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B</a:t>
              </a:r>
            </a:p>
          </p:txBody>
        </p:sp>
        <p:sp>
          <p:nvSpPr>
            <p:cNvPr id="531" name="TextBox 530">
              <a:extLst>
                <a:ext uri="{FF2B5EF4-FFF2-40B4-BE49-F238E27FC236}">
                  <a16:creationId xmlns:a16="http://schemas.microsoft.com/office/drawing/2014/main" id="{16C9C5E5-4E46-4F3B-8E35-A022F0ECCA2F}"/>
                </a:ext>
              </a:extLst>
            </p:cNvPr>
            <p:cNvSpPr txBox="1"/>
            <p:nvPr/>
          </p:nvSpPr>
          <p:spPr>
            <a:xfrm>
              <a:off x="6755551" y="3414374"/>
              <a:ext cx="36099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1,5</a:t>
              </a:r>
            </a:p>
          </p:txBody>
        </p:sp>
        <p:sp>
          <p:nvSpPr>
            <p:cNvPr id="532" name="TextBox 531">
              <a:extLst>
                <a:ext uri="{FF2B5EF4-FFF2-40B4-BE49-F238E27FC236}">
                  <a16:creationId xmlns:a16="http://schemas.microsoft.com/office/drawing/2014/main" id="{3D4EB3B2-F7B6-47B8-B3AD-1D6496134C19}"/>
                </a:ext>
              </a:extLst>
            </p:cNvPr>
            <p:cNvSpPr txBox="1"/>
            <p:nvPr/>
          </p:nvSpPr>
          <p:spPr>
            <a:xfrm>
              <a:off x="7161554" y="3414373"/>
              <a:ext cx="36099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3,5</a:t>
              </a:r>
            </a:p>
          </p:txBody>
        </p:sp>
        <p:sp>
          <p:nvSpPr>
            <p:cNvPr id="533" name="TextBox 532">
              <a:extLst>
                <a:ext uri="{FF2B5EF4-FFF2-40B4-BE49-F238E27FC236}">
                  <a16:creationId xmlns:a16="http://schemas.microsoft.com/office/drawing/2014/main" id="{396B8711-7D2B-4840-9CCC-4DC8FD7B6F22}"/>
                </a:ext>
              </a:extLst>
            </p:cNvPr>
            <p:cNvSpPr txBox="1"/>
            <p:nvPr/>
          </p:nvSpPr>
          <p:spPr>
            <a:xfrm>
              <a:off x="7791874" y="3414373"/>
              <a:ext cx="36099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6,5</a:t>
              </a:r>
            </a:p>
          </p:txBody>
        </p:sp>
        <p:sp>
          <p:nvSpPr>
            <p:cNvPr id="534" name="TextBox 533">
              <a:extLst>
                <a:ext uri="{FF2B5EF4-FFF2-40B4-BE49-F238E27FC236}">
                  <a16:creationId xmlns:a16="http://schemas.microsoft.com/office/drawing/2014/main" id="{E3D17BC7-8D7B-4426-8308-3A5DA6617346}"/>
                </a:ext>
              </a:extLst>
            </p:cNvPr>
            <p:cNvSpPr txBox="1"/>
            <p:nvPr/>
          </p:nvSpPr>
          <p:spPr>
            <a:xfrm>
              <a:off x="8438817" y="3414373"/>
              <a:ext cx="325731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10</a:t>
              </a:r>
            </a:p>
          </p:txBody>
        </p:sp>
        <p:sp>
          <p:nvSpPr>
            <p:cNvPr id="535" name="TextBox 534">
              <a:extLst>
                <a:ext uri="{FF2B5EF4-FFF2-40B4-BE49-F238E27FC236}">
                  <a16:creationId xmlns:a16="http://schemas.microsoft.com/office/drawing/2014/main" id="{CD4B8F3F-7B6E-47F2-ADCA-948822DF7AE4}"/>
                </a:ext>
              </a:extLst>
            </p:cNvPr>
            <p:cNvSpPr txBox="1"/>
            <p:nvPr/>
          </p:nvSpPr>
          <p:spPr>
            <a:xfrm>
              <a:off x="6822786" y="2517947"/>
              <a:ext cx="25657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*</a:t>
              </a:r>
            </a:p>
          </p:txBody>
        </p:sp>
        <p:sp>
          <p:nvSpPr>
            <p:cNvPr id="536" name="TextBox 535">
              <a:extLst>
                <a:ext uri="{FF2B5EF4-FFF2-40B4-BE49-F238E27FC236}">
                  <a16:creationId xmlns:a16="http://schemas.microsoft.com/office/drawing/2014/main" id="{B50EE70A-6C13-44D6-85BB-FEE73CED038C}"/>
                </a:ext>
              </a:extLst>
            </p:cNvPr>
            <p:cNvSpPr txBox="1"/>
            <p:nvPr/>
          </p:nvSpPr>
          <p:spPr>
            <a:xfrm>
              <a:off x="7236054" y="2341532"/>
              <a:ext cx="25657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*</a:t>
              </a:r>
            </a:p>
          </p:txBody>
        </p:sp>
        <p:sp>
          <p:nvSpPr>
            <p:cNvPr id="537" name="TextBox 536">
              <a:extLst>
                <a:ext uri="{FF2B5EF4-FFF2-40B4-BE49-F238E27FC236}">
                  <a16:creationId xmlns:a16="http://schemas.microsoft.com/office/drawing/2014/main" id="{0D1E1A15-32B5-4583-809F-51628640188B}"/>
                </a:ext>
              </a:extLst>
            </p:cNvPr>
            <p:cNvSpPr txBox="1"/>
            <p:nvPr/>
          </p:nvSpPr>
          <p:spPr>
            <a:xfrm>
              <a:off x="7821075" y="2080026"/>
              <a:ext cx="80396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***</a:t>
              </a:r>
            </a:p>
          </p:txBody>
        </p:sp>
        <p:sp>
          <p:nvSpPr>
            <p:cNvPr id="538" name="Freeform 51">
              <a:extLst>
                <a:ext uri="{FF2B5EF4-FFF2-40B4-BE49-F238E27FC236}">
                  <a16:creationId xmlns:a16="http://schemas.microsoft.com/office/drawing/2014/main" id="{FE63BFD5-F6A3-4993-801F-E8240EAB55BE}"/>
                </a:ext>
              </a:extLst>
            </p:cNvPr>
            <p:cNvSpPr/>
            <p:nvPr/>
          </p:nvSpPr>
          <p:spPr>
            <a:xfrm>
              <a:off x="6704774" y="2380812"/>
              <a:ext cx="1267597" cy="464540"/>
            </a:xfrm>
            <a:custGeom>
              <a:avLst/>
              <a:gdLst>
                <a:gd name="connsiteX0" fmla="*/ 0 w 1200150"/>
                <a:gd name="connsiteY0" fmla="*/ 457200 h 457200"/>
                <a:gd name="connsiteX1" fmla="*/ 200025 w 1200150"/>
                <a:gd name="connsiteY1" fmla="*/ 385762 h 457200"/>
                <a:gd name="connsiteX2" fmla="*/ 600075 w 1200150"/>
                <a:gd name="connsiteY2" fmla="*/ 228600 h 457200"/>
                <a:gd name="connsiteX3" fmla="*/ 1200150 w 120015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0150" h="457200">
                  <a:moveTo>
                    <a:pt x="0" y="457200"/>
                  </a:moveTo>
                  <a:lnTo>
                    <a:pt x="200025" y="385762"/>
                  </a:lnTo>
                  <a:lnTo>
                    <a:pt x="600075" y="228600"/>
                  </a:lnTo>
                  <a:lnTo>
                    <a:pt x="1200150" y="0"/>
                  </a:lnTo>
                </a:path>
              </a:pathLst>
            </a:custGeom>
            <a:noFill/>
            <a:ln w="28575" cap="flat" cmpd="sng" algn="ctr">
              <a:solidFill>
                <a:srgbClr val="7E2E78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endParaRPr>
            </a:p>
          </p:txBody>
        </p:sp>
        <p:sp>
          <p:nvSpPr>
            <p:cNvPr id="539" name="TextBox 538">
              <a:extLst>
                <a:ext uri="{FF2B5EF4-FFF2-40B4-BE49-F238E27FC236}">
                  <a16:creationId xmlns:a16="http://schemas.microsoft.com/office/drawing/2014/main" id="{F676C2F0-3CD1-4DE8-9A5A-D67E9DF05CE5}"/>
                </a:ext>
              </a:extLst>
            </p:cNvPr>
            <p:cNvSpPr txBox="1"/>
            <p:nvPr/>
          </p:nvSpPr>
          <p:spPr>
            <a:xfrm>
              <a:off x="6795552" y="3635586"/>
              <a:ext cx="176864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Продолжительность наблюдения (годы)</a:t>
              </a:r>
            </a:p>
          </p:txBody>
        </p:sp>
      </p:grpSp>
      <p:grpSp>
        <p:nvGrpSpPr>
          <p:cNvPr id="540" name="Group 539">
            <a:extLst>
              <a:ext uri="{FF2B5EF4-FFF2-40B4-BE49-F238E27FC236}">
                <a16:creationId xmlns:a16="http://schemas.microsoft.com/office/drawing/2014/main" id="{FF5379C1-7464-43DC-83B9-5FFFB102EA9B}"/>
              </a:ext>
            </a:extLst>
          </p:cNvPr>
          <p:cNvGrpSpPr/>
          <p:nvPr/>
        </p:nvGrpSpPr>
        <p:grpSpPr>
          <a:xfrm>
            <a:off x="9067116" y="2418606"/>
            <a:ext cx="2788277" cy="2152020"/>
            <a:chOff x="8962943" y="1945231"/>
            <a:chExt cx="2788277" cy="2152020"/>
          </a:xfrm>
        </p:grpSpPr>
        <p:sp>
          <p:nvSpPr>
            <p:cNvPr id="541" name="TextBox 540">
              <a:extLst>
                <a:ext uri="{FF2B5EF4-FFF2-40B4-BE49-F238E27FC236}">
                  <a16:creationId xmlns:a16="http://schemas.microsoft.com/office/drawing/2014/main" id="{11EA4885-9D88-4A3D-9644-C0854257D3E3}"/>
                </a:ext>
              </a:extLst>
            </p:cNvPr>
            <p:cNvSpPr txBox="1"/>
            <p:nvPr/>
          </p:nvSpPr>
          <p:spPr>
            <a:xfrm rot="16200000">
              <a:off x="8942842" y="2641739"/>
              <a:ext cx="31720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2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%</a:t>
              </a:r>
            </a:p>
          </p:txBody>
        </p:sp>
        <p:cxnSp>
          <p:nvCxnSpPr>
            <p:cNvPr id="542" name="Straight Connector 541">
              <a:extLst>
                <a:ext uri="{FF2B5EF4-FFF2-40B4-BE49-F238E27FC236}">
                  <a16:creationId xmlns:a16="http://schemas.microsoft.com/office/drawing/2014/main" id="{44726E63-6392-4416-B43A-C3EBA0A5A6CD}"/>
                </a:ext>
              </a:extLst>
            </p:cNvPr>
            <p:cNvCxnSpPr/>
            <p:nvPr/>
          </p:nvCxnSpPr>
          <p:spPr>
            <a:xfrm>
              <a:off x="9548998" y="2120092"/>
              <a:ext cx="0" cy="1324495"/>
            </a:xfrm>
            <a:prstGeom prst="line">
              <a:avLst/>
            </a:prstGeom>
            <a:noFill/>
            <a:ln w="19050" cap="flat" cmpd="sng" algn="ctr">
              <a:solidFill>
                <a:srgbClr val="212121"/>
              </a:solidFill>
              <a:prstDash val="solid"/>
            </a:ln>
            <a:effectLst/>
          </p:spPr>
        </p:cxnSp>
        <p:cxnSp>
          <p:nvCxnSpPr>
            <p:cNvPr id="543" name="Straight Connector 542">
              <a:extLst>
                <a:ext uri="{FF2B5EF4-FFF2-40B4-BE49-F238E27FC236}">
                  <a16:creationId xmlns:a16="http://schemas.microsoft.com/office/drawing/2014/main" id="{A6025E31-5D32-4CD3-8513-7FE91E41F614}"/>
                </a:ext>
              </a:extLst>
            </p:cNvPr>
            <p:cNvCxnSpPr/>
            <p:nvPr/>
          </p:nvCxnSpPr>
          <p:spPr>
            <a:xfrm flipH="1">
              <a:off x="9555849" y="3442358"/>
              <a:ext cx="2158331" cy="0"/>
            </a:xfrm>
            <a:prstGeom prst="line">
              <a:avLst/>
            </a:prstGeom>
            <a:noFill/>
            <a:ln w="19050" cap="flat" cmpd="sng" algn="ctr">
              <a:solidFill>
                <a:srgbClr val="212121"/>
              </a:solidFill>
              <a:prstDash val="solid"/>
            </a:ln>
            <a:effectLst/>
          </p:spPr>
        </p:cxnSp>
        <p:cxnSp>
          <p:nvCxnSpPr>
            <p:cNvPr id="544" name="Straight Connector 543">
              <a:extLst>
                <a:ext uri="{FF2B5EF4-FFF2-40B4-BE49-F238E27FC236}">
                  <a16:creationId xmlns:a16="http://schemas.microsoft.com/office/drawing/2014/main" id="{AF53680F-736C-46CF-8DF4-88DA0FA4FC54}"/>
                </a:ext>
              </a:extLst>
            </p:cNvPr>
            <p:cNvCxnSpPr/>
            <p:nvPr/>
          </p:nvCxnSpPr>
          <p:spPr>
            <a:xfrm>
              <a:off x="9490748" y="2119055"/>
              <a:ext cx="58250" cy="0"/>
            </a:xfrm>
            <a:prstGeom prst="line">
              <a:avLst/>
            </a:prstGeom>
            <a:noFill/>
            <a:ln w="19050" cap="flat" cmpd="sng" algn="ctr">
              <a:solidFill>
                <a:srgbClr val="212121"/>
              </a:solidFill>
              <a:prstDash val="solid"/>
            </a:ln>
            <a:effectLst/>
          </p:spPr>
        </p:cxnSp>
        <p:cxnSp>
          <p:nvCxnSpPr>
            <p:cNvPr id="545" name="Straight Connector 544">
              <a:extLst>
                <a:ext uri="{FF2B5EF4-FFF2-40B4-BE49-F238E27FC236}">
                  <a16:creationId xmlns:a16="http://schemas.microsoft.com/office/drawing/2014/main" id="{CA7BC6F1-352B-4830-83F2-AE411690EF03}"/>
                </a:ext>
              </a:extLst>
            </p:cNvPr>
            <p:cNvCxnSpPr/>
            <p:nvPr/>
          </p:nvCxnSpPr>
          <p:spPr>
            <a:xfrm>
              <a:off x="9490748" y="2387604"/>
              <a:ext cx="58250" cy="0"/>
            </a:xfrm>
            <a:prstGeom prst="line">
              <a:avLst/>
            </a:prstGeom>
            <a:noFill/>
            <a:ln w="19050" cap="flat" cmpd="sng" algn="ctr">
              <a:solidFill>
                <a:srgbClr val="212121"/>
              </a:solidFill>
              <a:prstDash val="solid"/>
            </a:ln>
            <a:effectLst/>
          </p:spPr>
        </p:cxnSp>
        <p:cxnSp>
          <p:nvCxnSpPr>
            <p:cNvPr id="546" name="Straight Connector 545">
              <a:extLst>
                <a:ext uri="{FF2B5EF4-FFF2-40B4-BE49-F238E27FC236}">
                  <a16:creationId xmlns:a16="http://schemas.microsoft.com/office/drawing/2014/main" id="{C3AE3DCC-C637-4670-929A-37A41A7D75B2}"/>
                </a:ext>
              </a:extLst>
            </p:cNvPr>
            <p:cNvCxnSpPr/>
            <p:nvPr/>
          </p:nvCxnSpPr>
          <p:spPr>
            <a:xfrm>
              <a:off x="9490748" y="2915147"/>
              <a:ext cx="58250" cy="0"/>
            </a:xfrm>
            <a:prstGeom prst="line">
              <a:avLst/>
            </a:prstGeom>
            <a:noFill/>
            <a:ln w="19050" cap="flat" cmpd="sng" algn="ctr">
              <a:solidFill>
                <a:srgbClr val="212121"/>
              </a:solidFill>
              <a:prstDash val="solid"/>
            </a:ln>
            <a:effectLst/>
          </p:spPr>
        </p:cxnSp>
        <p:cxnSp>
          <p:nvCxnSpPr>
            <p:cNvPr id="547" name="Straight Connector 546">
              <a:extLst>
                <a:ext uri="{FF2B5EF4-FFF2-40B4-BE49-F238E27FC236}">
                  <a16:creationId xmlns:a16="http://schemas.microsoft.com/office/drawing/2014/main" id="{77DFF160-3256-4CD0-AA4F-E69C7C94A55F}"/>
                </a:ext>
              </a:extLst>
            </p:cNvPr>
            <p:cNvCxnSpPr/>
            <p:nvPr/>
          </p:nvCxnSpPr>
          <p:spPr>
            <a:xfrm>
              <a:off x="9490748" y="3177201"/>
              <a:ext cx="58250" cy="0"/>
            </a:xfrm>
            <a:prstGeom prst="line">
              <a:avLst/>
            </a:prstGeom>
            <a:noFill/>
            <a:ln w="19050" cap="flat" cmpd="sng" algn="ctr">
              <a:solidFill>
                <a:srgbClr val="212121"/>
              </a:solidFill>
              <a:prstDash val="solid"/>
            </a:ln>
            <a:effectLst/>
          </p:spPr>
        </p:cxnSp>
        <p:cxnSp>
          <p:nvCxnSpPr>
            <p:cNvPr id="548" name="Straight Connector 547">
              <a:extLst>
                <a:ext uri="{FF2B5EF4-FFF2-40B4-BE49-F238E27FC236}">
                  <a16:creationId xmlns:a16="http://schemas.microsoft.com/office/drawing/2014/main" id="{E1D18736-1511-453A-BDE4-50683BB9DCC2}"/>
                </a:ext>
              </a:extLst>
            </p:cNvPr>
            <p:cNvCxnSpPr/>
            <p:nvPr/>
          </p:nvCxnSpPr>
          <p:spPr>
            <a:xfrm>
              <a:off x="9501023" y="3442358"/>
              <a:ext cx="58250" cy="0"/>
            </a:xfrm>
            <a:prstGeom prst="line">
              <a:avLst/>
            </a:prstGeom>
            <a:noFill/>
            <a:ln w="19050" cap="flat" cmpd="sng" algn="ctr">
              <a:solidFill>
                <a:srgbClr val="212121"/>
              </a:solidFill>
              <a:prstDash val="solid"/>
            </a:ln>
            <a:effectLst/>
          </p:spPr>
        </p:cxnSp>
        <p:cxnSp>
          <p:nvCxnSpPr>
            <p:cNvPr id="549" name="Straight Connector 548">
              <a:extLst>
                <a:ext uri="{FF2B5EF4-FFF2-40B4-BE49-F238E27FC236}">
                  <a16:creationId xmlns:a16="http://schemas.microsoft.com/office/drawing/2014/main" id="{0AC44B0D-A359-414A-947D-2DB40FCB9ABD}"/>
                </a:ext>
              </a:extLst>
            </p:cNvPr>
            <p:cNvCxnSpPr/>
            <p:nvPr/>
          </p:nvCxnSpPr>
          <p:spPr>
            <a:xfrm rot="5400000">
              <a:off x="9630756" y="3469303"/>
              <a:ext cx="53892" cy="0"/>
            </a:xfrm>
            <a:prstGeom prst="line">
              <a:avLst/>
            </a:prstGeom>
            <a:noFill/>
            <a:ln w="19050" cap="flat" cmpd="sng" algn="ctr">
              <a:solidFill>
                <a:srgbClr val="212121"/>
              </a:solidFill>
              <a:prstDash val="solid"/>
            </a:ln>
            <a:effectLst/>
          </p:spPr>
        </p:cxnSp>
        <p:cxnSp>
          <p:nvCxnSpPr>
            <p:cNvPr id="550" name="Straight Connector 549">
              <a:extLst>
                <a:ext uri="{FF2B5EF4-FFF2-40B4-BE49-F238E27FC236}">
                  <a16:creationId xmlns:a16="http://schemas.microsoft.com/office/drawing/2014/main" id="{68280206-8079-4C64-B981-F9666D5F3A92}"/>
                </a:ext>
              </a:extLst>
            </p:cNvPr>
            <p:cNvCxnSpPr/>
            <p:nvPr/>
          </p:nvCxnSpPr>
          <p:spPr>
            <a:xfrm rot="5400000">
              <a:off x="9841799" y="3469303"/>
              <a:ext cx="53892" cy="0"/>
            </a:xfrm>
            <a:prstGeom prst="line">
              <a:avLst/>
            </a:prstGeom>
            <a:noFill/>
            <a:ln w="19050" cap="flat" cmpd="sng" algn="ctr">
              <a:solidFill>
                <a:srgbClr val="212121"/>
              </a:solidFill>
              <a:prstDash val="solid"/>
            </a:ln>
            <a:effectLst/>
          </p:spPr>
        </p:cxnSp>
        <p:cxnSp>
          <p:nvCxnSpPr>
            <p:cNvPr id="551" name="Straight Connector 550">
              <a:extLst>
                <a:ext uri="{FF2B5EF4-FFF2-40B4-BE49-F238E27FC236}">
                  <a16:creationId xmlns:a16="http://schemas.microsoft.com/office/drawing/2014/main" id="{A5556DAF-AAC7-41F0-952A-278D54A7A800}"/>
                </a:ext>
              </a:extLst>
            </p:cNvPr>
            <p:cNvCxnSpPr/>
            <p:nvPr/>
          </p:nvCxnSpPr>
          <p:spPr>
            <a:xfrm rot="5400000">
              <a:off x="10269094" y="3469303"/>
              <a:ext cx="53892" cy="0"/>
            </a:xfrm>
            <a:prstGeom prst="line">
              <a:avLst/>
            </a:prstGeom>
            <a:noFill/>
            <a:ln w="19050" cap="flat" cmpd="sng" algn="ctr">
              <a:solidFill>
                <a:srgbClr val="212121"/>
              </a:solidFill>
              <a:prstDash val="solid"/>
            </a:ln>
            <a:effectLst/>
          </p:spPr>
        </p:cxnSp>
        <p:cxnSp>
          <p:nvCxnSpPr>
            <p:cNvPr id="552" name="Straight Connector 551">
              <a:extLst>
                <a:ext uri="{FF2B5EF4-FFF2-40B4-BE49-F238E27FC236}">
                  <a16:creationId xmlns:a16="http://schemas.microsoft.com/office/drawing/2014/main" id="{E79BA138-AE17-42A9-97DD-431733B35703}"/>
                </a:ext>
              </a:extLst>
            </p:cNvPr>
            <p:cNvCxnSpPr/>
            <p:nvPr/>
          </p:nvCxnSpPr>
          <p:spPr>
            <a:xfrm rot="5400000">
              <a:off x="10915766" y="3469303"/>
              <a:ext cx="53892" cy="0"/>
            </a:xfrm>
            <a:prstGeom prst="line">
              <a:avLst/>
            </a:prstGeom>
            <a:noFill/>
            <a:ln w="19050" cap="flat" cmpd="sng" algn="ctr">
              <a:solidFill>
                <a:srgbClr val="212121"/>
              </a:solidFill>
              <a:prstDash val="solid"/>
            </a:ln>
            <a:effectLst/>
          </p:spPr>
        </p:cxnSp>
        <p:cxnSp>
          <p:nvCxnSpPr>
            <p:cNvPr id="553" name="Straight Connector 552">
              <a:extLst>
                <a:ext uri="{FF2B5EF4-FFF2-40B4-BE49-F238E27FC236}">
                  <a16:creationId xmlns:a16="http://schemas.microsoft.com/office/drawing/2014/main" id="{42DDD25D-D67F-47DF-BB50-DA4F520C5F43}"/>
                </a:ext>
              </a:extLst>
            </p:cNvPr>
            <p:cNvCxnSpPr/>
            <p:nvPr/>
          </p:nvCxnSpPr>
          <p:spPr>
            <a:xfrm rot="5400000">
              <a:off x="11566663" y="3469303"/>
              <a:ext cx="53892" cy="0"/>
            </a:xfrm>
            <a:prstGeom prst="line">
              <a:avLst/>
            </a:prstGeom>
            <a:noFill/>
            <a:ln w="19050" cap="flat" cmpd="sng" algn="ctr">
              <a:solidFill>
                <a:srgbClr val="212121"/>
              </a:solidFill>
              <a:prstDash val="solid"/>
            </a:ln>
            <a:effectLst/>
          </p:spPr>
        </p:cxnSp>
        <p:cxnSp>
          <p:nvCxnSpPr>
            <p:cNvPr id="554" name="Straight Connector 553">
              <a:extLst>
                <a:ext uri="{FF2B5EF4-FFF2-40B4-BE49-F238E27FC236}">
                  <a16:creationId xmlns:a16="http://schemas.microsoft.com/office/drawing/2014/main" id="{1E2DFB5B-40C0-49BF-B86E-06AABCBDF211}"/>
                </a:ext>
              </a:extLst>
            </p:cNvPr>
            <p:cNvCxnSpPr/>
            <p:nvPr/>
          </p:nvCxnSpPr>
          <p:spPr>
            <a:xfrm>
              <a:off x="9490748" y="2651392"/>
              <a:ext cx="58250" cy="0"/>
            </a:xfrm>
            <a:prstGeom prst="line">
              <a:avLst/>
            </a:prstGeom>
            <a:noFill/>
            <a:ln w="19050" cap="flat" cmpd="sng" algn="ctr">
              <a:solidFill>
                <a:srgbClr val="212121"/>
              </a:solidFill>
              <a:prstDash val="solid"/>
            </a:ln>
            <a:effectLst/>
          </p:spPr>
        </p:cxnSp>
        <p:sp>
          <p:nvSpPr>
            <p:cNvPr id="555" name="Rectangle 554">
              <a:extLst>
                <a:ext uri="{FF2B5EF4-FFF2-40B4-BE49-F238E27FC236}">
                  <a16:creationId xmlns:a16="http://schemas.microsoft.com/office/drawing/2014/main" id="{0C4982B1-FFDB-4113-8508-0B7D88274EE4}"/>
                </a:ext>
              </a:extLst>
            </p:cNvPr>
            <p:cNvSpPr/>
            <p:nvPr/>
          </p:nvSpPr>
          <p:spPr>
            <a:xfrm>
              <a:off x="9618869" y="2674022"/>
              <a:ext cx="77666" cy="70441"/>
            </a:xfrm>
            <a:prstGeom prst="rect">
              <a:avLst/>
            </a:prstGeom>
            <a:solidFill>
              <a:srgbClr val="7E2E78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endParaRPr>
            </a:p>
          </p:txBody>
        </p:sp>
        <p:sp>
          <p:nvSpPr>
            <p:cNvPr id="556" name="Rectangle 555">
              <a:extLst>
                <a:ext uri="{FF2B5EF4-FFF2-40B4-BE49-F238E27FC236}">
                  <a16:creationId xmlns:a16="http://schemas.microsoft.com/office/drawing/2014/main" id="{76007702-9266-459B-BF05-DC6D5027D937}"/>
                </a:ext>
              </a:extLst>
            </p:cNvPr>
            <p:cNvSpPr/>
            <p:nvPr/>
          </p:nvSpPr>
          <p:spPr>
            <a:xfrm>
              <a:off x="9829912" y="2712411"/>
              <a:ext cx="77666" cy="70441"/>
            </a:xfrm>
            <a:prstGeom prst="rect">
              <a:avLst/>
            </a:prstGeom>
            <a:solidFill>
              <a:srgbClr val="7E2E78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endParaRPr>
            </a:p>
          </p:txBody>
        </p:sp>
        <p:sp>
          <p:nvSpPr>
            <p:cNvPr id="557" name="Rectangle 556">
              <a:extLst>
                <a:ext uri="{FF2B5EF4-FFF2-40B4-BE49-F238E27FC236}">
                  <a16:creationId xmlns:a16="http://schemas.microsoft.com/office/drawing/2014/main" id="{0858EB86-0B42-4257-B05A-83776AFD17A9}"/>
                </a:ext>
              </a:extLst>
            </p:cNvPr>
            <p:cNvSpPr/>
            <p:nvPr/>
          </p:nvSpPr>
          <p:spPr>
            <a:xfrm>
              <a:off x="10257206" y="2709242"/>
              <a:ext cx="77666" cy="70441"/>
            </a:xfrm>
            <a:prstGeom prst="rect">
              <a:avLst/>
            </a:prstGeom>
            <a:solidFill>
              <a:srgbClr val="7E2E78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endParaRPr>
            </a:p>
          </p:txBody>
        </p:sp>
        <p:sp>
          <p:nvSpPr>
            <p:cNvPr id="558" name="Rectangle 557">
              <a:extLst>
                <a:ext uri="{FF2B5EF4-FFF2-40B4-BE49-F238E27FC236}">
                  <a16:creationId xmlns:a16="http://schemas.microsoft.com/office/drawing/2014/main" id="{49C7FDB8-06E1-45AA-901C-5C7D7F3D7A9A}"/>
                </a:ext>
              </a:extLst>
            </p:cNvPr>
            <p:cNvSpPr/>
            <p:nvPr/>
          </p:nvSpPr>
          <p:spPr>
            <a:xfrm>
              <a:off x="10903880" y="2914819"/>
              <a:ext cx="77666" cy="70441"/>
            </a:xfrm>
            <a:prstGeom prst="rect">
              <a:avLst/>
            </a:prstGeom>
            <a:solidFill>
              <a:srgbClr val="7E2E78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endParaRPr>
            </a:p>
          </p:txBody>
        </p:sp>
        <p:cxnSp>
          <p:nvCxnSpPr>
            <p:cNvPr id="559" name="Straight Connector 558">
              <a:extLst>
                <a:ext uri="{FF2B5EF4-FFF2-40B4-BE49-F238E27FC236}">
                  <a16:creationId xmlns:a16="http://schemas.microsoft.com/office/drawing/2014/main" id="{47AA7E41-0AD8-49F8-9E73-EF53C11A53C6}"/>
                </a:ext>
              </a:extLst>
            </p:cNvPr>
            <p:cNvCxnSpPr/>
            <p:nvPr/>
          </p:nvCxnSpPr>
          <p:spPr>
            <a:xfrm>
              <a:off x="9618869" y="2646741"/>
              <a:ext cx="77666" cy="0"/>
            </a:xfrm>
            <a:prstGeom prst="line">
              <a:avLst/>
            </a:prstGeom>
            <a:noFill/>
            <a:ln w="19050" cap="flat" cmpd="sng" algn="ctr">
              <a:solidFill>
                <a:srgbClr val="7E2E78"/>
              </a:solidFill>
              <a:prstDash val="solid"/>
            </a:ln>
            <a:effectLst/>
          </p:spPr>
        </p:cxnSp>
        <p:cxnSp>
          <p:nvCxnSpPr>
            <p:cNvPr id="560" name="Straight Connector 559">
              <a:extLst>
                <a:ext uri="{FF2B5EF4-FFF2-40B4-BE49-F238E27FC236}">
                  <a16:creationId xmlns:a16="http://schemas.microsoft.com/office/drawing/2014/main" id="{AAA145A6-8CE7-4EC5-80E1-575BF15ABA89}"/>
                </a:ext>
              </a:extLst>
            </p:cNvPr>
            <p:cNvCxnSpPr/>
            <p:nvPr/>
          </p:nvCxnSpPr>
          <p:spPr>
            <a:xfrm>
              <a:off x="9618869" y="2776910"/>
              <a:ext cx="77666" cy="0"/>
            </a:xfrm>
            <a:prstGeom prst="line">
              <a:avLst/>
            </a:prstGeom>
            <a:noFill/>
            <a:ln w="19050" cap="flat" cmpd="sng" algn="ctr">
              <a:solidFill>
                <a:srgbClr val="7E2E78"/>
              </a:solidFill>
              <a:prstDash val="solid"/>
            </a:ln>
            <a:effectLst/>
          </p:spPr>
        </p:cxnSp>
        <p:cxnSp>
          <p:nvCxnSpPr>
            <p:cNvPr id="561" name="Straight Connector 560">
              <a:extLst>
                <a:ext uri="{FF2B5EF4-FFF2-40B4-BE49-F238E27FC236}">
                  <a16:creationId xmlns:a16="http://schemas.microsoft.com/office/drawing/2014/main" id="{C7328DD6-6F6B-4686-9B32-22CBC7A3FA18}"/>
                </a:ext>
              </a:extLst>
            </p:cNvPr>
            <p:cNvCxnSpPr/>
            <p:nvPr/>
          </p:nvCxnSpPr>
          <p:spPr>
            <a:xfrm flipV="1">
              <a:off x="9657701" y="2655060"/>
              <a:ext cx="0" cy="124625"/>
            </a:xfrm>
            <a:prstGeom prst="line">
              <a:avLst/>
            </a:prstGeom>
            <a:noFill/>
            <a:ln w="19050" cap="flat" cmpd="sng" algn="ctr">
              <a:solidFill>
                <a:srgbClr val="7E2E78"/>
              </a:solidFill>
              <a:prstDash val="solid"/>
            </a:ln>
            <a:effectLst/>
          </p:spPr>
        </p:cxnSp>
        <p:cxnSp>
          <p:nvCxnSpPr>
            <p:cNvPr id="562" name="Straight Connector 561">
              <a:extLst>
                <a:ext uri="{FF2B5EF4-FFF2-40B4-BE49-F238E27FC236}">
                  <a16:creationId xmlns:a16="http://schemas.microsoft.com/office/drawing/2014/main" id="{2F55D63F-1729-40F5-9593-D8353F0198B2}"/>
                </a:ext>
              </a:extLst>
            </p:cNvPr>
            <p:cNvCxnSpPr/>
            <p:nvPr/>
          </p:nvCxnSpPr>
          <p:spPr>
            <a:xfrm>
              <a:off x="9829912" y="2670645"/>
              <a:ext cx="77666" cy="0"/>
            </a:xfrm>
            <a:prstGeom prst="line">
              <a:avLst/>
            </a:prstGeom>
            <a:noFill/>
            <a:ln w="19050" cap="flat" cmpd="sng" algn="ctr">
              <a:solidFill>
                <a:srgbClr val="7E2E78"/>
              </a:solidFill>
              <a:prstDash val="solid"/>
            </a:ln>
            <a:effectLst/>
          </p:spPr>
        </p:cxnSp>
        <p:cxnSp>
          <p:nvCxnSpPr>
            <p:cNvPr id="563" name="Straight Connector 562">
              <a:extLst>
                <a:ext uri="{FF2B5EF4-FFF2-40B4-BE49-F238E27FC236}">
                  <a16:creationId xmlns:a16="http://schemas.microsoft.com/office/drawing/2014/main" id="{E11AC4EA-743F-41F0-B356-4E11F1BC1F66}"/>
                </a:ext>
              </a:extLst>
            </p:cNvPr>
            <p:cNvCxnSpPr/>
            <p:nvPr/>
          </p:nvCxnSpPr>
          <p:spPr>
            <a:xfrm>
              <a:off x="9829912" y="2824576"/>
              <a:ext cx="77666" cy="0"/>
            </a:xfrm>
            <a:prstGeom prst="line">
              <a:avLst/>
            </a:prstGeom>
            <a:noFill/>
            <a:ln w="19050" cap="flat" cmpd="sng" algn="ctr">
              <a:solidFill>
                <a:srgbClr val="7E2E78"/>
              </a:solidFill>
              <a:prstDash val="solid"/>
            </a:ln>
            <a:effectLst/>
          </p:spPr>
        </p:cxnSp>
        <p:cxnSp>
          <p:nvCxnSpPr>
            <p:cNvPr id="564" name="Straight Connector 563">
              <a:extLst>
                <a:ext uri="{FF2B5EF4-FFF2-40B4-BE49-F238E27FC236}">
                  <a16:creationId xmlns:a16="http://schemas.microsoft.com/office/drawing/2014/main" id="{C1579B45-69EC-4AF5-B7DB-F79343BD5D11}"/>
                </a:ext>
              </a:extLst>
            </p:cNvPr>
            <p:cNvCxnSpPr/>
            <p:nvPr/>
          </p:nvCxnSpPr>
          <p:spPr>
            <a:xfrm flipV="1">
              <a:off x="9868743" y="2678964"/>
              <a:ext cx="0" cy="145612"/>
            </a:xfrm>
            <a:prstGeom prst="line">
              <a:avLst/>
            </a:prstGeom>
            <a:noFill/>
            <a:ln w="19050" cap="flat" cmpd="sng" algn="ctr">
              <a:solidFill>
                <a:srgbClr val="7E2E78"/>
              </a:solidFill>
              <a:prstDash val="solid"/>
            </a:ln>
            <a:effectLst/>
          </p:spPr>
        </p:cxnSp>
        <p:cxnSp>
          <p:nvCxnSpPr>
            <p:cNvPr id="565" name="Straight Connector 564">
              <a:extLst>
                <a:ext uri="{FF2B5EF4-FFF2-40B4-BE49-F238E27FC236}">
                  <a16:creationId xmlns:a16="http://schemas.microsoft.com/office/drawing/2014/main" id="{C2D46038-2C62-4BFC-9A76-8BF9BFA64DC1}"/>
                </a:ext>
              </a:extLst>
            </p:cNvPr>
            <p:cNvCxnSpPr/>
            <p:nvPr/>
          </p:nvCxnSpPr>
          <p:spPr>
            <a:xfrm>
              <a:off x="10257206" y="2628910"/>
              <a:ext cx="77666" cy="0"/>
            </a:xfrm>
            <a:prstGeom prst="line">
              <a:avLst/>
            </a:prstGeom>
            <a:noFill/>
            <a:ln w="19050" cap="flat" cmpd="sng" algn="ctr">
              <a:solidFill>
                <a:srgbClr val="7E2E78"/>
              </a:solidFill>
              <a:prstDash val="solid"/>
            </a:ln>
            <a:effectLst/>
          </p:spPr>
        </p:cxnSp>
        <p:cxnSp>
          <p:nvCxnSpPr>
            <p:cNvPr id="566" name="Straight Connector 565">
              <a:extLst>
                <a:ext uri="{FF2B5EF4-FFF2-40B4-BE49-F238E27FC236}">
                  <a16:creationId xmlns:a16="http://schemas.microsoft.com/office/drawing/2014/main" id="{B53FBA5E-8892-4669-80F0-46838F7AF934}"/>
                </a:ext>
              </a:extLst>
            </p:cNvPr>
            <p:cNvCxnSpPr/>
            <p:nvPr/>
          </p:nvCxnSpPr>
          <p:spPr>
            <a:xfrm>
              <a:off x="10257206" y="2868384"/>
              <a:ext cx="77666" cy="0"/>
            </a:xfrm>
            <a:prstGeom prst="line">
              <a:avLst/>
            </a:prstGeom>
            <a:noFill/>
            <a:ln w="19050" cap="flat" cmpd="sng" algn="ctr">
              <a:solidFill>
                <a:srgbClr val="7E2E78"/>
              </a:solidFill>
              <a:prstDash val="solid"/>
            </a:ln>
            <a:effectLst/>
          </p:spPr>
        </p:cxnSp>
        <p:cxnSp>
          <p:nvCxnSpPr>
            <p:cNvPr id="567" name="Straight Connector 566">
              <a:extLst>
                <a:ext uri="{FF2B5EF4-FFF2-40B4-BE49-F238E27FC236}">
                  <a16:creationId xmlns:a16="http://schemas.microsoft.com/office/drawing/2014/main" id="{C5768AFB-02B2-4CFB-BA26-E2B9305D0D3C}"/>
                </a:ext>
              </a:extLst>
            </p:cNvPr>
            <p:cNvCxnSpPr/>
            <p:nvPr/>
          </p:nvCxnSpPr>
          <p:spPr>
            <a:xfrm flipV="1">
              <a:off x="10296041" y="2637230"/>
              <a:ext cx="0" cy="231155"/>
            </a:xfrm>
            <a:prstGeom prst="line">
              <a:avLst/>
            </a:prstGeom>
            <a:noFill/>
            <a:ln w="19050" cap="flat" cmpd="sng" algn="ctr">
              <a:solidFill>
                <a:srgbClr val="7E2E78"/>
              </a:solidFill>
              <a:prstDash val="solid"/>
            </a:ln>
            <a:effectLst/>
          </p:spPr>
        </p:cxnSp>
        <p:cxnSp>
          <p:nvCxnSpPr>
            <p:cNvPr id="568" name="Straight Connector 567">
              <a:extLst>
                <a:ext uri="{FF2B5EF4-FFF2-40B4-BE49-F238E27FC236}">
                  <a16:creationId xmlns:a16="http://schemas.microsoft.com/office/drawing/2014/main" id="{F10EE531-B095-424C-9566-1265C6CBBF75}"/>
                </a:ext>
              </a:extLst>
            </p:cNvPr>
            <p:cNvCxnSpPr/>
            <p:nvPr/>
          </p:nvCxnSpPr>
          <p:spPr>
            <a:xfrm>
              <a:off x="10903880" y="2862441"/>
              <a:ext cx="77666" cy="0"/>
            </a:xfrm>
            <a:prstGeom prst="line">
              <a:avLst/>
            </a:prstGeom>
            <a:noFill/>
            <a:ln w="19050" cap="flat" cmpd="sng" algn="ctr">
              <a:solidFill>
                <a:srgbClr val="7E2E78"/>
              </a:solidFill>
              <a:prstDash val="solid"/>
            </a:ln>
            <a:effectLst/>
          </p:spPr>
        </p:cxnSp>
        <p:cxnSp>
          <p:nvCxnSpPr>
            <p:cNvPr id="569" name="Straight Connector 568">
              <a:extLst>
                <a:ext uri="{FF2B5EF4-FFF2-40B4-BE49-F238E27FC236}">
                  <a16:creationId xmlns:a16="http://schemas.microsoft.com/office/drawing/2014/main" id="{9DA0A002-0FCA-4D0C-9BE1-6456BAC5F487}"/>
                </a:ext>
              </a:extLst>
            </p:cNvPr>
            <p:cNvCxnSpPr/>
            <p:nvPr/>
          </p:nvCxnSpPr>
          <p:spPr>
            <a:xfrm>
              <a:off x="10903880" y="3044888"/>
              <a:ext cx="77666" cy="0"/>
            </a:xfrm>
            <a:prstGeom prst="line">
              <a:avLst/>
            </a:prstGeom>
            <a:noFill/>
            <a:ln w="19050" cap="flat" cmpd="sng" algn="ctr">
              <a:solidFill>
                <a:srgbClr val="7E2E78"/>
              </a:solidFill>
              <a:prstDash val="solid"/>
            </a:ln>
            <a:effectLst/>
          </p:spPr>
        </p:cxnSp>
        <p:cxnSp>
          <p:nvCxnSpPr>
            <p:cNvPr id="570" name="Straight Connector 569">
              <a:extLst>
                <a:ext uri="{FF2B5EF4-FFF2-40B4-BE49-F238E27FC236}">
                  <a16:creationId xmlns:a16="http://schemas.microsoft.com/office/drawing/2014/main" id="{DBC1DEDC-C8AF-442C-AD02-93CF0A24400A}"/>
                </a:ext>
              </a:extLst>
            </p:cNvPr>
            <p:cNvCxnSpPr/>
            <p:nvPr/>
          </p:nvCxnSpPr>
          <p:spPr>
            <a:xfrm flipH="1" flipV="1">
              <a:off x="10942706" y="2870762"/>
              <a:ext cx="17" cy="174127"/>
            </a:xfrm>
            <a:prstGeom prst="line">
              <a:avLst/>
            </a:prstGeom>
            <a:noFill/>
            <a:ln w="19050" cap="flat" cmpd="sng" algn="ctr">
              <a:solidFill>
                <a:srgbClr val="7E2E78"/>
              </a:solidFill>
              <a:prstDash val="solid"/>
            </a:ln>
            <a:effectLst/>
          </p:spPr>
        </p:cxnSp>
        <p:sp>
          <p:nvSpPr>
            <p:cNvPr id="571" name="Oval 570">
              <a:extLst>
                <a:ext uri="{FF2B5EF4-FFF2-40B4-BE49-F238E27FC236}">
                  <a16:creationId xmlns:a16="http://schemas.microsoft.com/office/drawing/2014/main" id="{35679E95-31FD-435E-AFE9-E4043716F113}"/>
                </a:ext>
              </a:extLst>
            </p:cNvPr>
            <p:cNvSpPr/>
            <p:nvPr/>
          </p:nvSpPr>
          <p:spPr>
            <a:xfrm>
              <a:off x="9618869" y="2427354"/>
              <a:ext cx="77666" cy="71856"/>
            </a:xfrm>
            <a:prstGeom prst="ellipse">
              <a:avLst/>
            </a:prstGeom>
            <a:solidFill>
              <a:srgbClr val="92D05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endParaRPr>
            </a:p>
          </p:txBody>
        </p:sp>
        <p:cxnSp>
          <p:nvCxnSpPr>
            <p:cNvPr id="572" name="Straight Connector 571">
              <a:extLst>
                <a:ext uri="{FF2B5EF4-FFF2-40B4-BE49-F238E27FC236}">
                  <a16:creationId xmlns:a16="http://schemas.microsoft.com/office/drawing/2014/main" id="{86E908DE-E52E-449C-BB2A-A74CFD904833}"/>
                </a:ext>
              </a:extLst>
            </p:cNvPr>
            <p:cNvCxnSpPr/>
            <p:nvPr/>
          </p:nvCxnSpPr>
          <p:spPr>
            <a:xfrm>
              <a:off x="9618869" y="2387416"/>
              <a:ext cx="77666" cy="0"/>
            </a:xfrm>
            <a:prstGeom prst="line">
              <a:avLst/>
            </a:prstGeom>
            <a:noFill/>
            <a:ln w="19050" cap="flat" cmpd="sng" algn="ctr">
              <a:solidFill>
                <a:srgbClr val="92D050"/>
              </a:solidFill>
              <a:prstDash val="solid"/>
            </a:ln>
            <a:effectLst/>
          </p:spPr>
        </p:cxnSp>
        <p:cxnSp>
          <p:nvCxnSpPr>
            <p:cNvPr id="573" name="Straight Connector 572">
              <a:extLst>
                <a:ext uri="{FF2B5EF4-FFF2-40B4-BE49-F238E27FC236}">
                  <a16:creationId xmlns:a16="http://schemas.microsoft.com/office/drawing/2014/main" id="{A798C9E0-5BCF-467E-A388-ECC184B55BB0}"/>
                </a:ext>
              </a:extLst>
            </p:cNvPr>
            <p:cNvCxnSpPr/>
            <p:nvPr/>
          </p:nvCxnSpPr>
          <p:spPr>
            <a:xfrm>
              <a:off x="9618869" y="2541345"/>
              <a:ext cx="77666" cy="0"/>
            </a:xfrm>
            <a:prstGeom prst="line">
              <a:avLst/>
            </a:prstGeom>
            <a:noFill/>
            <a:ln w="19050" cap="flat" cmpd="sng" algn="ctr">
              <a:solidFill>
                <a:srgbClr val="92D050"/>
              </a:solidFill>
              <a:prstDash val="solid"/>
            </a:ln>
            <a:effectLst/>
          </p:spPr>
        </p:cxnSp>
        <p:cxnSp>
          <p:nvCxnSpPr>
            <p:cNvPr id="574" name="Straight Connector 573">
              <a:extLst>
                <a:ext uri="{FF2B5EF4-FFF2-40B4-BE49-F238E27FC236}">
                  <a16:creationId xmlns:a16="http://schemas.microsoft.com/office/drawing/2014/main" id="{79F3DD0C-A930-4CD5-A209-0583286CC6EE}"/>
                </a:ext>
              </a:extLst>
            </p:cNvPr>
            <p:cNvCxnSpPr/>
            <p:nvPr/>
          </p:nvCxnSpPr>
          <p:spPr>
            <a:xfrm flipV="1">
              <a:off x="9657701" y="2390982"/>
              <a:ext cx="0" cy="150364"/>
            </a:xfrm>
            <a:prstGeom prst="line">
              <a:avLst/>
            </a:prstGeom>
            <a:noFill/>
            <a:ln w="19050" cap="flat" cmpd="sng" algn="ctr">
              <a:solidFill>
                <a:srgbClr val="92D050"/>
              </a:solidFill>
              <a:prstDash val="solid"/>
            </a:ln>
            <a:effectLst/>
          </p:spPr>
        </p:cxnSp>
        <p:cxnSp>
          <p:nvCxnSpPr>
            <p:cNvPr id="575" name="Straight Connector 574">
              <a:extLst>
                <a:ext uri="{FF2B5EF4-FFF2-40B4-BE49-F238E27FC236}">
                  <a16:creationId xmlns:a16="http://schemas.microsoft.com/office/drawing/2014/main" id="{F4F1C600-3A4D-4BE4-9D8C-6DF4062BA847}"/>
                </a:ext>
              </a:extLst>
            </p:cNvPr>
            <p:cNvCxnSpPr/>
            <p:nvPr/>
          </p:nvCxnSpPr>
          <p:spPr>
            <a:xfrm>
              <a:off x="9829912" y="2206804"/>
              <a:ext cx="77666" cy="0"/>
            </a:xfrm>
            <a:prstGeom prst="line">
              <a:avLst/>
            </a:prstGeom>
            <a:noFill/>
            <a:ln w="19050" cap="flat" cmpd="sng" algn="ctr">
              <a:solidFill>
                <a:srgbClr val="92D050"/>
              </a:solidFill>
              <a:prstDash val="solid"/>
            </a:ln>
            <a:effectLst/>
          </p:spPr>
        </p:cxnSp>
        <p:cxnSp>
          <p:nvCxnSpPr>
            <p:cNvPr id="576" name="Straight Connector 575">
              <a:extLst>
                <a:ext uri="{FF2B5EF4-FFF2-40B4-BE49-F238E27FC236}">
                  <a16:creationId xmlns:a16="http://schemas.microsoft.com/office/drawing/2014/main" id="{8D127F2C-4D78-4C5E-A3F7-DF292B89FE5F}"/>
                </a:ext>
              </a:extLst>
            </p:cNvPr>
            <p:cNvCxnSpPr/>
            <p:nvPr/>
          </p:nvCxnSpPr>
          <p:spPr>
            <a:xfrm>
              <a:off x="9829912" y="2332220"/>
              <a:ext cx="77666" cy="0"/>
            </a:xfrm>
            <a:prstGeom prst="line">
              <a:avLst/>
            </a:prstGeom>
            <a:noFill/>
            <a:ln w="19050" cap="flat" cmpd="sng" algn="ctr">
              <a:solidFill>
                <a:srgbClr val="92D050"/>
              </a:solidFill>
              <a:prstDash val="solid"/>
            </a:ln>
            <a:effectLst/>
          </p:spPr>
        </p:cxnSp>
        <p:cxnSp>
          <p:nvCxnSpPr>
            <p:cNvPr id="577" name="Straight Connector 576">
              <a:extLst>
                <a:ext uri="{FF2B5EF4-FFF2-40B4-BE49-F238E27FC236}">
                  <a16:creationId xmlns:a16="http://schemas.microsoft.com/office/drawing/2014/main" id="{92A37E41-BB76-4E02-91E3-05F3C2240BBB}"/>
                </a:ext>
              </a:extLst>
            </p:cNvPr>
            <p:cNvCxnSpPr/>
            <p:nvPr/>
          </p:nvCxnSpPr>
          <p:spPr>
            <a:xfrm flipV="1">
              <a:off x="9868743" y="2210371"/>
              <a:ext cx="0" cy="121849"/>
            </a:xfrm>
            <a:prstGeom prst="line">
              <a:avLst/>
            </a:prstGeom>
            <a:noFill/>
            <a:ln w="19050" cap="flat" cmpd="sng" algn="ctr">
              <a:solidFill>
                <a:srgbClr val="92D050"/>
              </a:solidFill>
              <a:prstDash val="solid"/>
            </a:ln>
            <a:effectLst/>
          </p:spPr>
        </p:cxnSp>
        <p:sp>
          <p:nvSpPr>
            <p:cNvPr id="578" name="Oval 577">
              <a:extLst>
                <a:ext uri="{FF2B5EF4-FFF2-40B4-BE49-F238E27FC236}">
                  <a16:creationId xmlns:a16="http://schemas.microsoft.com/office/drawing/2014/main" id="{3D6AC525-F3CB-4A6C-BAE2-8109D219AD6F}"/>
                </a:ext>
              </a:extLst>
            </p:cNvPr>
            <p:cNvSpPr/>
            <p:nvPr/>
          </p:nvSpPr>
          <p:spPr>
            <a:xfrm>
              <a:off x="9829912" y="2235368"/>
              <a:ext cx="77666" cy="71856"/>
            </a:xfrm>
            <a:prstGeom prst="ellipse">
              <a:avLst/>
            </a:prstGeom>
            <a:solidFill>
              <a:srgbClr val="92D05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endParaRPr>
            </a:p>
          </p:txBody>
        </p:sp>
        <p:sp>
          <p:nvSpPr>
            <p:cNvPr id="579" name="Oval 578">
              <a:extLst>
                <a:ext uri="{FF2B5EF4-FFF2-40B4-BE49-F238E27FC236}">
                  <a16:creationId xmlns:a16="http://schemas.microsoft.com/office/drawing/2014/main" id="{9211A16B-2CB2-4E7B-A263-E4730A523A19}"/>
                </a:ext>
              </a:extLst>
            </p:cNvPr>
            <p:cNvSpPr/>
            <p:nvPr/>
          </p:nvSpPr>
          <p:spPr>
            <a:xfrm>
              <a:off x="10257206" y="2182807"/>
              <a:ext cx="77666" cy="71856"/>
            </a:xfrm>
            <a:prstGeom prst="ellipse">
              <a:avLst/>
            </a:prstGeom>
            <a:solidFill>
              <a:srgbClr val="92D05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endParaRPr>
            </a:p>
          </p:txBody>
        </p:sp>
        <p:sp>
          <p:nvSpPr>
            <p:cNvPr id="580" name="Oval 579">
              <a:extLst>
                <a:ext uri="{FF2B5EF4-FFF2-40B4-BE49-F238E27FC236}">
                  <a16:creationId xmlns:a16="http://schemas.microsoft.com/office/drawing/2014/main" id="{A6A97745-6460-45FA-986D-C6EFE1781481}"/>
                </a:ext>
              </a:extLst>
            </p:cNvPr>
            <p:cNvSpPr/>
            <p:nvPr/>
          </p:nvSpPr>
          <p:spPr>
            <a:xfrm>
              <a:off x="10903880" y="2264167"/>
              <a:ext cx="77666" cy="71856"/>
            </a:xfrm>
            <a:prstGeom prst="ellipse">
              <a:avLst/>
            </a:prstGeom>
            <a:solidFill>
              <a:srgbClr val="92D05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endParaRPr>
            </a:p>
          </p:txBody>
        </p:sp>
        <p:sp>
          <p:nvSpPr>
            <p:cNvPr id="581" name="Oval 580">
              <a:extLst>
                <a:ext uri="{FF2B5EF4-FFF2-40B4-BE49-F238E27FC236}">
                  <a16:creationId xmlns:a16="http://schemas.microsoft.com/office/drawing/2014/main" id="{E2E421BD-3B25-4D74-8402-C6813483F2D9}"/>
                </a:ext>
              </a:extLst>
            </p:cNvPr>
            <p:cNvSpPr/>
            <p:nvPr/>
          </p:nvSpPr>
          <p:spPr>
            <a:xfrm>
              <a:off x="11552319" y="2235865"/>
              <a:ext cx="77666" cy="71856"/>
            </a:xfrm>
            <a:prstGeom prst="ellipse">
              <a:avLst/>
            </a:prstGeom>
            <a:solidFill>
              <a:srgbClr val="92D05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endParaRPr>
            </a:p>
          </p:txBody>
        </p:sp>
        <p:cxnSp>
          <p:nvCxnSpPr>
            <p:cNvPr id="582" name="Straight Connector 581">
              <a:extLst>
                <a:ext uri="{FF2B5EF4-FFF2-40B4-BE49-F238E27FC236}">
                  <a16:creationId xmlns:a16="http://schemas.microsoft.com/office/drawing/2014/main" id="{5CF08CA7-9E13-4572-8E87-681CBB05EF06}"/>
                </a:ext>
              </a:extLst>
            </p:cNvPr>
            <p:cNvCxnSpPr/>
            <p:nvPr/>
          </p:nvCxnSpPr>
          <p:spPr>
            <a:xfrm>
              <a:off x="10257206" y="2221277"/>
              <a:ext cx="77666" cy="0"/>
            </a:xfrm>
            <a:prstGeom prst="line">
              <a:avLst/>
            </a:prstGeom>
            <a:noFill/>
            <a:ln w="19050" cap="flat" cmpd="sng" algn="ctr">
              <a:solidFill>
                <a:srgbClr val="92D050"/>
              </a:solidFill>
              <a:prstDash val="solid"/>
            </a:ln>
            <a:effectLst/>
          </p:spPr>
        </p:cxnSp>
        <p:cxnSp>
          <p:nvCxnSpPr>
            <p:cNvPr id="583" name="Straight Connector 582">
              <a:extLst>
                <a:ext uri="{FF2B5EF4-FFF2-40B4-BE49-F238E27FC236}">
                  <a16:creationId xmlns:a16="http://schemas.microsoft.com/office/drawing/2014/main" id="{1C97C34F-90F9-468C-8057-5C6B8D1AEBFA}"/>
                </a:ext>
              </a:extLst>
            </p:cNvPr>
            <p:cNvCxnSpPr/>
            <p:nvPr/>
          </p:nvCxnSpPr>
          <p:spPr>
            <a:xfrm>
              <a:off x="10257206" y="2346695"/>
              <a:ext cx="77666" cy="0"/>
            </a:xfrm>
            <a:prstGeom prst="line">
              <a:avLst/>
            </a:prstGeom>
            <a:noFill/>
            <a:ln w="19050" cap="flat" cmpd="sng" algn="ctr">
              <a:solidFill>
                <a:srgbClr val="92D050"/>
              </a:solidFill>
              <a:prstDash val="solid"/>
            </a:ln>
            <a:effectLst/>
          </p:spPr>
        </p:cxnSp>
        <p:cxnSp>
          <p:nvCxnSpPr>
            <p:cNvPr id="584" name="Straight Connector 583">
              <a:extLst>
                <a:ext uri="{FF2B5EF4-FFF2-40B4-BE49-F238E27FC236}">
                  <a16:creationId xmlns:a16="http://schemas.microsoft.com/office/drawing/2014/main" id="{C39E38B1-64F3-4F20-A1EA-A733D52ECB26}"/>
                </a:ext>
              </a:extLst>
            </p:cNvPr>
            <p:cNvCxnSpPr/>
            <p:nvPr/>
          </p:nvCxnSpPr>
          <p:spPr>
            <a:xfrm flipV="1">
              <a:off x="10296041" y="2107092"/>
              <a:ext cx="0" cy="239601"/>
            </a:xfrm>
            <a:prstGeom prst="line">
              <a:avLst/>
            </a:prstGeom>
            <a:noFill/>
            <a:ln w="19050" cap="flat" cmpd="sng" algn="ctr">
              <a:solidFill>
                <a:srgbClr val="92D050"/>
              </a:solidFill>
              <a:prstDash val="solid"/>
            </a:ln>
            <a:effectLst/>
          </p:spPr>
        </p:cxnSp>
        <p:cxnSp>
          <p:nvCxnSpPr>
            <p:cNvPr id="585" name="Straight Connector 584">
              <a:extLst>
                <a:ext uri="{FF2B5EF4-FFF2-40B4-BE49-F238E27FC236}">
                  <a16:creationId xmlns:a16="http://schemas.microsoft.com/office/drawing/2014/main" id="{723EDA86-50DB-42D1-8CED-E5FDA9F21B9C}"/>
                </a:ext>
              </a:extLst>
            </p:cNvPr>
            <p:cNvCxnSpPr/>
            <p:nvPr/>
          </p:nvCxnSpPr>
          <p:spPr>
            <a:xfrm>
              <a:off x="10257206" y="2104298"/>
              <a:ext cx="77666" cy="0"/>
            </a:xfrm>
            <a:prstGeom prst="line">
              <a:avLst/>
            </a:prstGeom>
            <a:noFill/>
            <a:ln w="19050" cap="flat" cmpd="sng" algn="ctr">
              <a:solidFill>
                <a:srgbClr val="92D050"/>
              </a:solidFill>
              <a:prstDash val="solid"/>
            </a:ln>
            <a:effectLst/>
          </p:spPr>
        </p:cxnSp>
        <p:cxnSp>
          <p:nvCxnSpPr>
            <p:cNvPr id="586" name="Straight Connector 585">
              <a:extLst>
                <a:ext uri="{FF2B5EF4-FFF2-40B4-BE49-F238E27FC236}">
                  <a16:creationId xmlns:a16="http://schemas.microsoft.com/office/drawing/2014/main" id="{51069C0B-307A-4BC3-AC32-EA01BF59C769}"/>
                </a:ext>
              </a:extLst>
            </p:cNvPr>
            <p:cNvCxnSpPr/>
            <p:nvPr/>
          </p:nvCxnSpPr>
          <p:spPr>
            <a:xfrm>
              <a:off x="10903880" y="2367334"/>
              <a:ext cx="77666" cy="0"/>
            </a:xfrm>
            <a:prstGeom prst="line">
              <a:avLst/>
            </a:prstGeom>
            <a:noFill/>
            <a:ln w="19050" cap="flat" cmpd="sng" algn="ctr">
              <a:solidFill>
                <a:srgbClr val="92D050"/>
              </a:solidFill>
              <a:prstDash val="solid"/>
            </a:ln>
            <a:effectLst/>
          </p:spPr>
        </p:cxnSp>
        <p:cxnSp>
          <p:nvCxnSpPr>
            <p:cNvPr id="587" name="Straight Connector 586">
              <a:extLst>
                <a:ext uri="{FF2B5EF4-FFF2-40B4-BE49-F238E27FC236}">
                  <a16:creationId xmlns:a16="http://schemas.microsoft.com/office/drawing/2014/main" id="{50239082-020F-48AF-A64D-AF6CD72E51C6}"/>
                </a:ext>
              </a:extLst>
            </p:cNvPr>
            <p:cNvCxnSpPr/>
            <p:nvPr/>
          </p:nvCxnSpPr>
          <p:spPr>
            <a:xfrm flipV="1">
              <a:off x="10942714" y="2235865"/>
              <a:ext cx="0" cy="131469"/>
            </a:xfrm>
            <a:prstGeom prst="line">
              <a:avLst/>
            </a:prstGeom>
            <a:noFill/>
            <a:ln w="19050" cap="flat" cmpd="sng" algn="ctr">
              <a:solidFill>
                <a:srgbClr val="92D050"/>
              </a:solidFill>
              <a:prstDash val="solid"/>
            </a:ln>
            <a:effectLst/>
          </p:spPr>
        </p:cxnSp>
        <p:cxnSp>
          <p:nvCxnSpPr>
            <p:cNvPr id="588" name="Straight Connector 587">
              <a:extLst>
                <a:ext uri="{FF2B5EF4-FFF2-40B4-BE49-F238E27FC236}">
                  <a16:creationId xmlns:a16="http://schemas.microsoft.com/office/drawing/2014/main" id="{BE3A7DC3-ABD8-445F-A484-24F1E3D87C96}"/>
                </a:ext>
              </a:extLst>
            </p:cNvPr>
            <p:cNvCxnSpPr/>
            <p:nvPr/>
          </p:nvCxnSpPr>
          <p:spPr>
            <a:xfrm>
              <a:off x="10903880" y="2236621"/>
              <a:ext cx="77666" cy="0"/>
            </a:xfrm>
            <a:prstGeom prst="line">
              <a:avLst/>
            </a:prstGeom>
            <a:noFill/>
            <a:ln w="19050" cap="flat" cmpd="sng" algn="ctr">
              <a:solidFill>
                <a:srgbClr val="92D050"/>
              </a:solidFill>
              <a:prstDash val="solid"/>
            </a:ln>
            <a:effectLst/>
          </p:spPr>
        </p:cxnSp>
        <p:cxnSp>
          <p:nvCxnSpPr>
            <p:cNvPr id="589" name="Straight Connector 588">
              <a:extLst>
                <a:ext uri="{FF2B5EF4-FFF2-40B4-BE49-F238E27FC236}">
                  <a16:creationId xmlns:a16="http://schemas.microsoft.com/office/drawing/2014/main" id="{B6660B80-2F4A-45B2-A4B4-4A7E7A40FD9A}"/>
                </a:ext>
              </a:extLst>
            </p:cNvPr>
            <p:cNvCxnSpPr/>
            <p:nvPr/>
          </p:nvCxnSpPr>
          <p:spPr>
            <a:xfrm>
              <a:off x="11552319" y="2376019"/>
              <a:ext cx="77666" cy="0"/>
            </a:xfrm>
            <a:prstGeom prst="line">
              <a:avLst/>
            </a:prstGeom>
            <a:noFill/>
            <a:ln w="19050" cap="flat" cmpd="sng" algn="ctr">
              <a:solidFill>
                <a:srgbClr val="92D050"/>
              </a:solidFill>
              <a:prstDash val="solid"/>
            </a:ln>
            <a:effectLst/>
          </p:spPr>
        </p:cxnSp>
        <p:cxnSp>
          <p:nvCxnSpPr>
            <p:cNvPr id="590" name="Straight Connector 589">
              <a:extLst>
                <a:ext uri="{FF2B5EF4-FFF2-40B4-BE49-F238E27FC236}">
                  <a16:creationId xmlns:a16="http://schemas.microsoft.com/office/drawing/2014/main" id="{BB703E48-1ED3-4F97-98D9-A9B46DB4A2B3}"/>
                </a:ext>
              </a:extLst>
            </p:cNvPr>
            <p:cNvCxnSpPr/>
            <p:nvPr/>
          </p:nvCxnSpPr>
          <p:spPr>
            <a:xfrm flipV="1">
              <a:off x="11591152" y="2170886"/>
              <a:ext cx="0" cy="205133"/>
            </a:xfrm>
            <a:prstGeom prst="line">
              <a:avLst/>
            </a:prstGeom>
            <a:noFill/>
            <a:ln w="19050" cap="flat" cmpd="sng" algn="ctr">
              <a:solidFill>
                <a:srgbClr val="92D050"/>
              </a:solidFill>
              <a:prstDash val="solid"/>
            </a:ln>
            <a:effectLst/>
          </p:spPr>
        </p:cxnSp>
        <p:cxnSp>
          <p:nvCxnSpPr>
            <p:cNvPr id="591" name="Straight Connector 590">
              <a:extLst>
                <a:ext uri="{FF2B5EF4-FFF2-40B4-BE49-F238E27FC236}">
                  <a16:creationId xmlns:a16="http://schemas.microsoft.com/office/drawing/2014/main" id="{EE1630BB-1530-4A50-BC62-D798182C0DC3}"/>
                </a:ext>
              </a:extLst>
            </p:cNvPr>
            <p:cNvCxnSpPr/>
            <p:nvPr/>
          </p:nvCxnSpPr>
          <p:spPr>
            <a:xfrm>
              <a:off x="11552292" y="2171643"/>
              <a:ext cx="77666" cy="0"/>
            </a:xfrm>
            <a:prstGeom prst="line">
              <a:avLst/>
            </a:prstGeom>
            <a:noFill/>
            <a:ln w="19050" cap="flat" cmpd="sng" algn="ctr">
              <a:solidFill>
                <a:srgbClr val="92D050"/>
              </a:solidFill>
              <a:prstDash val="solid"/>
            </a:ln>
            <a:effectLst/>
          </p:spPr>
        </p:cxnSp>
        <p:sp>
          <p:nvSpPr>
            <p:cNvPr id="592" name="Freeform 121">
              <a:extLst>
                <a:ext uri="{FF2B5EF4-FFF2-40B4-BE49-F238E27FC236}">
                  <a16:creationId xmlns:a16="http://schemas.microsoft.com/office/drawing/2014/main" id="{9D08410D-B6D2-4D39-A1E8-207D56E73E46}"/>
                </a:ext>
              </a:extLst>
            </p:cNvPr>
            <p:cNvSpPr/>
            <p:nvPr/>
          </p:nvSpPr>
          <p:spPr>
            <a:xfrm>
              <a:off x="9656038" y="2218800"/>
              <a:ext cx="1934176" cy="242400"/>
            </a:xfrm>
            <a:custGeom>
              <a:avLst/>
              <a:gdLst>
                <a:gd name="connsiteX0" fmla="*/ 0 w 1793082"/>
                <a:gd name="connsiteY0" fmla="*/ 242888 h 242888"/>
                <a:gd name="connsiteX1" fmla="*/ 200025 w 1793082"/>
                <a:gd name="connsiteY1" fmla="*/ 42863 h 242888"/>
                <a:gd name="connsiteX2" fmla="*/ 597694 w 1793082"/>
                <a:gd name="connsiteY2" fmla="*/ 0 h 242888"/>
                <a:gd name="connsiteX3" fmla="*/ 1195388 w 1793082"/>
                <a:gd name="connsiteY3" fmla="*/ 80963 h 242888"/>
                <a:gd name="connsiteX4" fmla="*/ 1793082 w 1793082"/>
                <a:gd name="connsiteY4" fmla="*/ 54769 h 242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93082" h="242888">
                  <a:moveTo>
                    <a:pt x="0" y="242888"/>
                  </a:moveTo>
                  <a:lnTo>
                    <a:pt x="200025" y="42863"/>
                  </a:lnTo>
                  <a:lnTo>
                    <a:pt x="597694" y="0"/>
                  </a:lnTo>
                  <a:lnTo>
                    <a:pt x="1195388" y="80963"/>
                  </a:lnTo>
                  <a:lnTo>
                    <a:pt x="1793082" y="54769"/>
                  </a:lnTo>
                </a:path>
              </a:pathLst>
            </a:custGeom>
            <a:noFill/>
            <a:ln w="28575" cap="flat" cmpd="sng" algn="ctr">
              <a:solidFill>
                <a:srgbClr val="92D05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endParaRPr>
            </a:p>
          </p:txBody>
        </p:sp>
        <p:sp>
          <p:nvSpPr>
            <p:cNvPr id="593" name="Freeform 122">
              <a:extLst>
                <a:ext uri="{FF2B5EF4-FFF2-40B4-BE49-F238E27FC236}">
                  <a16:creationId xmlns:a16="http://schemas.microsoft.com/office/drawing/2014/main" id="{62DCDEB5-80CC-44B1-93B9-FD92F6C5E84F}"/>
                </a:ext>
              </a:extLst>
            </p:cNvPr>
            <p:cNvSpPr/>
            <p:nvPr/>
          </p:nvSpPr>
          <p:spPr>
            <a:xfrm>
              <a:off x="9653468" y="2708352"/>
              <a:ext cx="1294587" cy="237646"/>
            </a:xfrm>
            <a:custGeom>
              <a:avLst/>
              <a:gdLst>
                <a:gd name="connsiteX0" fmla="*/ 0 w 1200150"/>
                <a:gd name="connsiteY0" fmla="*/ 0 h 238125"/>
                <a:gd name="connsiteX1" fmla="*/ 214313 w 1200150"/>
                <a:gd name="connsiteY1" fmla="*/ 33337 h 238125"/>
                <a:gd name="connsiteX2" fmla="*/ 604838 w 1200150"/>
                <a:gd name="connsiteY2" fmla="*/ 38100 h 238125"/>
                <a:gd name="connsiteX3" fmla="*/ 1200150 w 1200150"/>
                <a:gd name="connsiteY3" fmla="*/ 238125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0150" h="238125">
                  <a:moveTo>
                    <a:pt x="0" y="0"/>
                  </a:moveTo>
                  <a:lnTo>
                    <a:pt x="214313" y="33337"/>
                  </a:lnTo>
                  <a:lnTo>
                    <a:pt x="604838" y="38100"/>
                  </a:lnTo>
                  <a:lnTo>
                    <a:pt x="1200150" y="238125"/>
                  </a:lnTo>
                </a:path>
              </a:pathLst>
            </a:custGeom>
            <a:noFill/>
            <a:ln w="28575" cap="flat" cmpd="sng" algn="ctr">
              <a:solidFill>
                <a:srgbClr val="7E2E78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endParaRPr>
            </a:p>
          </p:txBody>
        </p:sp>
        <p:sp>
          <p:nvSpPr>
            <p:cNvPr id="594" name="TextBox 593">
              <a:extLst>
                <a:ext uri="{FF2B5EF4-FFF2-40B4-BE49-F238E27FC236}">
                  <a16:creationId xmlns:a16="http://schemas.microsoft.com/office/drawing/2014/main" id="{06DE2FB3-9F51-4C14-B42F-76FB34E16A3F}"/>
                </a:ext>
              </a:extLst>
            </p:cNvPr>
            <p:cNvSpPr txBox="1"/>
            <p:nvPr/>
          </p:nvSpPr>
          <p:spPr>
            <a:xfrm>
              <a:off x="9550476" y="3450172"/>
              <a:ext cx="26962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B</a:t>
              </a:r>
            </a:p>
          </p:txBody>
        </p:sp>
        <p:sp>
          <p:nvSpPr>
            <p:cNvPr id="595" name="TextBox 594">
              <a:extLst>
                <a:ext uri="{FF2B5EF4-FFF2-40B4-BE49-F238E27FC236}">
                  <a16:creationId xmlns:a16="http://schemas.microsoft.com/office/drawing/2014/main" id="{3EDB8DD3-0CBC-421B-8695-0078D56E6316}"/>
                </a:ext>
              </a:extLst>
            </p:cNvPr>
            <p:cNvSpPr txBox="1"/>
            <p:nvPr/>
          </p:nvSpPr>
          <p:spPr>
            <a:xfrm>
              <a:off x="9688247" y="3444688"/>
              <a:ext cx="36099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1,5</a:t>
              </a:r>
            </a:p>
          </p:txBody>
        </p:sp>
        <p:sp>
          <p:nvSpPr>
            <p:cNvPr id="596" name="TextBox 595">
              <a:extLst>
                <a:ext uri="{FF2B5EF4-FFF2-40B4-BE49-F238E27FC236}">
                  <a16:creationId xmlns:a16="http://schemas.microsoft.com/office/drawing/2014/main" id="{727977DC-AD8E-44D4-BD39-8CC605704100}"/>
                </a:ext>
              </a:extLst>
            </p:cNvPr>
            <p:cNvSpPr txBox="1"/>
            <p:nvPr/>
          </p:nvSpPr>
          <p:spPr>
            <a:xfrm>
              <a:off x="10115544" y="3444688"/>
              <a:ext cx="36099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3,5</a:t>
              </a:r>
            </a:p>
          </p:txBody>
        </p:sp>
        <p:sp>
          <p:nvSpPr>
            <p:cNvPr id="597" name="TextBox 596">
              <a:extLst>
                <a:ext uri="{FF2B5EF4-FFF2-40B4-BE49-F238E27FC236}">
                  <a16:creationId xmlns:a16="http://schemas.microsoft.com/office/drawing/2014/main" id="{D6279222-464E-4519-8030-A2C904EF30FB}"/>
                </a:ext>
              </a:extLst>
            </p:cNvPr>
            <p:cNvSpPr txBox="1"/>
            <p:nvPr/>
          </p:nvSpPr>
          <p:spPr>
            <a:xfrm>
              <a:off x="10762217" y="3444688"/>
              <a:ext cx="36099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6,5</a:t>
              </a:r>
            </a:p>
          </p:txBody>
        </p:sp>
        <p:sp>
          <p:nvSpPr>
            <p:cNvPr id="598" name="TextBox 597">
              <a:extLst>
                <a:ext uri="{FF2B5EF4-FFF2-40B4-BE49-F238E27FC236}">
                  <a16:creationId xmlns:a16="http://schemas.microsoft.com/office/drawing/2014/main" id="{FE60851E-2937-4F48-97EC-FD04C10C42F5}"/>
                </a:ext>
              </a:extLst>
            </p:cNvPr>
            <p:cNvSpPr txBox="1"/>
            <p:nvPr/>
          </p:nvSpPr>
          <p:spPr>
            <a:xfrm>
              <a:off x="11425490" y="3444688"/>
              <a:ext cx="32573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10</a:t>
              </a:r>
            </a:p>
          </p:txBody>
        </p:sp>
        <p:sp>
          <p:nvSpPr>
            <p:cNvPr id="599" name="TextBox 598">
              <a:extLst>
                <a:ext uri="{FF2B5EF4-FFF2-40B4-BE49-F238E27FC236}">
                  <a16:creationId xmlns:a16="http://schemas.microsoft.com/office/drawing/2014/main" id="{C3B58E01-9511-4AA4-969F-9E980DA246C6}"/>
                </a:ext>
              </a:extLst>
            </p:cNvPr>
            <p:cNvSpPr txBox="1"/>
            <p:nvPr/>
          </p:nvSpPr>
          <p:spPr>
            <a:xfrm>
              <a:off x="9533792" y="3635586"/>
              <a:ext cx="221742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Продолжительность наблюдения (годы)</a:t>
              </a:r>
            </a:p>
          </p:txBody>
        </p:sp>
        <p:sp>
          <p:nvSpPr>
            <p:cNvPr id="600" name="TextBox 599">
              <a:extLst>
                <a:ext uri="{FF2B5EF4-FFF2-40B4-BE49-F238E27FC236}">
                  <a16:creationId xmlns:a16="http://schemas.microsoft.com/office/drawing/2014/main" id="{250864C3-9277-48FF-96FD-92B92C3FE33A}"/>
                </a:ext>
              </a:extLst>
            </p:cNvPr>
            <p:cNvSpPr txBox="1"/>
            <p:nvPr/>
          </p:nvSpPr>
          <p:spPr>
            <a:xfrm>
              <a:off x="9200683" y="1990003"/>
              <a:ext cx="325729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50</a:t>
              </a:r>
            </a:p>
          </p:txBody>
        </p:sp>
        <p:sp>
          <p:nvSpPr>
            <p:cNvPr id="601" name="TextBox 600">
              <a:extLst>
                <a:ext uri="{FF2B5EF4-FFF2-40B4-BE49-F238E27FC236}">
                  <a16:creationId xmlns:a16="http://schemas.microsoft.com/office/drawing/2014/main" id="{62E14548-5EC3-4CA8-96E6-6F9192CDCF08}"/>
                </a:ext>
              </a:extLst>
            </p:cNvPr>
            <p:cNvSpPr txBox="1"/>
            <p:nvPr/>
          </p:nvSpPr>
          <p:spPr>
            <a:xfrm>
              <a:off x="9200683" y="2252965"/>
              <a:ext cx="325729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40</a:t>
              </a:r>
            </a:p>
          </p:txBody>
        </p:sp>
        <p:sp>
          <p:nvSpPr>
            <p:cNvPr id="602" name="TextBox 601">
              <a:extLst>
                <a:ext uri="{FF2B5EF4-FFF2-40B4-BE49-F238E27FC236}">
                  <a16:creationId xmlns:a16="http://schemas.microsoft.com/office/drawing/2014/main" id="{EBE7554F-2365-4A09-93FD-3F8D9BB45FE2}"/>
                </a:ext>
              </a:extLst>
            </p:cNvPr>
            <p:cNvSpPr txBox="1"/>
            <p:nvPr/>
          </p:nvSpPr>
          <p:spPr>
            <a:xfrm>
              <a:off x="9200683" y="2516913"/>
              <a:ext cx="325729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30</a:t>
              </a:r>
            </a:p>
          </p:txBody>
        </p:sp>
        <p:sp>
          <p:nvSpPr>
            <p:cNvPr id="603" name="TextBox 602">
              <a:extLst>
                <a:ext uri="{FF2B5EF4-FFF2-40B4-BE49-F238E27FC236}">
                  <a16:creationId xmlns:a16="http://schemas.microsoft.com/office/drawing/2014/main" id="{0DECA07A-4939-4197-9A86-9F75FEC14F54}"/>
                </a:ext>
              </a:extLst>
            </p:cNvPr>
            <p:cNvSpPr txBox="1"/>
            <p:nvPr/>
          </p:nvSpPr>
          <p:spPr>
            <a:xfrm>
              <a:off x="9200683" y="2788772"/>
              <a:ext cx="325729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20</a:t>
              </a:r>
            </a:p>
          </p:txBody>
        </p:sp>
        <p:sp>
          <p:nvSpPr>
            <p:cNvPr id="604" name="TextBox 603">
              <a:extLst>
                <a:ext uri="{FF2B5EF4-FFF2-40B4-BE49-F238E27FC236}">
                  <a16:creationId xmlns:a16="http://schemas.microsoft.com/office/drawing/2014/main" id="{31791F00-BB2E-4230-A102-B701D1770331}"/>
                </a:ext>
              </a:extLst>
            </p:cNvPr>
            <p:cNvSpPr txBox="1"/>
            <p:nvPr/>
          </p:nvSpPr>
          <p:spPr>
            <a:xfrm>
              <a:off x="9271215" y="3317905"/>
              <a:ext cx="25519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0</a:t>
              </a:r>
            </a:p>
          </p:txBody>
        </p:sp>
        <p:sp>
          <p:nvSpPr>
            <p:cNvPr id="605" name="TextBox 604">
              <a:extLst>
                <a:ext uri="{FF2B5EF4-FFF2-40B4-BE49-F238E27FC236}">
                  <a16:creationId xmlns:a16="http://schemas.microsoft.com/office/drawing/2014/main" id="{62BB1431-66FF-4100-926B-93723AC8FF98}"/>
                </a:ext>
              </a:extLst>
            </p:cNvPr>
            <p:cNvSpPr txBox="1"/>
            <p:nvPr/>
          </p:nvSpPr>
          <p:spPr>
            <a:xfrm>
              <a:off x="9200683" y="3035582"/>
              <a:ext cx="325729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10</a:t>
              </a:r>
            </a:p>
          </p:txBody>
        </p:sp>
        <p:sp>
          <p:nvSpPr>
            <p:cNvPr id="606" name="TextBox 605">
              <a:extLst>
                <a:ext uri="{FF2B5EF4-FFF2-40B4-BE49-F238E27FC236}">
                  <a16:creationId xmlns:a16="http://schemas.microsoft.com/office/drawing/2014/main" id="{B5A54EA5-817F-4E4F-A74A-C152344CFDB5}"/>
                </a:ext>
              </a:extLst>
            </p:cNvPr>
            <p:cNvSpPr txBox="1"/>
            <p:nvPr/>
          </p:nvSpPr>
          <p:spPr>
            <a:xfrm>
              <a:off x="9595774" y="2009859"/>
              <a:ext cx="55010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***</a:t>
              </a:r>
            </a:p>
          </p:txBody>
        </p:sp>
        <p:sp>
          <p:nvSpPr>
            <p:cNvPr id="607" name="TextBox 606">
              <a:extLst>
                <a:ext uri="{FF2B5EF4-FFF2-40B4-BE49-F238E27FC236}">
                  <a16:creationId xmlns:a16="http://schemas.microsoft.com/office/drawing/2014/main" id="{D0A99D01-C8EF-4DD7-86F6-F78E67850DD7}"/>
                </a:ext>
              </a:extLst>
            </p:cNvPr>
            <p:cNvSpPr txBox="1"/>
            <p:nvPr/>
          </p:nvSpPr>
          <p:spPr>
            <a:xfrm>
              <a:off x="10683728" y="2022716"/>
              <a:ext cx="51795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***</a:t>
              </a:r>
            </a:p>
          </p:txBody>
        </p:sp>
        <p:sp>
          <p:nvSpPr>
            <p:cNvPr id="608" name="TextBox 607">
              <a:extLst>
                <a:ext uri="{FF2B5EF4-FFF2-40B4-BE49-F238E27FC236}">
                  <a16:creationId xmlns:a16="http://schemas.microsoft.com/office/drawing/2014/main" id="{861F81D8-003D-4FF3-B5BD-C392DCF15119}"/>
                </a:ext>
              </a:extLst>
            </p:cNvPr>
            <p:cNvSpPr txBox="1"/>
            <p:nvPr/>
          </p:nvSpPr>
          <p:spPr>
            <a:xfrm>
              <a:off x="10031326" y="1945231"/>
              <a:ext cx="514406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***</a:t>
              </a:r>
            </a:p>
          </p:txBody>
        </p:sp>
        <p:sp>
          <p:nvSpPr>
            <p:cNvPr id="609" name="TextBox 608">
              <a:extLst>
                <a:ext uri="{FF2B5EF4-FFF2-40B4-BE49-F238E27FC236}">
                  <a16:creationId xmlns:a16="http://schemas.microsoft.com/office/drawing/2014/main" id="{93D8F221-A301-4336-B6CF-887231791A40}"/>
                </a:ext>
              </a:extLst>
            </p:cNvPr>
            <p:cNvSpPr txBox="1"/>
            <p:nvPr/>
          </p:nvSpPr>
          <p:spPr>
            <a:xfrm>
              <a:off x="9544745" y="2227007"/>
              <a:ext cx="26323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*</a:t>
              </a:r>
            </a:p>
          </p:txBody>
        </p:sp>
      </p:grpSp>
      <p:grpSp>
        <p:nvGrpSpPr>
          <p:cNvPr id="610" name="Group 609">
            <a:extLst>
              <a:ext uri="{FF2B5EF4-FFF2-40B4-BE49-F238E27FC236}">
                <a16:creationId xmlns:a16="http://schemas.microsoft.com/office/drawing/2014/main" id="{2ED3A518-8CA7-4688-A533-B140AE65DA28}"/>
              </a:ext>
            </a:extLst>
          </p:cNvPr>
          <p:cNvGrpSpPr/>
          <p:nvPr/>
        </p:nvGrpSpPr>
        <p:grpSpPr>
          <a:xfrm>
            <a:off x="195764" y="2420987"/>
            <a:ext cx="2788653" cy="2149639"/>
            <a:chOff x="91591" y="1947612"/>
            <a:chExt cx="2788653" cy="2149639"/>
          </a:xfrm>
        </p:grpSpPr>
        <p:cxnSp>
          <p:nvCxnSpPr>
            <p:cNvPr id="611" name="Straight Connector 610">
              <a:extLst>
                <a:ext uri="{FF2B5EF4-FFF2-40B4-BE49-F238E27FC236}">
                  <a16:creationId xmlns:a16="http://schemas.microsoft.com/office/drawing/2014/main" id="{98357192-C9D6-4A9F-AF8E-56416359EB3E}"/>
                </a:ext>
              </a:extLst>
            </p:cNvPr>
            <p:cNvCxnSpPr/>
            <p:nvPr/>
          </p:nvCxnSpPr>
          <p:spPr>
            <a:xfrm>
              <a:off x="874079" y="2536629"/>
              <a:ext cx="0" cy="210952"/>
            </a:xfrm>
            <a:prstGeom prst="line">
              <a:avLst/>
            </a:prstGeom>
            <a:noFill/>
            <a:ln w="19050" cap="flat" cmpd="sng" algn="ctr">
              <a:solidFill>
                <a:srgbClr val="6EBD44"/>
              </a:solidFill>
              <a:prstDash val="solid"/>
            </a:ln>
            <a:effectLst/>
          </p:spPr>
        </p:cxnSp>
        <p:cxnSp>
          <p:nvCxnSpPr>
            <p:cNvPr id="612" name="Straight Connector 611">
              <a:extLst>
                <a:ext uri="{FF2B5EF4-FFF2-40B4-BE49-F238E27FC236}">
                  <a16:creationId xmlns:a16="http://schemas.microsoft.com/office/drawing/2014/main" id="{3E7BABCD-7D01-4593-8F03-1BCD820AD79E}"/>
                </a:ext>
              </a:extLst>
            </p:cNvPr>
            <p:cNvCxnSpPr/>
            <p:nvPr/>
          </p:nvCxnSpPr>
          <p:spPr>
            <a:xfrm rot="5400000">
              <a:off x="876201" y="2511888"/>
              <a:ext cx="0" cy="64065"/>
            </a:xfrm>
            <a:prstGeom prst="line">
              <a:avLst/>
            </a:prstGeom>
            <a:noFill/>
            <a:ln w="19050" cap="flat" cmpd="sng" algn="ctr">
              <a:solidFill>
                <a:srgbClr val="6EBD44"/>
              </a:solidFill>
              <a:prstDash val="solid"/>
            </a:ln>
            <a:effectLst/>
          </p:spPr>
        </p:cxnSp>
        <p:sp>
          <p:nvSpPr>
            <p:cNvPr id="613" name="Freeform 190">
              <a:extLst>
                <a:ext uri="{FF2B5EF4-FFF2-40B4-BE49-F238E27FC236}">
                  <a16:creationId xmlns:a16="http://schemas.microsoft.com/office/drawing/2014/main" id="{A5176F7F-7DA9-4089-B446-A9222801EA63}"/>
                </a:ext>
              </a:extLst>
            </p:cNvPr>
            <p:cNvSpPr/>
            <p:nvPr/>
          </p:nvSpPr>
          <p:spPr>
            <a:xfrm>
              <a:off x="874079" y="2295028"/>
              <a:ext cx="1847645" cy="352860"/>
            </a:xfrm>
            <a:custGeom>
              <a:avLst/>
              <a:gdLst>
                <a:gd name="connsiteX0" fmla="*/ 0 w 1972674"/>
                <a:gd name="connsiteY0" fmla="*/ 386862 h 386862"/>
                <a:gd name="connsiteX1" fmla="*/ 335707 w 1972674"/>
                <a:gd name="connsiteY1" fmla="*/ 0 h 386862"/>
                <a:gd name="connsiteX2" fmla="*/ 668216 w 1972674"/>
                <a:gd name="connsiteY2" fmla="*/ 105508 h 386862"/>
                <a:gd name="connsiteX3" fmla="*/ 1000725 w 1972674"/>
                <a:gd name="connsiteY3" fmla="*/ 143874 h 386862"/>
                <a:gd name="connsiteX4" fmla="*/ 1317248 w 1972674"/>
                <a:gd name="connsiteY4" fmla="*/ 153466 h 386862"/>
                <a:gd name="connsiteX5" fmla="*/ 1972674 w 1972674"/>
                <a:gd name="connsiteY5" fmla="*/ 290946 h 386862"/>
                <a:gd name="connsiteX0" fmla="*/ 0 w 1972674"/>
                <a:gd name="connsiteY0" fmla="*/ 391625 h 391625"/>
                <a:gd name="connsiteX1" fmla="*/ 328563 w 1972674"/>
                <a:gd name="connsiteY1" fmla="*/ 0 h 391625"/>
                <a:gd name="connsiteX2" fmla="*/ 668216 w 1972674"/>
                <a:gd name="connsiteY2" fmla="*/ 110271 h 391625"/>
                <a:gd name="connsiteX3" fmla="*/ 1000725 w 1972674"/>
                <a:gd name="connsiteY3" fmla="*/ 148637 h 391625"/>
                <a:gd name="connsiteX4" fmla="*/ 1317248 w 1972674"/>
                <a:gd name="connsiteY4" fmla="*/ 158229 h 391625"/>
                <a:gd name="connsiteX5" fmla="*/ 1972674 w 1972674"/>
                <a:gd name="connsiteY5" fmla="*/ 295709 h 391625"/>
                <a:gd name="connsiteX0" fmla="*/ 0 w 1972674"/>
                <a:gd name="connsiteY0" fmla="*/ 391625 h 391625"/>
                <a:gd name="connsiteX1" fmla="*/ 328563 w 1972674"/>
                <a:gd name="connsiteY1" fmla="*/ 0 h 391625"/>
                <a:gd name="connsiteX2" fmla="*/ 651547 w 1972674"/>
                <a:gd name="connsiteY2" fmla="*/ 105509 h 391625"/>
                <a:gd name="connsiteX3" fmla="*/ 1000725 w 1972674"/>
                <a:gd name="connsiteY3" fmla="*/ 148637 h 391625"/>
                <a:gd name="connsiteX4" fmla="*/ 1317248 w 1972674"/>
                <a:gd name="connsiteY4" fmla="*/ 158229 h 391625"/>
                <a:gd name="connsiteX5" fmla="*/ 1972674 w 1972674"/>
                <a:gd name="connsiteY5" fmla="*/ 295709 h 391625"/>
                <a:gd name="connsiteX0" fmla="*/ 0 w 1972674"/>
                <a:gd name="connsiteY0" fmla="*/ 391625 h 391625"/>
                <a:gd name="connsiteX1" fmla="*/ 328563 w 1972674"/>
                <a:gd name="connsiteY1" fmla="*/ 0 h 391625"/>
                <a:gd name="connsiteX2" fmla="*/ 651547 w 1972674"/>
                <a:gd name="connsiteY2" fmla="*/ 105509 h 391625"/>
                <a:gd name="connsiteX3" fmla="*/ 1000725 w 1972674"/>
                <a:gd name="connsiteY3" fmla="*/ 148637 h 391625"/>
                <a:gd name="connsiteX4" fmla="*/ 1317248 w 1972674"/>
                <a:gd name="connsiteY4" fmla="*/ 158229 h 391625"/>
                <a:gd name="connsiteX5" fmla="*/ 1972674 w 1972674"/>
                <a:gd name="connsiteY5" fmla="*/ 295709 h 391625"/>
                <a:gd name="connsiteX0" fmla="*/ 0 w 1972674"/>
                <a:gd name="connsiteY0" fmla="*/ 391625 h 391625"/>
                <a:gd name="connsiteX1" fmla="*/ 328563 w 1972674"/>
                <a:gd name="connsiteY1" fmla="*/ 0 h 391625"/>
                <a:gd name="connsiteX2" fmla="*/ 651547 w 1972674"/>
                <a:gd name="connsiteY2" fmla="*/ 105509 h 391625"/>
                <a:gd name="connsiteX3" fmla="*/ 1000725 w 1972674"/>
                <a:gd name="connsiteY3" fmla="*/ 148637 h 391625"/>
                <a:gd name="connsiteX4" fmla="*/ 1317248 w 1972674"/>
                <a:gd name="connsiteY4" fmla="*/ 158229 h 391625"/>
                <a:gd name="connsiteX5" fmla="*/ 1972674 w 1972674"/>
                <a:gd name="connsiteY5" fmla="*/ 295709 h 391625"/>
                <a:gd name="connsiteX0" fmla="*/ 0 w 1972674"/>
                <a:gd name="connsiteY0" fmla="*/ 391625 h 391625"/>
                <a:gd name="connsiteX1" fmla="*/ 328563 w 1972674"/>
                <a:gd name="connsiteY1" fmla="*/ 0 h 391625"/>
                <a:gd name="connsiteX2" fmla="*/ 651547 w 1972674"/>
                <a:gd name="connsiteY2" fmla="*/ 105509 h 391625"/>
                <a:gd name="connsiteX3" fmla="*/ 981675 w 1972674"/>
                <a:gd name="connsiteY3" fmla="*/ 153399 h 391625"/>
                <a:gd name="connsiteX4" fmla="*/ 1317248 w 1972674"/>
                <a:gd name="connsiteY4" fmla="*/ 158229 h 391625"/>
                <a:gd name="connsiteX5" fmla="*/ 1972674 w 1972674"/>
                <a:gd name="connsiteY5" fmla="*/ 295709 h 391625"/>
                <a:gd name="connsiteX0" fmla="*/ 0 w 1972674"/>
                <a:gd name="connsiteY0" fmla="*/ 391625 h 391625"/>
                <a:gd name="connsiteX1" fmla="*/ 328563 w 1972674"/>
                <a:gd name="connsiteY1" fmla="*/ 0 h 391625"/>
                <a:gd name="connsiteX2" fmla="*/ 651547 w 1972674"/>
                <a:gd name="connsiteY2" fmla="*/ 105509 h 391625"/>
                <a:gd name="connsiteX3" fmla="*/ 979294 w 1972674"/>
                <a:gd name="connsiteY3" fmla="*/ 148636 h 391625"/>
                <a:gd name="connsiteX4" fmla="*/ 1317248 w 1972674"/>
                <a:gd name="connsiteY4" fmla="*/ 158229 h 391625"/>
                <a:gd name="connsiteX5" fmla="*/ 1972674 w 1972674"/>
                <a:gd name="connsiteY5" fmla="*/ 295709 h 391625"/>
                <a:gd name="connsiteX0" fmla="*/ 0 w 1972674"/>
                <a:gd name="connsiteY0" fmla="*/ 391625 h 391625"/>
                <a:gd name="connsiteX1" fmla="*/ 328563 w 1972674"/>
                <a:gd name="connsiteY1" fmla="*/ 0 h 391625"/>
                <a:gd name="connsiteX2" fmla="*/ 651547 w 1972674"/>
                <a:gd name="connsiteY2" fmla="*/ 100746 h 391625"/>
                <a:gd name="connsiteX3" fmla="*/ 979294 w 1972674"/>
                <a:gd name="connsiteY3" fmla="*/ 148636 h 391625"/>
                <a:gd name="connsiteX4" fmla="*/ 1317248 w 1972674"/>
                <a:gd name="connsiteY4" fmla="*/ 158229 h 391625"/>
                <a:gd name="connsiteX5" fmla="*/ 1972674 w 1972674"/>
                <a:gd name="connsiteY5" fmla="*/ 295709 h 391625"/>
                <a:gd name="connsiteX0" fmla="*/ 0 w 1972674"/>
                <a:gd name="connsiteY0" fmla="*/ 391625 h 391625"/>
                <a:gd name="connsiteX1" fmla="*/ 328563 w 1972674"/>
                <a:gd name="connsiteY1" fmla="*/ 0 h 391625"/>
                <a:gd name="connsiteX2" fmla="*/ 651547 w 1972674"/>
                <a:gd name="connsiteY2" fmla="*/ 100746 h 391625"/>
                <a:gd name="connsiteX3" fmla="*/ 979294 w 1972674"/>
                <a:gd name="connsiteY3" fmla="*/ 148636 h 391625"/>
                <a:gd name="connsiteX4" fmla="*/ 1312486 w 1972674"/>
                <a:gd name="connsiteY4" fmla="*/ 162992 h 391625"/>
                <a:gd name="connsiteX5" fmla="*/ 1972674 w 1972674"/>
                <a:gd name="connsiteY5" fmla="*/ 295709 h 391625"/>
                <a:gd name="connsiteX0" fmla="*/ 0 w 1972674"/>
                <a:gd name="connsiteY0" fmla="*/ 391625 h 391625"/>
                <a:gd name="connsiteX1" fmla="*/ 328563 w 1972674"/>
                <a:gd name="connsiteY1" fmla="*/ 0 h 391625"/>
                <a:gd name="connsiteX2" fmla="*/ 651547 w 1972674"/>
                <a:gd name="connsiteY2" fmla="*/ 100746 h 391625"/>
                <a:gd name="connsiteX3" fmla="*/ 979294 w 1972674"/>
                <a:gd name="connsiteY3" fmla="*/ 148636 h 391625"/>
                <a:gd name="connsiteX4" fmla="*/ 1312486 w 1972674"/>
                <a:gd name="connsiteY4" fmla="*/ 162992 h 391625"/>
                <a:gd name="connsiteX5" fmla="*/ 1972674 w 1972674"/>
                <a:gd name="connsiteY5" fmla="*/ 295709 h 391625"/>
                <a:gd name="connsiteX0" fmla="*/ 0 w 1972674"/>
                <a:gd name="connsiteY0" fmla="*/ 396388 h 396388"/>
                <a:gd name="connsiteX1" fmla="*/ 319038 w 1972674"/>
                <a:gd name="connsiteY1" fmla="*/ 0 h 396388"/>
                <a:gd name="connsiteX2" fmla="*/ 651547 w 1972674"/>
                <a:gd name="connsiteY2" fmla="*/ 105509 h 396388"/>
                <a:gd name="connsiteX3" fmla="*/ 979294 w 1972674"/>
                <a:gd name="connsiteY3" fmla="*/ 153399 h 396388"/>
                <a:gd name="connsiteX4" fmla="*/ 1312486 w 1972674"/>
                <a:gd name="connsiteY4" fmla="*/ 167755 h 396388"/>
                <a:gd name="connsiteX5" fmla="*/ 1972674 w 1972674"/>
                <a:gd name="connsiteY5" fmla="*/ 300472 h 396388"/>
                <a:gd name="connsiteX0" fmla="*/ 0 w 1972674"/>
                <a:gd name="connsiteY0" fmla="*/ 394006 h 394006"/>
                <a:gd name="connsiteX1" fmla="*/ 323801 w 1972674"/>
                <a:gd name="connsiteY1" fmla="*/ 0 h 394006"/>
                <a:gd name="connsiteX2" fmla="*/ 651547 w 1972674"/>
                <a:gd name="connsiteY2" fmla="*/ 103127 h 394006"/>
                <a:gd name="connsiteX3" fmla="*/ 979294 w 1972674"/>
                <a:gd name="connsiteY3" fmla="*/ 151017 h 394006"/>
                <a:gd name="connsiteX4" fmla="*/ 1312486 w 1972674"/>
                <a:gd name="connsiteY4" fmla="*/ 165373 h 394006"/>
                <a:gd name="connsiteX5" fmla="*/ 1972674 w 1972674"/>
                <a:gd name="connsiteY5" fmla="*/ 298090 h 394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72674" h="394006">
                  <a:moveTo>
                    <a:pt x="0" y="394006"/>
                  </a:moveTo>
                  <a:lnTo>
                    <a:pt x="323801" y="0"/>
                  </a:lnTo>
                  <a:cubicBezTo>
                    <a:pt x="431462" y="35170"/>
                    <a:pt x="539124" y="72719"/>
                    <a:pt x="651547" y="103127"/>
                  </a:cubicBezTo>
                  <a:lnTo>
                    <a:pt x="979294" y="151017"/>
                  </a:lnTo>
                  <a:lnTo>
                    <a:pt x="1312486" y="165373"/>
                  </a:lnTo>
                  <a:lnTo>
                    <a:pt x="1972674" y="298090"/>
                  </a:lnTo>
                </a:path>
              </a:pathLst>
            </a:custGeom>
            <a:noFill/>
            <a:ln w="28575" cap="flat" cmpd="sng" algn="ctr">
              <a:solidFill>
                <a:srgbClr val="6EBD44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endParaRPr>
            </a:p>
          </p:txBody>
        </p:sp>
        <p:sp>
          <p:nvSpPr>
            <p:cNvPr id="614" name="TextBox 613">
              <a:extLst>
                <a:ext uri="{FF2B5EF4-FFF2-40B4-BE49-F238E27FC236}">
                  <a16:creationId xmlns:a16="http://schemas.microsoft.com/office/drawing/2014/main" id="{860975FC-5DF4-4AFF-A8B1-FA1E09A7BE92}"/>
                </a:ext>
              </a:extLst>
            </p:cNvPr>
            <p:cNvSpPr txBox="1"/>
            <p:nvPr/>
          </p:nvSpPr>
          <p:spPr>
            <a:xfrm>
              <a:off x="999169" y="3445043"/>
              <a:ext cx="360996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1,5</a:t>
              </a:r>
            </a:p>
          </p:txBody>
        </p:sp>
        <p:sp>
          <p:nvSpPr>
            <p:cNvPr id="615" name="TextBox 614">
              <a:extLst>
                <a:ext uri="{FF2B5EF4-FFF2-40B4-BE49-F238E27FC236}">
                  <a16:creationId xmlns:a16="http://schemas.microsoft.com/office/drawing/2014/main" id="{6C4B925F-8781-4520-92D3-C23B3B0A94DE}"/>
                </a:ext>
              </a:extLst>
            </p:cNvPr>
            <p:cNvSpPr txBox="1"/>
            <p:nvPr/>
          </p:nvSpPr>
          <p:spPr>
            <a:xfrm>
              <a:off x="741389" y="3443889"/>
              <a:ext cx="269625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B</a:t>
              </a:r>
            </a:p>
          </p:txBody>
        </p:sp>
        <p:sp>
          <p:nvSpPr>
            <p:cNvPr id="616" name="TextBox 615">
              <a:extLst>
                <a:ext uri="{FF2B5EF4-FFF2-40B4-BE49-F238E27FC236}">
                  <a16:creationId xmlns:a16="http://schemas.microsoft.com/office/drawing/2014/main" id="{08F9F782-A874-4C3B-A699-53EAF9730273}"/>
                </a:ext>
              </a:extLst>
            </p:cNvPr>
            <p:cNvSpPr txBox="1"/>
            <p:nvPr/>
          </p:nvSpPr>
          <p:spPr>
            <a:xfrm>
              <a:off x="1309377" y="3445043"/>
              <a:ext cx="360996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3,5</a:t>
              </a:r>
            </a:p>
          </p:txBody>
        </p:sp>
        <p:sp>
          <p:nvSpPr>
            <p:cNvPr id="617" name="TextBox 616">
              <a:extLst>
                <a:ext uri="{FF2B5EF4-FFF2-40B4-BE49-F238E27FC236}">
                  <a16:creationId xmlns:a16="http://schemas.microsoft.com/office/drawing/2014/main" id="{957A0E32-61C4-4290-A081-6551D87BD445}"/>
                </a:ext>
              </a:extLst>
            </p:cNvPr>
            <p:cNvSpPr txBox="1"/>
            <p:nvPr/>
          </p:nvSpPr>
          <p:spPr>
            <a:xfrm>
              <a:off x="1606455" y="3445043"/>
              <a:ext cx="360996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5,0</a:t>
              </a:r>
            </a:p>
          </p:txBody>
        </p:sp>
        <p:sp>
          <p:nvSpPr>
            <p:cNvPr id="618" name="TextBox 617">
              <a:extLst>
                <a:ext uri="{FF2B5EF4-FFF2-40B4-BE49-F238E27FC236}">
                  <a16:creationId xmlns:a16="http://schemas.microsoft.com/office/drawing/2014/main" id="{329B5A90-DC8C-477C-8C28-FDE538620556}"/>
                </a:ext>
              </a:extLst>
            </p:cNvPr>
            <p:cNvSpPr txBox="1"/>
            <p:nvPr/>
          </p:nvSpPr>
          <p:spPr>
            <a:xfrm>
              <a:off x="1932776" y="3445043"/>
              <a:ext cx="360996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6,5</a:t>
              </a:r>
            </a:p>
          </p:txBody>
        </p:sp>
        <p:sp>
          <p:nvSpPr>
            <p:cNvPr id="619" name="TextBox 618">
              <a:extLst>
                <a:ext uri="{FF2B5EF4-FFF2-40B4-BE49-F238E27FC236}">
                  <a16:creationId xmlns:a16="http://schemas.microsoft.com/office/drawing/2014/main" id="{DFA1D2B5-4194-4423-B11D-20397417FB9B}"/>
                </a:ext>
              </a:extLst>
            </p:cNvPr>
            <p:cNvSpPr txBox="1"/>
            <p:nvPr/>
          </p:nvSpPr>
          <p:spPr>
            <a:xfrm>
              <a:off x="2554514" y="3445043"/>
              <a:ext cx="325730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10</a:t>
              </a:r>
            </a:p>
          </p:txBody>
        </p:sp>
        <p:cxnSp>
          <p:nvCxnSpPr>
            <p:cNvPr id="620" name="Straight Connector 619">
              <a:extLst>
                <a:ext uri="{FF2B5EF4-FFF2-40B4-BE49-F238E27FC236}">
                  <a16:creationId xmlns:a16="http://schemas.microsoft.com/office/drawing/2014/main" id="{C2833655-DE31-4675-919B-C5DFC52B46F2}"/>
                </a:ext>
              </a:extLst>
            </p:cNvPr>
            <p:cNvCxnSpPr/>
            <p:nvPr/>
          </p:nvCxnSpPr>
          <p:spPr>
            <a:xfrm>
              <a:off x="718467" y="2065148"/>
              <a:ext cx="0" cy="1364868"/>
            </a:xfrm>
            <a:prstGeom prst="line">
              <a:avLst/>
            </a:prstGeom>
            <a:noFill/>
            <a:ln w="19050" cap="flat" cmpd="sng" algn="ctr">
              <a:solidFill>
                <a:srgbClr val="212121"/>
              </a:solidFill>
              <a:prstDash val="solid"/>
            </a:ln>
            <a:effectLst/>
          </p:spPr>
        </p:cxnSp>
        <p:cxnSp>
          <p:nvCxnSpPr>
            <p:cNvPr id="621" name="Straight Connector 620">
              <a:extLst>
                <a:ext uri="{FF2B5EF4-FFF2-40B4-BE49-F238E27FC236}">
                  <a16:creationId xmlns:a16="http://schemas.microsoft.com/office/drawing/2014/main" id="{CE74317F-6EF7-4E59-99A2-0BDDC56DE919}"/>
                </a:ext>
              </a:extLst>
            </p:cNvPr>
            <p:cNvCxnSpPr/>
            <p:nvPr/>
          </p:nvCxnSpPr>
          <p:spPr>
            <a:xfrm>
              <a:off x="673890" y="3432146"/>
              <a:ext cx="2198434" cy="2605"/>
            </a:xfrm>
            <a:prstGeom prst="line">
              <a:avLst/>
            </a:prstGeom>
            <a:noFill/>
            <a:ln w="19050" cap="flat" cmpd="sng" algn="ctr">
              <a:solidFill>
                <a:srgbClr val="212121"/>
              </a:solidFill>
              <a:prstDash val="solid"/>
            </a:ln>
            <a:effectLst/>
          </p:spPr>
        </p:cxnSp>
        <p:cxnSp>
          <p:nvCxnSpPr>
            <p:cNvPr id="622" name="Straight Connector 621">
              <a:extLst>
                <a:ext uri="{FF2B5EF4-FFF2-40B4-BE49-F238E27FC236}">
                  <a16:creationId xmlns:a16="http://schemas.microsoft.com/office/drawing/2014/main" id="{BC673B4A-BBC8-406A-8204-CD60B080853F}"/>
                </a:ext>
              </a:extLst>
            </p:cNvPr>
            <p:cNvCxnSpPr/>
            <p:nvPr/>
          </p:nvCxnSpPr>
          <p:spPr>
            <a:xfrm>
              <a:off x="659027" y="2072631"/>
              <a:ext cx="57321" cy="0"/>
            </a:xfrm>
            <a:prstGeom prst="line">
              <a:avLst/>
            </a:prstGeom>
            <a:noFill/>
            <a:ln w="19050" cap="flat" cmpd="sng" algn="ctr">
              <a:solidFill>
                <a:srgbClr val="212121"/>
              </a:solidFill>
              <a:prstDash val="solid"/>
            </a:ln>
            <a:effectLst/>
          </p:spPr>
        </p:cxnSp>
        <p:cxnSp>
          <p:nvCxnSpPr>
            <p:cNvPr id="623" name="Straight Connector 622">
              <a:extLst>
                <a:ext uri="{FF2B5EF4-FFF2-40B4-BE49-F238E27FC236}">
                  <a16:creationId xmlns:a16="http://schemas.microsoft.com/office/drawing/2014/main" id="{2F92AA48-BDED-4511-9271-8718A212B5C1}"/>
                </a:ext>
              </a:extLst>
            </p:cNvPr>
            <p:cNvCxnSpPr/>
            <p:nvPr/>
          </p:nvCxnSpPr>
          <p:spPr>
            <a:xfrm>
              <a:off x="651022" y="2526188"/>
              <a:ext cx="57321" cy="0"/>
            </a:xfrm>
            <a:prstGeom prst="line">
              <a:avLst/>
            </a:prstGeom>
            <a:noFill/>
            <a:ln w="19050" cap="flat" cmpd="sng" algn="ctr">
              <a:solidFill>
                <a:srgbClr val="212121"/>
              </a:solidFill>
              <a:prstDash val="solid"/>
            </a:ln>
            <a:effectLst/>
          </p:spPr>
        </p:cxnSp>
        <p:cxnSp>
          <p:nvCxnSpPr>
            <p:cNvPr id="624" name="Straight Connector 623">
              <a:extLst>
                <a:ext uri="{FF2B5EF4-FFF2-40B4-BE49-F238E27FC236}">
                  <a16:creationId xmlns:a16="http://schemas.microsoft.com/office/drawing/2014/main" id="{570D9D35-8823-426C-A193-581C07733573}"/>
                </a:ext>
              </a:extLst>
            </p:cNvPr>
            <p:cNvCxnSpPr/>
            <p:nvPr/>
          </p:nvCxnSpPr>
          <p:spPr>
            <a:xfrm>
              <a:off x="651022" y="2982326"/>
              <a:ext cx="57321" cy="0"/>
            </a:xfrm>
            <a:prstGeom prst="line">
              <a:avLst/>
            </a:prstGeom>
            <a:noFill/>
            <a:ln w="19050" cap="flat" cmpd="sng" algn="ctr">
              <a:solidFill>
                <a:srgbClr val="212121"/>
              </a:solidFill>
              <a:prstDash val="solid"/>
            </a:ln>
            <a:effectLst/>
          </p:spPr>
        </p:cxnSp>
        <p:cxnSp>
          <p:nvCxnSpPr>
            <p:cNvPr id="625" name="Straight Connector 624">
              <a:extLst>
                <a:ext uri="{FF2B5EF4-FFF2-40B4-BE49-F238E27FC236}">
                  <a16:creationId xmlns:a16="http://schemas.microsoft.com/office/drawing/2014/main" id="{A15841D8-873C-44B6-A1AA-9C0A3992D175}"/>
                </a:ext>
              </a:extLst>
            </p:cNvPr>
            <p:cNvCxnSpPr/>
            <p:nvPr/>
          </p:nvCxnSpPr>
          <p:spPr>
            <a:xfrm rot="5400000">
              <a:off x="848797" y="3461149"/>
              <a:ext cx="54809" cy="0"/>
            </a:xfrm>
            <a:prstGeom prst="line">
              <a:avLst/>
            </a:prstGeom>
            <a:noFill/>
            <a:ln w="19050" cap="flat" cmpd="sng" algn="ctr">
              <a:solidFill>
                <a:srgbClr val="212121"/>
              </a:solidFill>
              <a:prstDash val="solid"/>
            </a:ln>
            <a:effectLst/>
          </p:spPr>
        </p:cxnSp>
        <p:cxnSp>
          <p:nvCxnSpPr>
            <p:cNvPr id="626" name="Straight Connector 625">
              <a:extLst>
                <a:ext uri="{FF2B5EF4-FFF2-40B4-BE49-F238E27FC236}">
                  <a16:creationId xmlns:a16="http://schemas.microsoft.com/office/drawing/2014/main" id="{FE615D79-5685-4BAD-B7FE-C928EA1DB191}"/>
                </a:ext>
              </a:extLst>
            </p:cNvPr>
            <p:cNvCxnSpPr/>
            <p:nvPr/>
          </p:nvCxnSpPr>
          <p:spPr>
            <a:xfrm rot="5400000">
              <a:off x="1152928" y="3461149"/>
              <a:ext cx="54809" cy="0"/>
            </a:xfrm>
            <a:prstGeom prst="line">
              <a:avLst/>
            </a:prstGeom>
            <a:noFill/>
            <a:ln w="19050" cap="flat" cmpd="sng" algn="ctr">
              <a:solidFill>
                <a:srgbClr val="212121"/>
              </a:solidFill>
              <a:prstDash val="solid"/>
            </a:ln>
            <a:effectLst/>
          </p:spPr>
        </p:cxnSp>
        <p:cxnSp>
          <p:nvCxnSpPr>
            <p:cNvPr id="627" name="Straight Connector 626">
              <a:extLst>
                <a:ext uri="{FF2B5EF4-FFF2-40B4-BE49-F238E27FC236}">
                  <a16:creationId xmlns:a16="http://schemas.microsoft.com/office/drawing/2014/main" id="{7D7BEE69-919F-4E74-89BD-B250731424BE}"/>
                </a:ext>
              </a:extLst>
            </p:cNvPr>
            <p:cNvCxnSpPr/>
            <p:nvPr/>
          </p:nvCxnSpPr>
          <p:spPr>
            <a:xfrm rot="5400000">
              <a:off x="1459097" y="3461149"/>
              <a:ext cx="54809" cy="0"/>
            </a:xfrm>
            <a:prstGeom prst="line">
              <a:avLst/>
            </a:prstGeom>
            <a:noFill/>
            <a:ln w="19050" cap="flat" cmpd="sng" algn="ctr">
              <a:solidFill>
                <a:srgbClr val="212121"/>
              </a:solidFill>
              <a:prstDash val="solid"/>
            </a:ln>
            <a:effectLst/>
          </p:spPr>
        </p:cxnSp>
        <p:cxnSp>
          <p:nvCxnSpPr>
            <p:cNvPr id="628" name="Straight Connector 627">
              <a:extLst>
                <a:ext uri="{FF2B5EF4-FFF2-40B4-BE49-F238E27FC236}">
                  <a16:creationId xmlns:a16="http://schemas.microsoft.com/office/drawing/2014/main" id="{93238427-CB49-46F1-BF25-9E2E549CDA59}"/>
                </a:ext>
              </a:extLst>
            </p:cNvPr>
            <p:cNvCxnSpPr/>
            <p:nvPr/>
          </p:nvCxnSpPr>
          <p:spPr>
            <a:xfrm rot="5400000">
              <a:off x="1770168" y="3461149"/>
              <a:ext cx="54809" cy="0"/>
            </a:xfrm>
            <a:prstGeom prst="line">
              <a:avLst/>
            </a:prstGeom>
            <a:noFill/>
            <a:ln w="19050" cap="flat" cmpd="sng" algn="ctr">
              <a:solidFill>
                <a:srgbClr val="212121"/>
              </a:solidFill>
              <a:prstDash val="solid"/>
            </a:ln>
            <a:effectLst/>
          </p:spPr>
        </p:cxnSp>
        <p:cxnSp>
          <p:nvCxnSpPr>
            <p:cNvPr id="629" name="Straight Connector 628">
              <a:extLst>
                <a:ext uri="{FF2B5EF4-FFF2-40B4-BE49-F238E27FC236}">
                  <a16:creationId xmlns:a16="http://schemas.microsoft.com/office/drawing/2014/main" id="{EA04531E-A7AD-4952-B761-8A0B73799FA4}"/>
                </a:ext>
              </a:extLst>
            </p:cNvPr>
            <p:cNvCxnSpPr/>
            <p:nvPr/>
          </p:nvCxnSpPr>
          <p:spPr>
            <a:xfrm rot="5400000">
              <a:off x="2076143" y="3461149"/>
              <a:ext cx="54809" cy="0"/>
            </a:xfrm>
            <a:prstGeom prst="line">
              <a:avLst/>
            </a:prstGeom>
            <a:noFill/>
            <a:ln w="19050" cap="flat" cmpd="sng" algn="ctr">
              <a:solidFill>
                <a:srgbClr val="212121"/>
              </a:solidFill>
              <a:prstDash val="solid"/>
            </a:ln>
            <a:effectLst/>
          </p:spPr>
        </p:cxnSp>
        <p:cxnSp>
          <p:nvCxnSpPr>
            <p:cNvPr id="630" name="Straight Connector 629">
              <a:extLst>
                <a:ext uri="{FF2B5EF4-FFF2-40B4-BE49-F238E27FC236}">
                  <a16:creationId xmlns:a16="http://schemas.microsoft.com/office/drawing/2014/main" id="{AE83DF59-B852-4F5C-80D0-FCC8F1317F2F}"/>
                </a:ext>
              </a:extLst>
            </p:cNvPr>
            <p:cNvCxnSpPr/>
            <p:nvPr/>
          </p:nvCxnSpPr>
          <p:spPr>
            <a:xfrm rot="5400000">
              <a:off x="2689816" y="3461149"/>
              <a:ext cx="54809" cy="0"/>
            </a:xfrm>
            <a:prstGeom prst="line">
              <a:avLst/>
            </a:prstGeom>
            <a:noFill/>
            <a:ln w="19050" cap="flat" cmpd="sng" algn="ctr">
              <a:solidFill>
                <a:srgbClr val="212121"/>
              </a:solidFill>
              <a:prstDash val="solid"/>
            </a:ln>
            <a:effectLst/>
          </p:spPr>
        </p:cxnSp>
        <p:sp>
          <p:nvSpPr>
            <p:cNvPr id="631" name="TextBox 630">
              <a:extLst>
                <a:ext uri="{FF2B5EF4-FFF2-40B4-BE49-F238E27FC236}">
                  <a16:creationId xmlns:a16="http://schemas.microsoft.com/office/drawing/2014/main" id="{584135C7-F81A-4BEB-8B4B-2BA44A35C306}"/>
                </a:ext>
              </a:extLst>
            </p:cNvPr>
            <p:cNvSpPr txBox="1"/>
            <p:nvPr/>
          </p:nvSpPr>
          <p:spPr>
            <a:xfrm rot="16200000">
              <a:off x="-323106" y="2474486"/>
              <a:ext cx="1106393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Расстояние (м)</a:t>
              </a:r>
            </a:p>
          </p:txBody>
        </p:sp>
        <p:sp>
          <p:nvSpPr>
            <p:cNvPr id="632" name="TextBox 631">
              <a:extLst>
                <a:ext uri="{FF2B5EF4-FFF2-40B4-BE49-F238E27FC236}">
                  <a16:creationId xmlns:a16="http://schemas.microsoft.com/office/drawing/2014/main" id="{7B106C6B-984F-4F3D-ADA8-9678889C9AAE}"/>
                </a:ext>
              </a:extLst>
            </p:cNvPr>
            <p:cNvSpPr txBox="1"/>
            <p:nvPr/>
          </p:nvSpPr>
          <p:spPr>
            <a:xfrm>
              <a:off x="452192" y="3297804"/>
              <a:ext cx="255198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0</a:t>
              </a:r>
            </a:p>
          </p:txBody>
        </p:sp>
        <p:sp>
          <p:nvSpPr>
            <p:cNvPr id="633" name="TextBox 632">
              <a:extLst>
                <a:ext uri="{FF2B5EF4-FFF2-40B4-BE49-F238E27FC236}">
                  <a16:creationId xmlns:a16="http://schemas.microsoft.com/office/drawing/2014/main" id="{FBA6413D-EA2E-4697-9D96-6DB11DE5B5A6}"/>
                </a:ext>
              </a:extLst>
            </p:cNvPr>
            <p:cNvSpPr txBox="1"/>
            <p:nvPr/>
          </p:nvSpPr>
          <p:spPr>
            <a:xfrm>
              <a:off x="311128" y="2859018"/>
              <a:ext cx="396262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200</a:t>
              </a:r>
            </a:p>
          </p:txBody>
        </p:sp>
        <p:sp>
          <p:nvSpPr>
            <p:cNvPr id="634" name="TextBox 633">
              <a:extLst>
                <a:ext uri="{FF2B5EF4-FFF2-40B4-BE49-F238E27FC236}">
                  <a16:creationId xmlns:a16="http://schemas.microsoft.com/office/drawing/2014/main" id="{1DB8D022-C56F-4A8B-991B-7795422BE808}"/>
                </a:ext>
              </a:extLst>
            </p:cNvPr>
            <p:cNvSpPr txBox="1"/>
            <p:nvPr/>
          </p:nvSpPr>
          <p:spPr>
            <a:xfrm>
              <a:off x="311128" y="2400978"/>
              <a:ext cx="396262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400</a:t>
              </a:r>
            </a:p>
          </p:txBody>
        </p:sp>
        <p:sp>
          <p:nvSpPr>
            <p:cNvPr id="635" name="TextBox 634">
              <a:extLst>
                <a:ext uri="{FF2B5EF4-FFF2-40B4-BE49-F238E27FC236}">
                  <a16:creationId xmlns:a16="http://schemas.microsoft.com/office/drawing/2014/main" id="{26225A5E-FA78-4E77-952E-33FB3386DE4D}"/>
                </a:ext>
              </a:extLst>
            </p:cNvPr>
            <p:cNvSpPr txBox="1"/>
            <p:nvPr/>
          </p:nvSpPr>
          <p:spPr>
            <a:xfrm>
              <a:off x="311128" y="1947612"/>
              <a:ext cx="396262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600</a:t>
              </a:r>
            </a:p>
          </p:txBody>
        </p:sp>
        <p:sp>
          <p:nvSpPr>
            <p:cNvPr id="636" name="Oval 635">
              <a:extLst>
                <a:ext uri="{FF2B5EF4-FFF2-40B4-BE49-F238E27FC236}">
                  <a16:creationId xmlns:a16="http://schemas.microsoft.com/office/drawing/2014/main" id="{D19B25F4-CC3D-4AE0-B573-109FB5DF632E}"/>
                </a:ext>
              </a:extLst>
            </p:cNvPr>
            <p:cNvSpPr/>
            <p:nvPr/>
          </p:nvSpPr>
          <p:spPr>
            <a:xfrm>
              <a:off x="842482" y="2603565"/>
              <a:ext cx="64065" cy="74153"/>
            </a:xfrm>
            <a:prstGeom prst="ellipse">
              <a:avLst/>
            </a:prstGeom>
            <a:solidFill>
              <a:srgbClr val="6EBD44"/>
            </a:solidFill>
            <a:ln w="25400" cap="flat" cmpd="sng" algn="ctr">
              <a:solidFill>
                <a:srgbClr val="6EBD44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endParaRPr>
            </a:p>
          </p:txBody>
        </p:sp>
        <p:cxnSp>
          <p:nvCxnSpPr>
            <p:cNvPr id="637" name="Straight Connector 636">
              <a:extLst>
                <a:ext uri="{FF2B5EF4-FFF2-40B4-BE49-F238E27FC236}">
                  <a16:creationId xmlns:a16="http://schemas.microsoft.com/office/drawing/2014/main" id="{45FE4D0D-45F1-4C96-8033-A354535C286C}"/>
                </a:ext>
              </a:extLst>
            </p:cNvPr>
            <p:cNvCxnSpPr/>
            <p:nvPr/>
          </p:nvCxnSpPr>
          <p:spPr>
            <a:xfrm rot="5400000">
              <a:off x="876201" y="2708555"/>
              <a:ext cx="0" cy="64065"/>
            </a:xfrm>
            <a:prstGeom prst="line">
              <a:avLst/>
            </a:prstGeom>
            <a:noFill/>
            <a:ln w="19050" cap="flat" cmpd="sng" algn="ctr">
              <a:solidFill>
                <a:srgbClr val="6EBD44"/>
              </a:solidFill>
              <a:prstDash val="solid"/>
            </a:ln>
            <a:effectLst/>
          </p:spPr>
        </p:cxnSp>
        <p:sp>
          <p:nvSpPr>
            <p:cNvPr id="638" name="Oval 637">
              <a:extLst>
                <a:ext uri="{FF2B5EF4-FFF2-40B4-BE49-F238E27FC236}">
                  <a16:creationId xmlns:a16="http://schemas.microsoft.com/office/drawing/2014/main" id="{7CB8A2D7-1F45-4E56-B7E5-EFE09AE50884}"/>
                </a:ext>
              </a:extLst>
            </p:cNvPr>
            <p:cNvSpPr/>
            <p:nvPr/>
          </p:nvSpPr>
          <p:spPr>
            <a:xfrm>
              <a:off x="1456156" y="2348865"/>
              <a:ext cx="64065" cy="74153"/>
            </a:xfrm>
            <a:prstGeom prst="ellipse">
              <a:avLst/>
            </a:prstGeom>
            <a:solidFill>
              <a:srgbClr val="6EBD44"/>
            </a:solidFill>
            <a:ln w="25400" cap="flat" cmpd="sng" algn="ctr">
              <a:solidFill>
                <a:srgbClr val="6EBD44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endParaRPr>
            </a:p>
          </p:txBody>
        </p:sp>
        <p:sp>
          <p:nvSpPr>
            <p:cNvPr id="639" name="Oval 638">
              <a:extLst>
                <a:ext uri="{FF2B5EF4-FFF2-40B4-BE49-F238E27FC236}">
                  <a16:creationId xmlns:a16="http://schemas.microsoft.com/office/drawing/2014/main" id="{8FC2CFBB-ABCD-4CB0-A196-C435F3CDBA8A}"/>
                </a:ext>
              </a:extLst>
            </p:cNvPr>
            <p:cNvSpPr/>
            <p:nvPr/>
          </p:nvSpPr>
          <p:spPr>
            <a:xfrm>
              <a:off x="1768346" y="2397306"/>
              <a:ext cx="64065" cy="74153"/>
            </a:xfrm>
            <a:prstGeom prst="ellipse">
              <a:avLst/>
            </a:prstGeom>
            <a:solidFill>
              <a:srgbClr val="6EBD44"/>
            </a:solidFill>
            <a:ln w="25400" cap="flat" cmpd="sng" algn="ctr">
              <a:solidFill>
                <a:srgbClr val="6EBD44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endParaRPr>
            </a:p>
          </p:txBody>
        </p:sp>
        <p:sp>
          <p:nvSpPr>
            <p:cNvPr id="640" name="Oval 639">
              <a:extLst>
                <a:ext uri="{FF2B5EF4-FFF2-40B4-BE49-F238E27FC236}">
                  <a16:creationId xmlns:a16="http://schemas.microsoft.com/office/drawing/2014/main" id="{2C260D93-D125-4073-8B1E-70BB4517416A}"/>
                </a:ext>
              </a:extLst>
            </p:cNvPr>
            <p:cNvSpPr/>
            <p:nvPr/>
          </p:nvSpPr>
          <p:spPr>
            <a:xfrm>
              <a:off x="2071514" y="2406670"/>
              <a:ext cx="64065" cy="74153"/>
            </a:xfrm>
            <a:prstGeom prst="ellipse">
              <a:avLst/>
            </a:prstGeom>
            <a:solidFill>
              <a:srgbClr val="6EBD44"/>
            </a:solidFill>
            <a:ln w="25400" cap="flat" cmpd="sng" algn="ctr">
              <a:solidFill>
                <a:srgbClr val="6EBD44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endParaRPr>
            </a:p>
          </p:txBody>
        </p:sp>
        <p:sp>
          <p:nvSpPr>
            <p:cNvPr id="641" name="Oval 640">
              <a:extLst>
                <a:ext uri="{FF2B5EF4-FFF2-40B4-BE49-F238E27FC236}">
                  <a16:creationId xmlns:a16="http://schemas.microsoft.com/office/drawing/2014/main" id="{6032D4D7-7CEE-4591-8A39-24A3EAB36D21}"/>
                </a:ext>
              </a:extLst>
            </p:cNvPr>
            <p:cNvSpPr/>
            <p:nvPr/>
          </p:nvSpPr>
          <p:spPr>
            <a:xfrm>
              <a:off x="2686923" y="2522614"/>
              <a:ext cx="64065" cy="74153"/>
            </a:xfrm>
            <a:prstGeom prst="ellipse">
              <a:avLst/>
            </a:prstGeom>
            <a:solidFill>
              <a:srgbClr val="6EBD44"/>
            </a:solidFill>
            <a:ln w="25400" cap="flat" cmpd="sng" algn="ctr">
              <a:solidFill>
                <a:srgbClr val="6EBD44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endParaRPr>
            </a:p>
          </p:txBody>
        </p:sp>
        <p:cxnSp>
          <p:nvCxnSpPr>
            <p:cNvPr id="642" name="Straight Connector 641">
              <a:extLst>
                <a:ext uri="{FF2B5EF4-FFF2-40B4-BE49-F238E27FC236}">
                  <a16:creationId xmlns:a16="http://schemas.microsoft.com/office/drawing/2014/main" id="{3668ED24-721B-485B-8DA2-01871BC7B165}"/>
                </a:ext>
              </a:extLst>
            </p:cNvPr>
            <p:cNvCxnSpPr/>
            <p:nvPr/>
          </p:nvCxnSpPr>
          <p:spPr>
            <a:xfrm>
              <a:off x="1490037" y="2267118"/>
              <a:ext cx="0" cy="235355"/>
            </a:xfrm>
            <a:prstGeom prst="line">
              <a:avLst/>
            </a:prstGeom>
            <a:solidFill>
              <a:srgbClr val="6EBD44"/>
            </a:solidFill>
            <a:ln w="19050" cap="flat" cmpd="sng" algn="ctr">
              <a:solidFill>
                <a:srgbClr val="6EBD44"/>
              </a:solidFill>
              <a:prstDash val="solid"/>
            </a:ln>
            <a:effectLst/>
          </p:spPr>
        </p:cxnSp>
        <p:cxnSp>
          <p:nvCxnSpPr>
            <p:cNvPr id="643" name="Straight Connector 642">
              <a:extLst>
                <a:ext uri="{FF2B5EF4-FFF2-40B4-BE49-F238E27FC236}">
                  <a16:creationId xmlns:a16="http://schemas.microsoft.com/office/drawing/2014/main" id="{77A3405F-461B-4440-B3D5-4B5B27262DBF}"/>
                </a:ext>
              </a:extLst>
            </p:cNvPr>
            <p:cNvCxnSpPr/>
            <p:nvPr/>
          </p:nvCxnSpPr>
          <p:spPr>
            <a:xfrm>
              <a:off x="1800082" y="2332067"/>
              <a:ext cx="776" cy="190219"/>
            </a:xfrm>
            <a:prstGeom prst="line">
              <a:avLst/>
            </a:prstGeom>
            <a:noFill/>
            <a:ln w="19050" cap="flat" cmpd="sng" algn="ctr">
              <a:solidFill>
                <a:srgbClr val="6EBD44"/>
              </a:solidFill>
              <a:prstDash val="solid"/>
            </a:ln>
            <a:effectLst/>
          </p:spPr>
        </p:cxnSp>
        <p:cxnSp>
          <p:nvCxnSpPr>
            <p:cNvPr id="644" name="Straight Connector 643">
              <a:extLst>
                <a:ext uri="{FF2B5EF4-FFF2-40B4-BE49-F238E27FC236}">
                  <a16:creationId xmlns:a16="http://schemas.microsoft.com/office/drawing/2014/main" id="{BB60463A-587A-4966-AEFD-8DB71E7578CB}"/>
                </a:ext>
              </a:extLst>
            </p:cNvPr>
            <p:cNvCxnSpPr/>
            <p:nvPr/>
          </p:nvCxnSpPr>
          <p:spPr>
            <a:xfrm flipH="1">
              <a:off x="2100176" y="2329292"/>
              <a:ext cx="438" cy="228908"/>
            </a:xfrm>
            <a:prstGeom prst="line">
              <a:avLst/>
            </a:prstGeom>
            <a:noFill/>
            <a:ln w="19050" cap="flat" cmpd="sng" algn="ctr">
              <a:solidFill>
                <a:srgbClr val="6EBD44"/>
              </a:solidFill>
              <a:prstDash val="solid"/>
            </a:ln>
            <a:effectLst/>
          </p:spPr>
        </p:cxnSp>
        <p:cxnSp>
          <p:nvCxnSpPr>
            <p:cNvPr id="645" name="Straight Connector 644">
              <a:extLst>
                <a:ext uri="{FF2B5EF4-FFF2-40B4-BE49-F238E27FC236}">
                  <a16:creationId xmlns:a16="http://schemas.microsoft.com/office/drawing/2014/main" id="{19A9EEA0-4073-42D4-9E01-3387936A29F1}"/>
                </a:ext>
              </a:extLst>
            </p:cNvPr>
            <p:cNvCxnSpPr/>
            <p:nvPr/>
          </p:nvCxnSpPr>
          <p:spPr>
            <a:xfrm flipH="1">
              <a:off x="2717220" y="2469539"/>
              <a:ext cx="1736" cy="177323"/>
            </a:xfrm>
            <a:prstGeom prst="line">
              <a:avLst/>
            </a:prstGeom>
            <a:noFill/>
            <a:ln w="19050" cap="flat" cmpd="sng" algn="ctr">
              <a:solidFill>
                <a:srgbClr val="6EBD44"/>
              </a:solidFill>
              <a:prstDash val="solid"/>
            </a:ln>
            <a:effectLst/>
          </p:spPr>
        </p:cxnSp>
        <p:cxnSp>
          <p:nvCxnSpPr>
            <p:cNvPr id="646" name="Straight Connector 645">
              <a:extLst>
                <a:ext uri="{FF2B5EF4-FFF2-40B4-BE49-F238E27FC236}">
                  <a16:creationId xmlns:a16="http://schemas.microsoft.com/office/drawing/2014/main" id="{855737FC-82E1-42CC-A879-7CF174C7364D}"/>
                </a:ext>
              </a:extLst>
            </p:cNvPr>
            <p:cNvCxnSpPr/>
            <p:nvPr/>
          </p:nvCxnSpPr>
          <p:spPr>
            <a:xfrm rot="5400000">
              <a:off x="1488188" y="2233046"/>
              <a:ext cx="0" cy="64065"/>
            </a:xfrm>
            <a:prstGeom prst="line">
              <a:avLst/>
            </a:prstGeom>
            <a:noFill/>
            <a:ln w="19050" cap="flat" cmpd="sng" algn="ctr">
              <a:solidFill>
                <a:srgbClr val="212121"/>
              </a:solidFill>
              <a:prstDash val="solid"/>
            </a:ln>
            <a:effectLst/>
          </p:spPr>
        </p:cxnSp>
        <p:cxnSp>
          <p:nvCxnSpPr>
            <p:cNvPr id="647" name="Straight Connector 646">
              <a:extLst>
                <a:ext uri="{FF2B5EF4-FFF2-40B4-BE49-F238E27FC236}">
                  <a16:creationId xmlns:a16="http://schemas.microsoft.com/office/drawing/2014/main" id="{050F2100-97C6-498A-85DD-07C27359F3F1}"/>
                </a:ext>
              </a:extLst>
            </p:cNvPr>
            <p:cNvCxnSpPr/>
            <p:nvPr/>
          </p:nvCxnSpPr>
          <p:spPr>
            <a:xfrm rot="5400000">
              <a:off x="2100176" y="2294858"/>
              <a:ext cx="0" cy="64065"/>
            </a:xfrm>
            <a:prstGeom prst="line">
              <a:avLst/>
            </a:prstGeom>
            <a:noFill/>
            <a:ln w="19050" cap="flat" cmpd="sng" algn="ctr">
              <a:solidFill>
                <a:srgbClr val="6EBD44"/>
              </a:solidFill>
              <a:prstDash val="solid"/>
            </a:ln>
            <a:effectLst/>
          </p:spPr>
        </p:cxnSp>
        <p:cxnSp>
          <p:nvCxnSpPr>
            <p:cNvPr id="648" name="Straight Connector 647">
              <a:extLst>
                <a:ext uri="{FF2B5EF4-FFF2-40B4-BE49-F238E27FC236}">
                  <a16:creationId xmlns:a16="http://schemas.microsoft.com/office/drawing/2014/main" id="{BE4FE06E-5B4C-45B4-AD86-0340A7B88497}"/>
                </a:ext>
              </a:extLst>
            </p:cNvPr>
            <p:cNvCxnSpPr/>
            <p:nvPr/>
          </p:nvCxnSpPr>
          <p:spPr>
            <a:xfrm rot="5400000">
              <a:off x="2100176" y="2526168"/>
              <a:ext cx="0" cy="64065"/>
            </a:xfrm>
            <a:prstGeom prst="line">
              <a:avLst/>
            </a:prstGeom>
            <a:noFill/>
            <a:ln w="19050" cap="flat" cmpd="sng" algn="ctr">
              <a:solidFill>
                <a:srgbClr val="6EBD44"/>
              </a:solidFill>
              <a:prstDash val="solid"/>
            </a:ln>
            <a:effectLst/>
          </p:spPr>
        </p:cxnSp>
        <p:cxnSp>
          <p:nvCxnSpPr>
            <p:cNvPr id="649" name="Straight Connector 648">
              <a:extLst>
                <a:ext uri="{FF2B5EF4-FFF2-40B4-BE49-F238E27FC236}">
                  <a16:creationId xmlns:a16="http://schemas.microsoft.com/office/drawing/2014/main" id="{329FE3CD-16F3-485A-8BCD-7DFD33731AE4}"/>
                </a:ext>
              </a:extLst>
            </p:cNvPr>
            <p:cNvCxnSpPr/>
            <p:nvPr/>
          </p:nvCxnSpPr>
          <p:spPr>
            <a:xfrm rot="5400000">
              <a:off x="1800378" y="2490253"/>
              <a:ext cx="0" cy="64065"/>
            </a:xfrm>
            <a:prstGeom prst="line">
              <a:avLst/>
            </a:prstGeom>
            <a:noFill/>
            <a:ln w="19050" cap="flat" cmpd="sng" algn="ctr">
              <a:solidFill>
                <a:srgbClr val="6EBD44"/>
              </a:solidFill>
              <a:prstDash val="solid"/>
            </a:ln>
            <a:effectLst/>
          </p:spPr>
        </p:cxnSp>
        <p:cxnSp>
          <p:nvCxnSpPr>
            <p:cNvPr id="650" name="Straight Connector 649">
              <a:extLst>
                <a:ext uri="{FF2B5EF4-FFF2-40B4-BE49-F238E27FC236}">
                  <a16:creationId xmlns:a16="http://schemas.microsoft.com/office/drawing/2014/main" id="{BAB0D1DF-4BFA-4669-B5B8-2D84A491E856}"/>
                </a:ext>
              </a:extLst>
            </p:cNvPr>
            <p:cNvCxnSpPr/>
            <p:nvPr/>
          </p:nvCxnSpPr>
          <p:spPr>
            <a:xfrm rot="5400000">
              <a:off x="1488188" y="2470441"/>
              <a:ext cx="0" cy="64065"/>
            </a:xfrm>
            <a:prstGeom prst="line">
              <a:avLst/>
            </a:prstGeom>
            <a:solidFill>
              <a:srgbClr val="6EBD44"/>
            </a:solidFill>
            <a:ln w="19050" cap="flat" cmpd="sng" algn="ctr">
              <a:solidFill>
                <a:srgbClr val="6EBD44"/>
              </a:solidFill>
              <a:prstDash val="solid"/>
            </a:ln>
            <a:effectLst/>
          </p:spPr>
        </p:cxnSp>
        <p:cxnSp>
          <p:nvCxnSpPr>
            <p:cNvPr id="651" name="Straight Connector 650">
              <a:extLst>
                <a:ext uri="{FF2B5EF4-FFF2-40B4-BE49-F238E27FC236}">
                  <a16:creationId xmlns:a16="http://schemas.microsoft.com/office/drawing/2014/main" id="{94E73B17-614E-4279-86AA-A480F8372AD8}"/>
                </a:ext>
              </a:extLst>
            </p:cNvPr>
            <p:cNvCxnSpPr/>
            <p:nvPr/>
          </p:nvCxnSpPr>
          <p:spPr>
            <a:xfrm rot="5400000">
              <a:off x="2720592" y="2437091"/>
              <a:ext cx="0" cy="64066"/>
            </a:xfrm>
            <a:prstGeom prst="line">
              <a:avLst/>
            </a:prstGeom>
            <a:noFill/>
            <a:ln w="19050" cap="flat" cmpd="sng" algn="ctr">
              <a:solidFill>
                <a:srgbClr val="6EBD44"/>
              </a:solidFill>
              <a:prstDash val="solid"/>
            </a:ln>
            <a:effectLst/>
          </p:spPr>
        </p:cxnSp>
        <p:cxnSp>
          <p:nvCxnSpPr>
            <p:cNvPr id="652" name="Straight Connector 651">
              <a:extLst>
                <a:ext uri="{FF2B5EF4-FFF2-40B4-BE49-F238E27FC236}">
                  <a16:creationId xmlns:a16="http://schemas.microsoft.com/office/drawing/2014/main" id="{F5DE4039-E1DB-43B2-85EF-CB93AD63474E}"/>
                </a:ext>
              </a:extLst>
            </p:cNvPr>
            <p:cNvCxnSpPr/>
            <p:nvPr/>
          </p:nvCxnSpPr>
          <p:spPr>
            <a:xfrm rot="5400000">
              <a:off x="2718957" y="2611963"/>
              <a:ext cx="0" cy="64066"/>
            </a:xfrm>
            <a:prstGeom prst="line">
              <a:avLst/>
            </a:prstGeom>
            <a:noFill/>
            <a:ln w="19050" cap="flat" cmpd="sng" algn="ctr">
              <a:solidFill>
                <a:srgbClr val="6EBD44"/>
              </a:solidFill>
              <a:prstDash val="solid"/>
            </a:ln>
            <a:effectLst/>
          </p:spPr>
        </p:cxnSp>
        <p:sp>
          <p:nvSpPr>
            <p:cNvPr id="653" name="Oval 652">
              <a:extLst>
                <a:ext uri="{FF2B5EF4-FFF2-40B4-BE49-F238E27FC236}">
                  <a16:creationId xmlns:a16="http://schemas.microsoft.com/office/drawing/2014/main" id="{EE6D3F19-F03C-43E0-A224-2C96F9C07702}"/>
                </a:ext>
              </a:extLst>
            </p:cNvPr>
            <p:cNvSpPr/>
            <p:nvPr/>
          </p:nvSpPr>
          <p:spPr>
            <a:xfrm>
              <a:off x="1152936" y="2264085"/>
              <a:ext cx="64065" cy="74153"/>
            </a:xfrm>
            <a:prstGeom prst="ellipse">
              <a:avLst/>
            </a:prstGeom>
            <a:solidFill>
              <a:srgbClr val="6EBD44"/>
            </a:solidFill>
            <a:ln w="25400" cap="flat" cmpd="sng" algn="ctr">
              <a:solidFill>
                <a:srgbClr val="6EBD44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endParaRPr>
            </a:p>
          </p:txBody>
        </p:sp>
        <p:cxnSp>
          <p:nvCxnSpPr>
            <p:cNvPr id="654" name="Straight Connector 653">
              <a:extLst>
                <a:ext uri="{FF2B5EF4-FFF2-40B4-BE49-F238E27FC236}">
                  <a16:creationId xmlns:a16="http://schemas.microsoft.com/office/drawing/2014/main" id="{32864BEB-C9D5-498D-BD49-467A3F80BEB0}"/>
                </a:ext>
              </a:extLst>
            </p:cNvPr>
            <p:cNvCxnSpPr/>
            <p:nvPr/>
          </p:nvCxnSpPr>
          <p:spPr>
            <a:xfrm>
              <a:off x="1182874" y="2235276"/>
              <a:ext cx="3658" cy="129499"/>
            </a:xfrm>
            <a:prstGeom prst="line">
              <a:avLst/>
            </a:prstGeom>
            <a:noFill/>
            <a:ln w="19050" cap="flat" cmpd="sng" algn="ctr">
              <a:solidFill>
                <a:srgbClr val="6EBD44"/>
              </a:solidFill>
              <a:prstDash val="solid"/>
            </a:ln>
            <a:effectLst/>
          </p:spPr>
        </p:cxnSp>
        <p:cxnSp>
          <p:nvCxnSpPr>
            <p:cNvPr id="655" name="Straight Connector 654">
              <a:extLst>
                <a:ext uri="{FF2B5EF4-FFF2-40B4-BE49-F238E27FC236}">
                  <a16:creationId xmlns:a16="http://schemas.microsoft.com/office/drawing/2014/main" id="{3DF96B40-5E60-4550-A154-4382B93BF0D3}"/>
                </a:ext>
              </a:extLst>
            </p:cNvPr>
            <p:cNvCxnSpPr/>
            <p:nvPr/>
          </p:nvCxnSpPr>
          <p:spPr>
            <a:xfrm rot="5400000">
              <a:off x="1183037" y="2205497"/>
              <a:ext cx="0" cy="64065"/>
            </a:xfrm>
            <a:prstGeom prst="line">
              <a:avLst/>
            </a:prstGeom>
            <a:noFill/>
            <a:ln w="19050" cap="flat" cmpd="sng" algn="ctr">
              <a:solidFill>
                <a:srgbClr val="6EBD44"/>
              </a:solidFill>
              <a:prstDash val="solid"/>
            </a:ln>
            <a:effectLst/>
          </p:spPr>
        </p:cxnSp>
        <p:cxnSp>
          <p:nvCxnSpPr>
            <p:cNvPr id="656" name="Straight Connector 655">
              <a:extLst>
                <a:ext uri="{FF2B5EF4-FFF2-40B4-BE49-F238E27FC236}">
                  <a16:creationId xmlns:a16="http://schemas.microsoft.com/office/drawing/2014/main" id="{7E498435-2453-43E2-9320-C5102EAF1EF3}"/>
                </a:ext>
              </a:extLst>
            </p:cNvPr>
            <p:cNvCxnSpPr/>
            <p:nvPr/>
          </p:nvCxnSpPr>
          <p:spPr>
            <a:xfrm rot="5400000">
              <a:off x="1183037" y="2332744"/>
              <a:ext cx="0" cy="64065"/>
            </a:xfrm>
            <a:prstGeom prst="line">
              <a:avLst/>
            </a:prstGeom>
            <a:noFill/>
            <a:ln w="19050" cap="flat" cmpd="sng" algn="ctr">
              <a:solidFill>
                <a:srgbClr val="6EBD44"/>
              </a:solidFill>
              <a:prstDash val="solid"/>
            </a:ln>
            <a:effectLst/>
          </p:spPr>
        </p:cxnSp>
        <p:sp>
          <p:nvSpPr>
            <p:cNvPr id="657" name="Freeform 241">
              <a:extLst>
                <a:ext uri="{FF2B5EF4-FFF2-40B4-BE49-F238E27FC236}">
                  <a16:creationId xmlns:a16="http://schemas.microsoft.com/office/drawing/2014/main" id="{16C48B47-74FA-4A69-BCAC-C138D8294CAF}"/>
                </a:ext>
              </a:extLst>
            </p:cNvPr>
            <p:cNvSpPr/>
            <p:nvPr/>
          </p:nvSpPr>
          <p:spPr>
            <a:xfrm>
              <a:off x="870778" y="2262826"/>
              <a:ext cx="1230495" cy="165261"/>
            </a:xfrm>
            <a:custGeom>
              <a:avLst/>
              <a:gdLst>
                <a:gd name="connsiteX0" fmla="*/ 0 w 1313761"/>
                <a:gd name="connsiteY0" fmla="*/ 184532 h 184532"/>
                <a:gd name="connsiteX1" fmla="*/ 341523 w 1313761"/>
                <a:gd name="connsiteY1" fmla="*/ 13771 h 184532"/>
                <a:gd name="connsiteX2" fmla="*/ 341523 w 1313761"/>
                <a:gd name="connsiteY2" fmla="*/ 16525 h 184532"/>
                <a:gd name="connsiteX3" fmla="*/ 672029 w 1313761"/>
                <a:gd name="connsiteY3" fmla="*/ 0 h 184532"/>
                <a:gd name="connsiteX4" fmla="*/ 1002535 w 1313761"/>
                <a:gd name="connsiteY4" fmla="*/ 123939 h 184532"/>
                <a:gd name="connsiteX5" fmla="*/ 1313761 w 1313761"/>
                <a:gd name="connsiteY5" fmla="*/ 181778 h 184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13761" h="184532">
                  <a:moveTo>
                    <a:pt x="0" y="184532"/>
                  </a:moveTo>
                  <a:lnTo>
                    <a:pt x="341523" y="13771"/>
                  </a:lnTo>
                  <a:lnTo>
                    <a:pt x="341523" y="16525"/>
                  </a:lnTo>
                  <a:lnTo>
                    <a:pt x="672029" y="0"/>
                  </a:lnTo>
                  <a:lnTo>
                    <a:pt x="1002535" y="123939"/>
                  </a:lnTo>
                  <a:lnTo>
                    <a:pt x="1313761" y="181778"/>
                  </a:lnTo>
                </a:path>
              </a:pathLst>
            </a:custGeom>
            <a:noFill/>
            <a:ln w="25400" cap="flat" cmpd="sng" algn="ctr">
              <a:solidFill>
                <a:srgbClr val="7E2E78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endParaRPr>
            </a:p>
          </p:txBody>
        </p:sp>
        <p:sp>
          <p:nvSpPr>
            <p:cNvPr id="658" name="Rectangle 657">
              <a:extLst>
                <a:ext uri="{FF2B5EF4-FFF2-40B4-BE49-F238E27FC236}">
                  <a16:creationId xmlns:a16="http://schemas.microsoft.com/office/drawing/2014/main" id="{22A6D21B-1119-4837-A792-DDFE86C0523D}"/>
                </a:ext>
              </a:extLst>
            </p:cNvPr>
            <p:cNvSpPr/>
            <p:nvPr/>
          </p:nvSpPr>
          <p:spPr>
            <a:xfrm>
              <a:off x="843708" y="2385669"/>
              <a:ext cx="64065" cy="70929"/>
            </a:xfrm>
            <a:prstGeom prst="rect">
              <a:avLst/>
            </a:prstGeom>
            <a:solidFill>
              <a:srgbClr val="7E2E78"/>
            </a:solidFill>
            <a:ln w="25400" cap="flat" cmpd="sng" algn="ctr">
              <a:solidFill>
                <a:srgbClr val="7E2E78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endParaRPr>
            </a:p>
          </p:txBody>
        </p:sp>
        <p:cxnSp>
          <p:nvCxnSpPr>
            <p:cNvPr id="659" name="Straight Connector 658">
              <a:extLst>
                <a:ext uri="{FF2B5EF4-FFF2-40B4-BE49-F238E27FC236}">
                  <a16:creationId xmlns:a16="http://schemas.microsoft.com/office/drawing/2014/main" id="{0791BEBB-9127-452C-A3A9-EFB88ACBE287}"/>
                </a:ext>
              </a:extLst>
            </p:cNvPr>
            <p:cNvCxnSpPr/>
            <p:nvPr/>
          </p:nvCxnSpPr>
          <p:spPr>
            <a:xfrm>
              <a:off x="876421" y="2326890"/>
              <a:ext cx="0" cy="206673"/>
            </a:xfrm>
            <a:prstGeom prst="line">
              <a:avLst/>
            </a:prstGeom>
            <a:noFill/>
            <a:ln w="19050" cap="flat" cmpd="sng" algn="ctr">
              <a:solidFill>
                <a:srgbClr val="7E2E78"/>
              </a:solidFill>
              <a:prstDash val="solid"/>
            </a:ln>
            <a:effectLst/>
          </p:spPr>
        </p:cxnSp>
        <p:cxnSp>
          <p:nvCxnSpPr>
            <p:cNvPr id="660" name="Straight Connector 659">
              <a:extLst>
                <a:ext uri="{FF2B5EF4-FFF2-40B4-BE49-F238E27FC236}">
                  <a16:creationId xmlns:a16="http://schemas.microsoft.com/office/drawing/2014/main" id="{F6C3107E-5CF8-4C91-945B-0B68659339A5}"/>
                </a:ext>
              </a:extLst>
            </p:cNvPr>
            <p:cNvCxnSpPr/>
            <p:nvPr/>
          </p:nvCxnSpPr>
          <p:spPr>
            <a:xfrm rot="5400000">
              <a:off x="876421" y="2500603"/>
              <a:ext cx="0" cy="64065"/>
            </a:xfrm>
            <a:prstGeom prst="line">
              <a:avLst/>
            </a:prstGeom>
            <a:noFill/>
            <a:ln w="19050" cap="flat" cmpd="sng" algn="ctr">
              <a:solidFill>
                <a:srgbClr val="7E2E78"/>
              </a:solidFill>
              <a:prstDash val="solid"/>
            </a:ln>
            <a:effectLst/>
          </p:spPr>
        </p:cxnSp>
        <p:cxnSp>
          <p:nvCxnSpPr>
            <p:cNvPr id="661" name="Straight Connector 660">
              <a:extLst>
                <a:ext uri="{FF2B5EF4-FFF2-40B4-BE49-F238E27FC236}">
                  <a16:creationId xmlns:a16="http://schemas.microsoft.com/office/drawing/2014/main" id="{2E02C99F-1D54-4D0E-BBAD-DFFEB5ECC11B}"/>
                </a:ext>
              </a:extLst>
            </p:cNvPr>
            <p:cNvCxnSpPr/>
            <p:nvPr/>
          </p:nvCxnSpPr>
          <p:spPr>
            <a:xfrm rot="5400000">
              <a:off x="1488188" y="2314310"/>
              <a:ext cx="0" cy="64065"/>
            </a:xfrm>
            <a:prstGeom prst="line">
              <a:avLst/>
            </a:prstGeom>
            <a:noFill/>
            <a:ln w="19050" cap="flat" cmpd="sng" algn="ctr">
              <a:solidFill>
                <a:srgbClr val="7E2E78"/>
              </a:solidFill>
              <a:prstDash val="solid"/>
            </a:ln>
            <a:effectLst/>
          </p:spPr>
        </p:cxnSp>
        <p:cxnSp>
          <p:nvCxnSpPr>
            <p:cNvPr id="662" name="Straight Connector 661">
              <a:extLst>
                <a:ext uri="{FF2B5EF4-FFF2-40B4-BE49-F238E27FC236}">
                  <a16:creationId xmlns:a16="http://schemas.microsoft.com/office/drawing/2014/main" id="{720857AE-1036-44C0-8BD1-BEF24F718615}"/>
                </a:ext>
              </a:extLst>
            </p:cNvPr>
            <p:cNvCxnSpPr/>
            <p:nvPr/>
          </p:nvCxnSpPr>
          <p:spPr>
            <a:xfrm rot="5400000">
              <a:off x="876421" y="2305431"/>
              <a:ext cx="0" cy="64065"/>
            </a:xfrm>
            <a:prstGeom prst="line">
              <a:avLst/>
            </a:prstGeom>
            <a:noFill/>
            <a:ln w="19050" cap="flat" cmpd="sng" algn="ctr">
              <a:solidFill>
                <a:srgbClr val="7E2E78"/>
              </a:solidFill>
              <a:prstDash val="solid"/>
            </a:ln>
            <a:effectLst/>
          </p:spPr>
        </p:cxnSp>
        <p:sp>
          <p:nvSpPr>
            <p:cNvPr id="663" name="Rectangle 662">
              <a:extLst>
                <a:ext uri="{FF2B5EF4-FFF2-40B4-BE49-F238E27FC236}">
                  <a16:creationId xmlns:a16="http://schemas.microsoft.com/office/drawing/2014/main" id="{BA3CAF18-77D8-4A5A-858B-9F9DF99F1088}"/>
                </a:ext>
              </a:extLst>
            </p:cNvPr>
            <p:cNvSpPr/>
            <p:nvPr/>
          </p:nvSpPr>
          <p:spPr>
            <a:xfrm>
              <a:off x="1146112" y="2247808"/>
              <a:ext cx="64065" cy="70929"/>
            </a:xfrm>
            <a:prstGeom prst="rect">
              <a:avLst/>
            </a:prstGeom>
            <a:solidFill>
              <a:srgbClr val="7E2E78"/>
            </a:solidFill>
            <a:ln w="25400" cap="flat" cmpd="sng" algn="ctr">
              <a:solidFill>
                <a:srgbClr val="7E2E78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endParaRPr>
            </a:p>
          </p:txBody>
        </p:sp>
        <p:sp>
          <p:nvSpPr>
            <p:cNvPr id="664" name="Rectangle 663">
              <a:extLst>
                <a:ext uri="{FF2B5EF4-FFF2-40B4-BE49-F238E27FC236}">
                  <a16:creationId xmlns:a16="http://schemas.microsoft.com/office/drawing/2014/main" id="{1DAB3F96-8230-4736-AD5F-93E253467E8F}"/>
                </a:ext>
              </a:extLst>
            </p:cNvPr>
            <p:cNvSpPr/>
            <p:nvPr/>
          </p:nvSpPr>
          <p:spPr>
            <a:xfrm>
              <a:off x="1456156" y="2231615"/>
              <a:ext cx="64065" cy="70929"/>
            </a:xfrm>
            <a:prstGeom prst="rect">
              <a:avLst/>
            </a:prstGeom>
            <a:solidFill>
              <a:srgbClr val="7E2E78"/>
            </a:solidFill>
            <a:ln w="25400" cap="flat" cmpd="sng" algn="ctr">
              <a:solidFill>
                <a:srgbClr val="7E2E78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endParaRPr>
            </a:p>
          </p:txBody>
        </p:sp>
        <p:cxnSp>
          <p:nvCxnSpPr>
            <p:cNvPr id="665" name="Straight Connector 664">
              <a:extLst>
                <a:ext uri="{FF2B5EF4-FFF2-40B4-BE49-F238E27FC236}">
                  <a16:creationId xmlns:a16="http://schemas.microsoft.com/office/drawing/2014/main" id="{867E7569-96F0-41DF-816B-A116ED1BEAEF}"/>
                </a:ext>
              </a:extLst>
            </p:cNvPr>
            <p:cNvCxnSpPr/>
            <p:nvPr/>
          </p:nvCxnSpPr>
          <p:spPr>
            <a:xfrm>
              <a:off x="1178144" y="2174305"/>
              <a:ext cx="0" cy="219558"/>
            </a:xfrm>
            <a:prstGeom prst="line">
              <a:avLst/>
            </a:prstGeom>
            <a:noFill/>
            <a:ln w="19050" cap="flat" cmpd="sng" algn="ctr">
              <a:solidFill>
                <a:srgbClr val="7E2E78"/>
              </a:solidFill>
              <a:prstDash val="solid"/>
            </a:ln>
            <a:effectLst/>
          </p:spPr>
        </p:cxnSp>
        <p:cxnSp>
          <p:nvCxnSpPr>
            <p:cNvPr id="666" name="Straight Connector 665">
              <a:extLst>
                <a:ext uri="{FF2B5EF4-FFF2-40B4-BE49-F238E27FC236}">
                  <a16:creationId xmlns:a16="http://schemas.microsoft.com/office/drawing/2014/main" id="{16E223AC-2C11-44E7-8A0C-162B2A54DBB1}"/>
                </a:ext>
              </a:extLst>
            </p:cNvPr>
            <p:cNvCxnSpPr/>
            <p:nvPr/>
          </p:nvCxnSpPr>
          <p:spPr>
            <a:xfrm>
              <a:off x="1488188" y="2174305"/>
              <a:ext cx="0" cy="171152"/>
            </a:xfrm>
            <a:prstGeom prst="line">
              <a:avLst/>
            </a:prstGeom>
            <a:noFill/>
            <a:ln w="19050" cap="flat" cmpd="sng" algn="ctr">
              <a:solidFill>
                <a:srgbClr val="7E2E78"/>
              </a:solidFill>
              <a:prstDash val="solid"/>
            </a:ln>
            <a:effectLst/>
          </p:spPr>
        </p:cxnSp>
        <p:cxnSp>
          <p:nvCxnSpPr>
            <p:cNvPr id="667" name="Straight Connector 666">
              <a:extLst>
                <a:ext uri="{FF2B5EF4-FFF2-40B4-BE49-F238E27FC236}">
                  <a16:creationId xmlns:a16="http://schemas.microsoft.com/office/drawing/2014/main" id="{B80F04FF-9528-40D2-9741-8FC6042167E5}"/>
                </a:ext>
              </a:extLst>
            </p:cNvPr>
            <p:cNvCxnSpPr/>
            <p:nvPr/>
          </p:nvCxnSpPr>
          <p:spPr>
            <a:xfrm>
              <a:off x="1796491" y="2283272"/>
              <a:ext cx="0" cy="151111"/>
            </a:xfrm>
            <a:prstGeom prst="line">
              <a:avLst/>
            </a:prstGeom>
            <a:noFill/>
            <a:ln w="19050" cap="flat" cmpd="sng" algn="ctr">
              <a:solidFill>
                <a:srgbClr val="7E2E78"/>
              </a:solidFill>
              <a:prstDash val="solid"/>
            </a:ln>
            <a:effectLst/>
          </p:spPr>
        </p:cxnSp>
        <p:cxnSp>
          <p:nvCxnSpPr>
            <p:cNvPr id="668" name="Straight Connector 667">
              <a:extLst>
                <a:ext uri="{FF2B5EF4-FFF2-40B4-BE49-F238E27FC236}">
                  <a16:creationId xmlns:a16="http://schemas.microsoft.com/office/drawing/2014/main" id="{EBA0A530-3A99-432F-99E1-36591C9AB349}"/>
                </a:ext>
              </a:extLst>
            </p:cNvPr>
            <p:cNvCxnSpPr/>
            <p:nvPr/>
          </p:nvCxnSpPr>
          <p:spPr>
            <a:xfrm rot="5400000">
              <a:off x="1178144" y="2350684"/>
              <a:ext cx="0" cy="64065"/>
            </a:xfrm>
            <a:prstGeom prst="line">
              <a:avLst/>
            </a:prstGeom>
            <a:noFill/>
            <a:ln w="19050" cap="flat" cmpd="sng" algn="ctr">
              <a:solidFill>
                <a:srgbClr val="7E2E78"/>
              </a:solidFill>
              <a:prstDash val="solid"/>
            </a:ln>
            <a:effectLst/>
          </p:spPr>
        </p:cxnSp>
        <p:cxnSp>
          <p:nvCxnSpPr>
            <p:cNvPr id="669" name="Straight Connector 668">
              <a:extLst>
                <a:ext uri="{FF2B5EF4-FFF2-40B4-BE49-F238E27FC236}">
                  <a16:creationId xmlns:a16="http://schemas.microsoft.com/office/drawing/2014/main" id="{F5DDC03A-7AD1-4C45-91C2-A1FCB091F8BC}"/>
                </a:ext>
              </a:extLst>
            </p:cNvPr>
            <p:cNvCxnSpPr/>
            <p:nvPr/>
          </p:nvCxnSpPr>
          <p:spPr>
            <a:xfrm rot="5400000">
              <a:off x="1178597" y="2142272"/>
              <a:ext cx="0" cy="64065"/>
            </a:xfrm>
            <a:prstGeom prst="line">
              <a:avLst/>
            </a:prstGeom>
            <a:noFill/>
            <a:ln w="19050" cap="flat" cmpd="sng" algn="ctr">
              <a:solidFill>
                <a:srgbClr val="7E2E78"/>
              </a:solidFill>
              <a:prstDash val="solid"/>
            </a:ln>
            <a:effectLst/>
          </p:spPr>
        </p:cxnSp>
        <p:cxnSp>
          <p:nvCxnSpPr>
            <p:cNvPr id="670" name="Straight Connector 669">
              <a:extLst>
                <a:ext uri="{FF2B5EF4-FFF2-40B4-BE49-F238E27FC236}">
                  <a16:creationId xmlns:a16="http://schemas.microsoft.com/office/drawing/2014/main" id="{BA1A56BF-0AFB-4D17-987C-D9C238CAD134}"/>
                </a:ext>
              </a:extLst>
            </p:cNvPr>
            <p:cNvCxnSpPr/>
            <p:nvPr/>
          </p:nvCxnSpPr>
          <p:spPr>
            <a:xfrm rot="5400000">
              <a:off x="1488188" y="2142272"/>
              <a:ext cx="0" cy="64065"/>
            </a:xfrm>
            <a:prstGeom prst="line">
              <a:avLst/>
            </a:prstGeom>
            <a:noFill/>
            <a:ln w="19050" cap="flat" cmpd="sng" algn="ctr">
              <a:solidFill>
                <a:srgbClr val="7E2E78"/>
              </a:solidFill>
              <a:prstDash val="solid"/>
            </a:ln>
            <a:effectLst/>
          </p:spPr>
        </p:cxnSp>
        <p:cxnSp>
          <p:nvCxnSpPr>
            <p:cNvPr id="671" name="Straight Connector 670">
              <a:extLst>
                <a:ext uri="{FF2B5EF4-FFF2-40B4-BE49-F238E27FC236}">
                  <a16:creationId xmlns:a16="http://schemas.microsoft.com/office/drawing/2014/main" id="{2E83DFD1-812B-4B0E-B927-F3ACABF95F47}"/>
                </a:ext>
              </a:extLst>
            </p:cNvPr>
            <p:cNvCxnSpPr/>
            <p:nvPr/>
          </p:nvCxnSpPr>
          <p:spPr>
            <a:xfrm rot="5400000">
              <a:off x="1796491" y="2402906"/>
              <a:ext cx="0" cy="64065"/>
            </a:xfrm>
            <a:prstGeom prst="line">
              <a:avLst/>
            </a:prstGeom>
            <a:noFill/>
            <a:ln w="19050" cap="flat" cmpd="sng" algn="ctr">
              <a:solidFill>
                <a:srgbClr val="7E2E78"/>
              </a:solidFill>
              <a:prstDash val="solid"/>
            </a:ln>
            <a:effectLst/>
          </p:spPr>
        </p:cxnSp>
        <p:cxnSp>
          <p:nvCxnSpPr>
            <p:cNvPr id="672" name="Straight Connector 671">
              <a:extLst>
                <a:ext uri="{FF2B5EF4-FFF2-40B4-BE49-F238E27FC236}">
                  <a16:creationId xmlns:a16="http://schemas.microsoft.com/office/drawing/2014/main" id="{E19BECF3-977B-41AA-BBE4-2D0D0473C3CD}"/>
                </a:ext>
              </a:extLst>
            </p:cNvPr>
            <p:cNvCxnSpPr/>
            <p:nvPr/>
          </p:nvCxnSpPr>
          <p:spPr>
            <a:xfrm rot="5400000">
              <a:off x="2105690" y="2294858"/>
              <a:ext cx="0" cy="64065"/>
            </a:xfrm>
            <a:prstGeom prst="line">
              <a:avLst/>
            </a:prstGeom>
            <a:noFill/>
            <a:ln w="19050" cap="flat" cmpd="sng" algn="ctr">
              <a:solidFill>
                <a:srgbClr val="7E2E78"/>
              </a:solidFill>
              <a:prstDash val="solid"/>
            </a:ln>
            <a:effectLst/>
          </p:spPr>
        </p:cxnSp>
        <p:sp>
          <p:nvSpPr>
            <p:cNvPr id="673" name="Rectangle 672">
              <a:extLst>
                <a:ext uri="{FF2B5EF4-FFF2-40B4-BE49-F238E27FC236}">
                  <a16:creationId xmlns:a16="http://schemas.microsoft.com/office/drawing/2014/main" id="{B3BC88A0-7E42-4E00-A080-65064A221B12}"/>
                </a:ext>
              </a:extLst>
            </p:cNvPr>
            <p:cNvSpPr/>
            <p:nvPr/>
          </p:nvSpPr>
          <p:spPr>
            <a:xfrm>
              <a:off x="2070489" y="2381684"/>
              <a:ext cx="64065" cy="70929"/>
            </a:xfrm>
            <a:prstGeom prst="rect">
              <a:avLst/>
            </a:prstGeom>
            <a:solidFill>
              <a:srgbClr val="7E2E78"/>
            </a:solidFill>
            <a:ln w="25400" cap="flat" cmpd="sng" algn="ctr">
              <a:solidFill>
                <a:srgbClr val="7E2E78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endParaRPr>
            </a:p>
          </p:txBody>
        </p:sp>
        <p:cxnSp>
          <p:nvCxnSpPr>
            <p:cNvPr id="674" name="Straight Connector 673">
              <a:extLst>
                <a:ext uri="{FF2B5EF4-FFF2-40B4-BE49-F238E27FC236}">
                  <a16:creationId xmlns:a16="http://schemas.microsoft.com/office/drawing/2014/main" id="{092F2286-4773-4F08-B104-3205A525A791}"/>
                </a:ext>
              </a:extLst>
            </p:cNvPr>
            <p:cNvCxnSpPr/>
            <p:nvPr/>
          </p:nvCxnSpPr>
          <p:spPr>
            <a:xfrm>
              <a:off x="2104743" y="2326890"/>
              <a:ext cx="0" cy="195703"/>
            </a:xfrm>
            <a:prstGeom prst="line">
              <a:avLst/>
            </a:prstGeom>
            <a:noFill/>
            <a:ln w="19050" cap="flat" cmpd="sng" algn="ctr">
              <a:solidFill>
                <a:srgbClr val="7E2E78"/>
              </a:solidFill>
              <a:prstDash val="solid"/>
            </a:ln>
            <a:effectLst/>
          </p:spPr>
        </p:cxnSp>
        <p:cxnSp>
          <p:nvCxnSpPr>
            <p:cNvPr id="675" name="Straight Connector 674">
              <a:extLst>
                <a:ext uri="{FF2B5EF4-FFF2-40B4-BE49-F238E27FC236}">
                  <a16:creationId xmlns:a16="http://schemas.microsoft.com/office/drawing/2014/main" id="{B9E69943-2E35-4ECB-9017-CCD9FF87DED8}"/>
                </a:ext>
              </a:extLst>
            </p:cNvPr>
            <p:cNvCxnSpPr/>
            <p:nvPr/>
          </p:nvCxnSpPr>
          <p:spPr>
            <a:xfrm rot="5400000">
              <a:off x="2105690" y="2484068"/>
              <a:ext cx="0" cy="64065"/>
            </a:xfrm>
            <a:prstGeom prst="line">
              <a:avLst/>
            </a:prstGeom>
            <a:noFill/>
            <a:ln w="19050" cap="flat" cmpd="sng" algn="ctr">
              <a:solidFill>
                <a:srgbClr val="7E2E78"/>
              </a:solidFill>
              <a:prstDash val="solid"/>
            </a:ln>
            <a:effectLst/>
          </p:spPr>
        </p:cxnSp>
        <p:cxnSp>
          <p:nvCxnSpPr>
            <p:cNvPr id="676" name="Straight Connector 675">
              <a:extLst>
                <a:ext uri="{FF2B5EF4-FFF2-40B4-BE49-F238E27FC236}">
                  <a16:creationId xmlns:a16="http://schemas.microsoft.com/office/drawing/2014/main" id="{657A17D4-7376-4DFD-BEA6-E111F43BF3FE}"/>
                </a:ext>
              </a:extLst>
            </p:cNvPr>
            <p:cNvCxnSpPr/>
            <p:nvPr/>
          </p:nvCxnSpPr>
          <p:spPr>
            <a:xfrm rot="5400000">
              <a:off x="1800082" y="2307983"/>
              <a:ext cx="0" cy="64065"/>
            </a:xfrm>
            <a:prstGeom prst="line">
              <a:avLst/>
            </a:prstGeom>
            <a:noFill/>
            <a:ln w="19050" cap="flat" cmpd="sng" algn="ctr">
              <a:solidFill>
                <a:srgbClr val="6EBD44"/>
              </a:solidFill>
              <a:prstDash val="solid"/>
            </a:ln>
            <a:effectLst/>
          </p:spPr>
        </p:cxnSp>
        <p:sp>
          <p:nvSpPr>
            <p:cNvPr id="677" name="Rectangle 676">
              <a:extLst>
                <a:ext uri="{FF2B5EF4-FFF2-40B4-BE49-F238E27FC236}">
                  <a16:creationId xmlns:a16="http://schemas.microsoft.com/office/drawing/2014/main" id="{0DA97E08-D85F-4108-A72A-506A7165B320}"/>
                </a:ext>
              </a:extLst>
            </p:cNvPr>
            <p:cNvSpPr/>
            <p:nvPr/>
          </p:nvSpPr>
          <p:spPr>
            <a:xfrm>
              <a:off x="1764459" y="2330621"/>
              <a:ext cx="64065" cy="70929"/>
            </a:xfrm>
            <a:prstGeom prst="rect">
              <a:avLst/>
            </a:prstGeom>
            <a:solidFill>
              <a:srgbClr val="7E2E78"/>
            </a:solidFill>
            <a:ln w="25400" cap="flat" cmpd="sng" algn="ctr">
              <a:solidFill>
                <a:srgbClr val="7E2E78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endParaRPr>
            </a:p>
          </p:txBody>
        </p:sp>
        <p:cxnSp>
          <p:nvCxnSpPr>
            <p:cNvPr id="678" name="Straight Connector 677">
              <a:extLst>
                <a:ext uri="{FF2B5EF4-FFF2-40B4-BE49-F238E27FC236}">
                  <a16:creationId xmlns:a16="http://schemas.microsoft.com/office/drawing/2014/main" id="{1896647A-7037-48BC-826A-5B209678CC34}"/>
                </a:ext>
              </a:extLst>
            </p:cNvPr>
            <p:cNvCxnSpPr/>
            <p:nvPr/>
          </p:nvCxnSpPr>
          <p:spPr>
            <a:xfrm rot="5400000">
              <a:off x="1796491" y="2252126"/>
              <a:ext cx="0" cy="64065"/>
            </a:xfrm>
            <a:prstGeom prst="line">
              <a:avLst/>
            </a:prstGeom>
            <a:noFill/>
            <a:ln w="19050" cap="flat" cmpd="sng" algn="ctr">
              <a:solidFill>
                <a:srgbClr val="7E2E78"/>
              </a:solidFill>
              <a:prstDash val="solid"/>
            </a:ln>
            <a:effectLst/>
          </p:spPr>
        </p:cxnSp>
        <p:sp>
          <p:nvSpPr>
            <p:cNvPr id="679" name="TextBox 678">
              <a:extLst>
                <a:ext uri="{FF2B5EF4-FFF2-40B4-BE49-F238E27FC236}">
                  <a16:creationId xmlns:a16="http://schemas.microsoft.com/office/drawing/2014/main" id="{2D5623C5-8D8F-4912-9FB9-6D259FE9D59C}"/>
                </a:ext>
              </a:extLst>
            </p:cNvPr>
            <p:cNvSpPr txBox="1"/>
            <p:nvPr/>
          </p:nvSpPr>
          <p:spPr>
            <a:xfrm>
              <a:off x="668598" y="3635586"/>
              <a:ext cx="196844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Arial" pitchFamily="34" charset="0"/>
                </a:rPr>
                <a:t>Продолжительность наблюдения (годы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518846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72184CA1-DF7E-4872-890B-773BD1F7B4B5}"/>
              </a:ext>
            </a:extLst>
          </p:cNvPr>
          <p:cNvSpPr txBox="1">
            <a:spLocks/>
          </p:cNvSpPr>
          <p:nvPr/>
        </p:nvSpPr>
        <p:spPr>
          <a:xfrm>
            <a:off x="532189" y="1016477"/>
            <a:ext cx="10972800" cy="114300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«Стабильного» пациента с ЛАГ не существует…</a:t>
            </a:r>
          </a:p>
        </p:txBody>
      </p:sp>
      <p:graphicFrame>
        <p:nvGraphicFramePr>
          <p:cNvPr id="3" name="Content Placeholder 4">
            <a:extLst>
              <a:ext uri="{FF2B5EF4-FFF2-40B4-BE49-F238E27FC236}">
                <a16:creationId xmlns:a16="http://schemas.microsoft.com/office/drawing/2014/main" id="{10249813-7B68-4E9D-88A7-63188D262E23}"/>
              </a:ext>
            </a:extLst>
          </p:cNvPr>
          <p:cNvGraphicFramePr>
            <a:graphicFrameLocks/>
          </p:cNvGraphicFramePr>
          <p:nvPr/>
        </p:nvGraphicFramePr>
        <p:xfrm>
          <a:off x="532189" y="1587977"/>
          <a:ext cx="109728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562D5955-C417-4C02-9462-C7E2E0A1DDA7}"/>
              </a:ext>
            </a:extLst>
          </p:cNvPr>
          <p:cNvSpPr txBox="1">
            <a:spLocks/>
          </p:cNvSpPr>
          <p:nvPr/>
        </p:nvSpPr>
        <p:spPr>
          <a:xfrm>
            <a:off x="171570" y="6527540"/>
            <a:ext cx="8034248" cy="258532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 i="0" kern="1200">
                <a:solidFill>
                  <a:srgbClr val="D9003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.  </a:t>
            </a:r>
            <a:r>
              <a:rPr kumimoji="0" lang="ru-RU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aliè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N, </a:t>
            </a:r>
            <a:r>
              <a:rPr kumimoji="0" lang="ru-RU" sz="9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t</a:t>
            </a:r>
            <a:r>
              <a:rPr kumimoji="0" lang="ru-RU" sz="9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9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l</a:t>
            </a:r>
            <a:r>
              <a:rPr kumimoji="0" lang="ru-RU" sz="9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kumimoji="0" lang="ru-RU" sz="9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ur</a:t>
            </a:r>
            <a:r>
              <a:rPr kumimoji="0" lang="ru-RU" sz="9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9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eart</a:t>
            </a:r>
            <a:r>
              <a:rPr kumimoji="0" lang="ru-RU" sz="9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J 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016; 37:67-119. 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77DCF510-BACE-448F-89C5-1D64531ACADC}"/>
              </a:ext>
            </a:extLst>
          </p:cNvPr>
          <p:cNvSpPr txBox="1">
            <a:spLocks/>
          </p:cNvSpPr>
          <p:nvPr/>
        </p:nvSpPr>
        <p:spPr>
          <a:xfrm>
            <a:off x="532189" y="2888599"/>
            <a:ext cx="11127622" cy="316835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«Стабильное» состояние характеризует прошедшее время, тогда как оценка риска позволяет заглянуть в будущее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«Стабильные» клинические показатели могут наблюдаться даже у пациентов с ухудшением функции ПЖ</a:t>
            </a:r>
            <a:endParaRPr kumimoji="0" lang="ru-RU" sz="2000" b="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Своевременное терапевтическое вмешательство может повлиять на прогрессирование ЛАГ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и отсутствии оценки риска оптимальные терапевтические решения могут быть упущены</a:t>
            </a:r>
          </a:p>
        </p:txBody>
      </p:sp>
    </p:spTree>
    <p:extLst>
      <p:ext uri="{BB962C8B-B14F-4D97-AF65-F5344CB8AC3E}">
        <p14:creationId xmlns:p14="http://schemas.microsoft.com/office/powerpoint/2010/main" val="21523862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Hider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Hider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FLAT" val="False"/>
  <p:tag name="NAME" val="1DoubleBoa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Quater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3Quater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y4aXJ.Ff5sY0TDY1KLT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bRtboKRGSPR7y3VYAIs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Hider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Hid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Hider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Hid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Hider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Hid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heme/theme1.xml><?xml version="1.0" encoding="utf-8"?>
<a:theme xmlns:a="http://schemas.openxmlformats.org/drawingml/2006/main" name="ACTELION">
  <a:themeElements>
    <a:clrScheme name="DRGA OPSUMIT">
      <a:dk1>
        <a:sysClr val="windowText" lastClr="000000"/>
      </a:dk1>
      <a:lt1>
        <a:srgbClr val="FFFFFF"/>
      </a:lt1>
      <a:dk2>
        <a:srgbClr val="808285"/>
      </a:dk2>
      <a:lt2>
        <a:srgbClr val="5160AB"/>
      </a:lt2>
      <a:accent1>
        <a:srgbClr val="7E84C5"/>
      </a:accent1>
      <a:accent2>
        <a:srgbClr val="00B9CD"/>
      </a:accent2>
      <a:accent3>
        <a:srgbClr val="CC0033"/>
      </a:accent3>
      <a:accent4>
        <a:srgbClr val="808285"/>
      </a:accent4>
      <a:accent5>
        <a:srgbClr val="66D5E1"/>
      </a:accent5>
      <a:accent6>
        <a:srgbClr val="E06685"/>
      </a:accent6>
      <a:hlink>
        <a:srgbClr val="00B9CD"/>
      </a:hlink>
      <a:folHlink>
        <a:srgbClr val="CC0033"/>
      </a:folHlink>
    </a:clrScheme>
    <a:fontScheme name="ACT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>
          <a:noFill/>
        </a:ln>
      </a:spPr>
      <a:bodyPr rtlCol="0" anchor="ctr"/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>
    <a:extraClrScheme>
      <a:clrScheme name="Actelion - Scarlet">
        <a:dk1>
          <a:sysClr val="windowText" lastClr="000000"/>
        </a:dk1>
        <a:lt1>
          <a:srgbClr val="FFFFFF"/>
        </a:lt1>
        <a:dk2>
          <a:srgbClr val="CF392A"/>
        </a:dk2>
        <a:lt2>
          <a:srgbClr val="611205"/>
        </a:lt2>
        <a:accent1>
          <a:srgbClr val="CF392A"/>
        </a:accent1>
        <a:accent2>
          <a:srgbClr val="F99900"/>
        </a:accent2>
        <a:accent3>
          <a:srgbClr val="75B843"/>
        </a:accent3>
        <a:accent4>
          <a:srgbClr val="319F86"/>
        </a:accent4>
        <a:accent5>
          <a:srgbClr val="28AFB5"/>
        </a:accent5>
        <a:accent6>
          <a:srgbClr val="2199B9"/>
        </a:accent6>
        <a:hlink>
          <a:srgbClr val="CF392A"/>
        </a:hlink>
        <a:folHlink>
          <a:srgbClr val="611205"/>
        </a:folHlink>
      </a:clrScheme>
    </a:extraClrScheme>
    <a:extraClrScheme>
      <a:clrScheme name="Actelion - Honey">
        <a:dk1>
          <a:sysClr val="windowText" lastClr="000000"/>
        </a:dk1>
        <a:lt1>
          <a:srgbClr val="FFFFFF"/>
        </a:lt1>
        <a:dk2>
          <a:srgbClr val="F99900"/>
        </a:dk2>
        <a:lt2>
          <a:srgbClr val="5B340B"/>
        </a:lt2>
        <a:accent1>
          <a:srgbClr val="F99900"/>
        </a:accent1>
        <a:accent2>
          <a:srgbClr val="75B843"/>
        </a:accent2>
        <a:accent3>
          <a:srgbClr val="319F86"/>
        </a:accent3>
        <a:accent4>
          <a:srgbClr val="28AFB5"/>
        </a:accent4>
        <a:accent5>
          <a:srgbClr val="2199B9"/>
        </a:accent5>
        <a:accent6>
          <a:srgbClr val="40539C"/>
        </a:accent6>
        <a:hlink>
          <a:srgbClr val="F99900"/>
        </a:hlink>
        <a:folHlink>
          <a:srgbClr val="5B340B"/>
        </a:folHlink>
      </a:clrScheme>
    </a:extraClrScheme>
    <a:extraClrScheme>
      <a:clrScheme name="Actelion - Mint">
        <a:dk1>
          <a:sysClr val="windowText" lastClr="000000"/>
        </a:dk1>
        <a:lt1>
          <a:srgbClr val="FFFFFF"/>
        </a:lt1>
        <a:dk2>
          <a:srgbClr val="75B843"/>
        </a:dk2>
        <a:lt2>
          <a:srgbClr val="122814"/>
        </a:lt2>
        <a:accent1>
          <a:srgbClr val="75B843"/>
        </a:accent1>
        <a:accent2>
          <a:srgbClr val="319F86"/>
        </a:accent2>
        <a:accent3>
          <a:srgbClr val="28AFB5"/>
        </a:accent3>
        <a:accent4>
          <a:srgbClr val="2199B9"/>
        </a:accent4>
        <a:accent5>
          <a:srgbClr val="40539C"/>
        </a:accent5>
        <a:accent6>
          <a:srgbClr val="6C3896"/>
        </a:accent6>
        <a:hlink>
          <a:srgbClr val="75B843"/>
        </a:hlink>
        <a:folHlink>
          <a:srgbClr val="122814"/>
        </a:folHlink>
      </a:clrScheme>
    </a:extraClrScheme>
    <a:extraClrScheme>
      <a:clrScheme name="Actelion - Teal">
        <a:dk1>
          <a:sysClr val="windowText" lastClr="000000"/>
        </a:dk1>
        <a:lt1>
          <a:srgbClr val="FFFFFF"/>
        </a:lt1>
        <a:dk2>
          <a:srgbClr val="319F86"/>
        </a:dk2>
        <a:lt2>
          <a:srgbClr val="003A2D"/>
        </a:lt2>
        <a:accent1>
          <a:srgbClr val="319F86"/>
        </a:accent1>
        <a:accent2>
          <a:srgbClr val="28AFB5"/>
        </a:accent2>
        <a:accent3>
          <a:srgbClr val="2199B9"/>
        </a:accent3>
        <a:accent4>
          <a:srgbClr val="40539C"/>
        </a:accent4>
        <a:accent5>
          <a:srgbClr val="6C3896"/>
        </a:accent5>
        <a:accent6>
          <a:srgbClr val="6F205A"/>
        </a:accent6>
        <a:hlink>
          <a:srgbClr val="319F86"/>
        </a:hlink>
        <a:folHlink>
          <a:srgbClr val="003A2D"/>
        </a:folHlink>
      </a:clrScheme>
    </a:extraClrScheme>
    <a:extraClrScheme>
      <a:clrScheme name="Actelion - Turquoise">
        <a:dk1>
          <a:sysClr val="windowText" lastClr="000000"/>
        </a:dk1>
        <a:lt1>
          <a:srgbClr val="FFFFFF"/>
        </a:lt1>
        <a:dk2>
          <a:srgbClr val="28AFB5"/>
        </a:dk2>
        <a:lt2>
          <a:srgbClr val="002C2E"/>
        </a:lt2>
        <a:accent1>
          <a:srgbClr val="28AFB5"/>
        </a:accent1>
        <a:accent2>
          <a:srgbClr val="2199B9"/>
        </a:accent2>
        <a:accent3>
          <a:srgbClr val="40539C"/>
        </a:accent3>
        <a:accent4>
          <a:srgbClr val="6C3896"/>
        </a:accent4>
        <a:accent5>
          <a:srgbClr val="6F205A"/>
        </a:accent5>
        <a:accent6>
          <a:srgbClr val="8F0F4A"/>
        </a:accent6>
        <a:hlink>
          <a:srgbClr val="28AFB5"/>
        </a:hlink>
        <a:folHlink>
          <a:srgbClr val="002C2E"/>
        </a:folHlink>
      </a:clrScheme>
    </a:extraClrScheme>
    <a:extraClrScheme>
      <a:clrScheme name="Actelion - Azure">
        <a:dk1>
          <a:sysClr val="windowText" lastClr="000000"/>
        </a:dk1>
        <a:lt1>
          <a:srgbClr val="FFFFFF"/>
        </a:lt1>
        <a:dk2>
          <a:srgbClr val="2199B9"/>
        </a:dk2>
        <a:lt2>
          <a:srgbClr val="00273F"/>
        </a:lt2>
        <a:accent1>
          <a:srgbClr val="2199B9"/>
        </a:accent1>
        <a:accent2>
          <a:srgbClr val="40539C"/>
        </a:accent2>
        <a:accent3>
          <a:srgbClr val="6C3896"/>
        </a:accent3>
        <a:accent4>
          <a:srgbClr val="6F205A"/>
        </a:accent4>
        <a:accent5>
          <a:srgbClr val="8F0F4A"/>
        </a:accent5>
        <a:accent6>
          <a:srgbClr val="CF392A"/>
        </a:accent6>
        <a:hlink>
          <a:srgbClr val="2199B9"/>
        </a:hlink>
        <a:folHlink>
          <a:srgbClr val="00273F"/>
        </a:folHlink>
      </a:clrScheme>
    </a:extraClrScheme>
    <a:extraClrScheme>
      <a:clrScheme name="Actelion - Indigo">
        <a:dk1>
          <a:sysClr val="windowText" lastClr="000000"/>
        </a:dk1>
        <a:lt1>
          <a:srgbClr val="FFFFFF"/>
        </a:lt1>
        <a:dk2>
          <a:srgbClr val="40539C"/>
        </a:dk2>
        <a:lt2>
          <a:srgbClr val="0F2439"/>
        </a:lt2>
        <a:accent1>
          <a:srgbClr val="40539C"/>
        </a:accent1>
        <a:accent2>
          <a:srgbClr val="6C3896"/>
        </a:accent2>
        <a:accent3>
          <a:srgbClr val="6F205A"/>
        </a:accent3>
        <a:accent4>
          <a:srgbClr val="8F0F4A"/>
        </a:accent4>
        <a:accent5>
          <a:srgbClr val="CF392A"/>
        </a:accent5>
        <a:accent6>
          <a:srgbClr val="F99900"/>
        </a:accent6>
        <a:hlink>
          <a:srgbClr val="40539C"/>
        </a:hlink>
        <a:folHlink>
          <a:srgbClr val="0F2439"/>
        </a:folHlink>
      </a:clrScheme>
    </a:extraClrScheme>
    <a:extraClrScheme>
      <a:clrScheme name="Actelion - Violet">
        <a:dk1>
          <a:sysClr val="windowText" lastClr="000000"/>
        </a:dk1>
        <a:lt1>
          <a:srgbClr val="FFFFFF"/>
        </a:lt1>
        <a:dk2>
          <a:srgbClr val="6C3896"/>
        </a:dk2>
        <a:lt2>
          <a:srgbClr val="2F173A"/>
        </a:lt2>
        <a:accent1>
          <a:srgbClr val="6C3896"/>
        </a:accent1>
        <a:accent2>
          <a:srgbClr val="6F205A"/>
        </a:accent2>
        <a:accent3>
          <a:srgbClr val="8F0F4A"/>
        </a:accent3>
        <a:accent4>
          <a:srgbClr val="CF392A"/>
        </a:accent4>
        <a:accent5>
          <a:srgbClr val="F99900"/>
        </a:accent5>
        <a:accent6>
          <a:srgbClr val="75B843"/>
        </a:accent6>
        <a:hlink>
          <a:srgbClr val="6C3896"/>
        </a:hlink>
        <a:folHlink>
          <a:srgbClr val="2F173A"/>
        </a:folHlink>
      </a:clrScheme>
    </a:extraClrScheme>
    <a:extraClrScheme>
      <a:clrScheme name="Actelion - Plum">
        <a:dk1>
          <a:sysClr val="windowText" lastClr="000000"/>
        </a:dk1>
        <a:lt1>
          <a:srgbClr val="FFFFFF"/>
        </a:lt1>
        <a:dk2>
          <a:srgbClr val="6F205A"/>
        </a:dk2>
        <a:lt2>
          <a:srgbClr val="3B1626"/>
        </a:lt2>
        <a:accent1>
          <a:srgbClr val="6F205A"/>
        </a:accent1>
        <a:accent2>
          <a:srgbClr val="8F0F4A"/>
        </a:accent2>
        <a:accent3>
          <a:srgbClr val="CF392A"/>
        </a:accent3>
        <a:accent4>
          <a:srgbClr val="F99900"/>
        </a:accent4>
        <a:accent5>
          <a:srgbClr val="75B843"/>
        </a:accent5>
        <a:accent6>
          <a:srgbClr val="319F86"/>
        </a:accent6>
        <a:hlink>
          <a:srgbClr val="6F205A"/>
        </a:hlink>
        <a:folHlink>
          <a:srgbClr val="3B1626"/>
        </a:folHlink>
      </a:clrScheme>
    </a:extraClrScheme>
    <a:extraClrScheme>
      <a:clrScheme name="Actelion - Grape">
        <a:dk1>
          <a:sysClr val="windowText" lastClr="000000"/>
        </a:dk1>
        <a:lt1>
          <a:srgbClr val="FFFFFF"/>
        </a:lt1>
        <a:dk2>
          <a:srgbClr val="8F0F4A"/>
        </a:dk2>
        <a:lt2>
          <a:srgbClr val="370918"/>
        </a:lt2>
        <a:accent1>
          <a:srgbClr val="8F0F4A"/>
        </a:accent1>
        <a:accent2>
          <a:srgbClr val="CF392A"/>
        </a:accent2>
        <a:accent3>
          <a:srgbClr val="F99900"/>
        </a:accent3>
        <a:accent4>
          <a:srgbClr val="75B843"/>
        </a:accent4>
        <a:accent5>
          <a:srgbClr val="319F86"/>
        </a:accent5>
        <a:accent6>
          <a:srgbClr val="28AFB5"/>
        </a:accent6>
        <a:hlink>
          <a:srgbClr val="8F0F4A"/>
        </a:hlink>
        <a:folHlink>
          <a:srgbClr val="370918"/>
        </a:folHlink>
      </a:clrScheme>
    </a:extraClrScheme>
  </a:extraClrSchemeLst>
  <a:extLst>
    <a:ext uri="{05A4C25C-085E-4340-85A3-A5531E510DB2}">
      <thm15:themeFamily xmlns:thm15="http://schemas.microsoft.com/office/thememl/2012/main" name="Actelion169_20170614(2).potx" id="{F84BF83A-8BCE-41EF-8AE4-200FCDD499D3}" vid="{C93DE386-145D-4DC1-8650-39409A487156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BL5719_CF">
  <a:themeElements>
    <a:clrScheme name="Custom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3479"/>
      </a:accent1>
      <a:accent2>
        <a:srgbClr val="00A0DF"/>
      </a:accent2>
      <a:accent3>
        <a:srgbClr val="1C75BC"/>
      </a:accent3>
      <a:accent4>
        <a:srgbClr val="349941"/>
      </a:accent4>
      <a:accent5>
        <a:srgbClr val="6EBD44"/>
      </a:accent5>
      <a:accent6>
        <a:srgbClr val="808080"/>
      </a:accent6>
      <a:hlink>
        <a:srgbClr val="1C75BC"/>
      </a:hlink>
      <a:folHlink>
        <a:srgbClr val="349941"/>
      </a:folHlink>
    </a:clrScheme>
    <a:fontScheme name="CURRE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003479"/>
        </a:accent1>
        <a:accent2>
          <a:srgbClr val="00A0DF"/>
        </a:accent2>
        <a:accent3>
          <a:srgbClr val="1C75BC"/>
        </a:accent3>
        <a:accent4>
          <a:srgbClr val="349941"/>
        </a:accent4>
        <a:accent5>
          <a:srgbClr val="6EBD44"/>
        </a:accent5>
        <a:accent6>
          <a:srgbClr val="808080"/>
        </a:accent6>
        <a:hlink>
          <a:srgbClr val="1C75BC"/>
        </a:hlink>
        <a:folHlink>
          <a:srgbClr val="34994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/>
  <a:extLst>
    <a:ext uri="{05A4C25C-085E-4340-85A3-A5531E510DB2}">
      <thm15:themeFamily xmlns:thm15="http://schemas.microsoft.com/office/thememl/2012/main" name="BL5719_CF.potx" id="{3009095A-BD4E-4BC3-BA3C-2E771F55152B}" vid="{2D024BC3-C684-4DA9-8B28-5E99B4ADFBB9}"/>
    </a:ext>
  </a:extLst>
</a:theme>
</file>

<file path=ppt/theme/theme3.xml><?xml version="1.0" encoding="utf-8"?>
<a:theme xmlns:a="http://schemas.openxmlformats.org/drawingml/2006/main" name="1_ACTELION">
  <a:themeElements>
    <a:clrScheme name="Custom 6">
      <a:dk1>
        <a:sysClr val="windowText" lastClr="000000"/>
      </a:dk1>
      <a:lt1>
        <a:srgbClr val="FFFFFF"/>
      </a:lt1>
      <a:dk2>
        <a:srgbClr val="006F44"/>
      </a:dk2>
      <a:lt2>
        <a:srgbClr val="FFD100"/>
      </a:lt2>
      <a:accent1>
        <a:srgbClr val="5F7577"/>
      </a:accent1>
      <a:accent2>
        <a:srgbClr val="80B69D"/>
      </a:accent2>
      <a:accent3>
        <a:srgbClr val="006F44"/>
      </a:accent3>
      <a:accent4>
        <a:srgbClr val="FFD000"/>
      </a:accent4>
      <a:accent5>
        <a:srgbClr val="2C5D73"/>
      </a:accent5>
      <a:accent6>
        <a:srgbClr val="569BBE"/>
      </a:accent6>
      <a:hlink>
        <a:srgbClr val="006F44"/>
      </a:hlink>
      <a:folHlink>
        <a:srgbClr val="006F44"/>
      </a:folHlink>
    </a:clrScheme>
    <a:fontScheme name="ACT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2F4F5"/>
        </a:solidFill>
        <a:ln>
          <a:noFill/>
        </a:ln>
      </a:spPr>
      <a:bodyPr vert="horz" wrap="square" lIns="180000" tIns="45720" rIns="91440" bIns="45720" numCol="1" anchor="ctr" anchorCtr="0" compatLnSpc="1">
        <a:prstTxWarp prst="textNoShape">
          <a:avLst/>
        </a:prstTxWarp>
      </a:bodyPr>
      <a:lstStyle>
        <a:defPPr>
          <a:defRPr sz="1400" baseline="30000" dirty="0">
            <a:solidFill>
              <a:schemeClr val="bg1"/>
            </a:solidFill>
          </a:defRPr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>
    <a:extraClrScheme>
      <a:clrScheme name="Actelion - Scarlet">
        <a:dk1>
          <a:sysClr val="windowText" lastClr="000000"/>
        </a:dk1>
        <a:lt1>
          <a:srgbClr val="FFFFFF"/>
        </a:lt1>
        <a:dk2>
          <a:srgbClr val="CF392A"/>
        </a:dk2>
        <a:lt2>
          <a:srgbClr val="611205"/>
        </a:lt2>
        <a:accent1>
          <a:srgbClr val="CF392A"/>
        </a:accent1>
        <a:accent2>
          <a:srgbClr val="F99900"/>
        </a:accent2>
        <a:accent3>
          <a:srgbClr val="75B843"/>
        </a:accent3>
        <a:accent4>
          <a:srgbClr val="319F86"/>
        </a:accent4>
        <a:accent5>
          <a:srgbClr val="28AFB5"/>
        </a:accent5>
        <a:accent6>
          <a:srgbClr val="2199B9"/>
        </a:accent6>
        <a:hlink>
          <a:srgbClr val="CF392A"/>
        </a:hlink>
        <a:folHlink>
          <a:srgbClr val="611205"/>
        </a:folHlink>
      </a:clrScheme>
    </a:extraClrScheme>
    <a:extraClrScheme>
      <a:clrScheme name="Actelion - Honey">
        <a:dk1>
          <a:sysClr val="windowText" lastClr="000000"/>
        </a:dk1>
        <a:lt1>
          <a:srgbClr val="FFFFFF"/>
        </a:lt1>
        <a:dk2>
          <a:srgbClr val="F99900"/>
        </a:dk2>
        <a:lt2>
          <a:srgbClr val="5B340B"/>
        </a:lt2>
        <a:accent1>
          <a:srgbClr val="F99900"/>
        </a:accent1>
        <a:accent2>
          <a:srgbClr val="75B843"/>
        </a:accent2>
        <a:accent3>
          <a:srgbClr val="319F86"/>
        </a:accent3>
        <a:accent4>
          <a:srgbClr val="28AFB5"/>
        </a:accent4>
        <a:accent5>
          <a:srgbClr val="2199B9"/>
        </a:accent5>
        <a:accent6>
          <a:srgbClr val="40539C"/>
        </a:accent6>
        <a:hlink>
          <a:srgbClr val="F99900"/>
        </a:hlink>
        <a:folHlink>
          <a:srgbClr val="5B340B"/>
        </a:folHlink>
      </a:clrScheme>
    </a:extraClrScheme>
    <a:extraClrScheme>
      <a:clrScheme name="Actelion - Mint">
        <a:dk1>
          <a:sysClr val="windowText" lastClr="000000"/>
        </a:dk1>
        <a:lt1>
          <a:srgbClr val="FFFFFF"/>
        </a:lt1>
        <a:dk2>
          <a:srgbClr val="75B843"/>
        </a:dk2>
        <a:lt2>
          <a:srgbClr val="122814"/>
        </a:lt2>
        <a:accent1>
          <a:srgbClr val="75B843"/>
        </a:accent1>
        <a:accent2>
          <a:srgbClr val="319F86"/>
        </a:accent2>
        <a:accent3>
          <a:srgbClr val="28AFB5"/>
        </a:accent3>
        <a:accent4>
          <a:srgbClr val="2199B9"/>
        </a:accent4>
        <a:accent5>
          <a:srgbClr val="40539C"/>
        </a:accent5>
        <a:accent6>
          <a:srgbClr val="6C3896"/>
        </a:accent6>
        <a:hlink>
          <a:srgbClr val="75B843"/>
        </a:hlink>
        <a:folHlink>
          <a:srgbClr val="122814"/>
        </a:folHlink>
      </a:clrScheme>
    </a:extraClrScheme>
    <a:extraClrScheme>
      <a:clrScheme name="Actelion - Teal">
        <a:dk1>
          <a:sysClr val="windowText" lastClr="000000"/>
        </a:dk1>
        <a:lt1>
          <a:srgbClr val="FFFFFF"/>
        </a:lt1>
        <a:dk2>
          <a:srgbClr val="319F86"/>
        </a:dk2>
        <a:lt2>
          <a:srgbClr val="003A2D"/>
        </a:lt2>
        <a:accent1>
          <a:srgbClr val="319F86"/>
        </a:accent1>
        <a:accent2>
          <a:srgbClr val="28AFB5"/>
        </a:accent2>
        <a:accent3>
          <a:srgbClr val="2199B9"/>
        </a:accent3>
        <a:accent4>
          <a:srgbClr val="40539C"/>
        </a:accent4>
        <a:accent5>
          <a:srgbClr val="6C3896"/>
        </a:accent5>
        <a:accent6>
          <a:srgbClr val="6F205A"/>
        </a:accent6>
        <a:hlink>
          <a:srgbClr val="319F86"/>
        </a:hlink>
        <a:folHlink>
          <a:srgbClr val="003A2D"/>
        </a:folHlink>
      </a:clrScheme>
    </a:extraClrScheme>
    <a:extraClrScheme>
      <a:clrScheme name="Actelion - Turquoise">
        <a:dk1>
          <a:sysClr val="windowText" lastClr="000000"/>
        </a:dk1>
        <a:lt1>
          <a:srgbClr val="FFFFFF"/>
        </a:lt1>
        <a:dk2>
          <a:srgbClr val="28AFB5"/>
        </a:dk2>
        <a:lt2>
          <a:srgbClr val="002C2E"/>
        </a:lt2>
        <a:accent1>
          <a:srgbClr val="28AFB5"/>
        </a:accent1>
        <a:accent2>
          <a:srgbClr val="2199B9"/>
        </a:accent2>
        <a:accent3>
          <a:srgbClr val="40539C"/>
        </a:accent3>
        <a:accent4>
          <a:srgbClr val="6C3896"/>
        </a:accent4>
        <a:accent5>
          <a:srgbClr val="6F205A"/>
        </a:accent5>
        <a:accent6>
          <a:srgbClr val="8F0F4A"/>
        </a:accent6>
        <a:hlink>
          <a:srgbClr val="28AFB5"/>
        </a:hlink>
        <a:folHlink>
          <a:srgbClr val="002C2E"/>
        </a:folHlink>
      </a:clrScheme>
    </a:extraClrScheme>
    <a:extraClrScheme>
      <a:clrScheme name="Actelion - Azure">
        <a:dk1>
          <a:sysClr val="windowText" lastClr="000000"/>
        </a:dk1>
        <a:lt1>
          <a:srgbClr val="FFFFFF"/>
        </a:lt1>
        <a:dk2>
          <a:srgbClr val="2199B9"/>
        </a:dk2>
        <a:lt2>
          <a:srgbClr val="00273F"/>
        </a:lt2>
        <a:accent1>
          <a:srgbClr val="2199B9"/>
        </a:accent1>
        <a:accent2>
          <a:srgbClr val="40539C"/>
        </a:accent2>
        <a:accent3>
          <a:srgbClr val="6C3896"/>
        </a:accent3>
        <a:accent4>
          <a:srgbClr val="6F205A"/>
        </a:accent4>
        <a:accent5>
          <a:srgbClr val="8F0F4A"/>
        </a:accent5>
        <a:accent6>
          <a:srgbClr val="CF392A"/>
        </a:accent6>
        <a:hlink>
          <a:srgbClr val="2199B9"/>
        </a:hlink>
        <a:folHlink>
          <a:srgbClr val="00273F"/>
        </a:folHlink>
      </a:clrScheme>
    </a:extraClrScheme>
    <a:extraClrScheme>
      <a:clrScheme name="Actelion - Indigo">
        <a:dk1>
          <a:sysClr val="windowText" lastClr="000000"/>
        </a:dk1>
        <a:lt1>
          <a:srgbClr val="FFFFFF"/>
        </a:lt1>
        <a:dk2>
          <a:srgbClr val="40539C"/>
        </a:dk2>
        <a:lt2>
          <a:srgbClr val="0F2439"/>
        </a:lt2>
        <a:accent1>
          <a:srgbClr val="40539C"/>
        </a:accent1>
        <a:accent2>
          <a:srgbClr val="6C3896"/>
        </a:accent2>
        <a:accent3>
          <a:srgbClr val="6F205A"/>
        </a:accent3>
        <a:accent4>
          <a:srgbClr val="8F0F4A"/>
        </a:accent4>
        <a:accent5>
          <a:srgbClr val="CF392A"/>
        </a:accent5>
        <a:accent6>
          <a:srgbClr val="F99900"/>
        </a:accent6>
        <a:hlink>
          <a:srgbClr val="40539C"/>
        </a:hlink>
        <a:folHlink>
          <a:srgbClr val="0F2439"/>
        </a:folHlink>
      </a:clrScheme>
    </a:extraClrScheme>
    <a:extraClrScheme>
      <a:clrScheme name="Actelion - Violet">
        <a:dk1>
          <a:sysClr val="windowText" lastClr="000000"/>
        </a:dk1>
        <a:lt1>
          <a:srgbClr val="FFFFFF"/>
        </a:lt1>
        <a:dk2>
          <a:srgbClr val="6C3896"/>
        </a:dk2>
        <a:lt2>
          <a:srgbClr val="2F173A"/>
        </a:lt2>
        <a:accent1>
          <a:srgbClr val="6C3896"/>
        </a:accent1>
        <a:accent2>
          <a:srgbClr val="6F205A"/>
        </a:accent2>
        <a:accent3>
          <a:srgbClr val="8F0F4A"/>
        </a:accent3>
        <a:accent4>
          <a:srgbClr val="CF392A"/>
        </a:accent4>
        <a:accent5>
          <a:srgbClr val="F99900"/>
        </a:accent5>
        <a:accent6>
          <a:srgbClr val="75B843"/>
        </a:accent6>
        <a:hlink>
          <a:srgbClr val="6C3896"/>
        </a:hlink>
        <a:folHlink>
          <a:srgbClr val="2F173A"/>
        </a:folHlink>
      </a:clrScheme>
    </a:extraClrScheme>
    <a:extraClrScheme>
      <a:clrScheme name="Actelion - Plum">
        <a:dk1>
          <a:sysClr val="windowText" lastClr="000000"/>
        </a:dk1>
        <a:lt1>
          <a:srgbClr val="FFFFFF"/>
        </a:lt1>
        <a:dk2>
          <a:srgbClr val="6F205A"/>
        </a:dk2>
        <a:lt2>
          <a:srgbClr val="3B1626"/>
        </a:lt2>
        <a:accent1>
          <a:srgbClr val="6F205A"/>
        </a:accent1>
        <a:accent2>
          <a:srgbClr val="8F0F4A"/>
        </a:accent2>
        <a:accent3>
          <a:srgbClr val="CF392A"/>
        </a:accent3>
        <a:accent4>
          <a:srgbClr val="F99900"/>
        </a:accent4>
        <a:accent5>
          <a:srgbClr val="75B843"/>
        </a:accent5>
        <a:accent6>
          <a:srgbClr val="319F86"/>
        </a:accent6>
        <a:hlink>
          <a:srgbClr val="6F205A"/>
        </a:hlink>
        <a:folHlink>
          <a:srgbClr val="3B1626"/>
        </a:folHlink>
      </a:clrScheme>
    </a:extraClrScheme>
    <a:extraClrScheme>
      <a:clrScheme name="Actelion - Grape">
        <a:dk1>
          <a:sysClr val="windowText" lastClr="000000"/>
        </a:dk1>
        <a:lt1>
          <a:srgbClr val="FFFFFF"/>
        </a:lt1>
        <a:dk2>
          <a:srgbClr val="8F0F4A"/>
        </a:dk2>
        <a:lt2>
          <a:srgbClr val="370918"/>
        </a:lt2>
        <a:accent1>
          <a:srgbClr val="8F0F4A"/>
        </a:accent1>
        <a:accent2>
          <a:srgbClr val="CF392A"/>
        </a:accent2>
        <a:accent3>
          <a:srgbClr val="F99900"/>
        </a:accent3>
        <a:accent4>
          <a:srgbClr val="75B843"/>
        </a:accent4>
        <a:accent5>
          <a:srgbClr val="319F86"/>
        </a:accent5>
        <a:accent6>
          <a:srgbClr val="28AFB5"/>
        </a:accent6>
        <a:hlink>
          <a:srgbClr val="8F0F4A"/>
        </a:hlink>
        <a:folHlink>
          <a:srgbClr val="370918"/>
        </a:folHlink>
      </a:clrScheme>
    </a:extraClrScheme>
  </a:extraClrSchemeLst>
  <a:extLst>
    <a:ext uri="{05A4C25C-085E-4340-85A3-A5531E510DB2}">
      <thm15:themeFamily xmlns:thm15="http://schemas.microsoft.com/office/thememl/2012/main" name="Actelion169_20170614(2).potx" id="{F84BF83A-8BCE-41EF-8AE4-200FCDD499D3}" vid="{C93DE386-145D-4DC1-8650-39409A487156}"/>
    </a:ext>
  </a:extLst>
</a:theme>
</file>

<file path=ppt/theme/theme4.xml><?xml version="1.0" encoding="utf-8"?>
<a:theme xmlns:a="http://schemas.openxmlformats.org/drawingml/2006/main" name="2_ACTELION">
  <a:themeElements>
    <a:clrScheme name="DRGA OPSUMIT">
      <a:dk1>
        <a:sysClr val="windowText" lastClr="000000"/>
      </a:dk1>
      <a:lt1>
        <a:srgbClr val="FFFFFF"/>
      </a:lt1>
      <a:dk2>
        <a:srgbClr val="808285"/>
      </a:dk2>
      <a:lt2>
        <a:srgbClr val="5160AB"/>
      </a:lt2>
      <a:accent1>
        <a:srgbClr val="7E84C5"/>
      </a:accent1>
      <a:accent2>
        <a:srgbClr val="00B9CD"/>
      </a:accent2>
      <a:accent3>
        <a:srgbClr val="CC0033"/>
      </a:accent3>
      <a:accent4>
        <a:srgbClr val="808285"/>
      </a:accent4>
      <a:accent5>
        <a:srgbClr val="66D5E1"/>
      </a:accent5>
      <a:accent6>
        <a:srgbClr val="E06685"/>
      </a:accent6>
      <a:hlink>
        <a:srgbClr val="00B9CD"/>
      </a:hlink>
      <a:folHlink>
        <a:srgbClr val="CC0033"/>
      </a:folHlink>
    </a:clrScheme>
    <a:fontScheme name="ACT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>
          <a:noFill/>
        </a:ln>
      </a:spPr>
      <a:bodyPr rtlCol="0" anchor="ctr"/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>
    <a:extraClrScheme>
      <a:clrScheme name="Actelion - Scarlet">
        <a:dk1>
          <a:sysClr val="windowText" lastClr="000000"/>
        </a:dk1>
        <a:lt1>
          <a:srgbClr val="FFFFFF"/>
        </a:lt1>
        <a:dk2>
          <a:srgbClr val="CF392A"/>
        </a:dk2>
        <a:lt2>
          <a:srgbClr val="611205"/>
        </a:lt2>
        <a:accent1>
          <a:srgbClr val="CF392A"/>
        </a:accent1>
        <a:accent2>
          <a:srgbClr val="F99900"/>
        </a:accent2>
        <a:accent3>
          <a:srgbClr val="75B843"/>
        </a:accent3>
        <a:accent4>
          <a:srgbClr val="319F86"/>
        </a:accent4>
        <a:accent5>
          <a:srgbClr val="28AFB5"/>
        </a:accent5>
        <a:accent6>
          <a:srgbClr val="2199B9"/>
        </a:accent6>
        <a:hlink>
          <a:srgbClr val="CF392A"/>
        </a:hlink>
        <a:folHlink>
          <a:srgbClr val="611205"/>
        </a:folHlink>
      </a:clrScheme>
    </a:extraClrScheme>
    <a:extraClrScheme>
      <a:clrScheme name="Actelion - Honey">
        <a:dk1>
          <a:sysClr val="windowText" lastClr="000000"/>
        </a:dk1>
        <a:lt1>
          <a:srgbClr val="FFFFFF"/>
        </a:lt1>
        <a:dk2>
          <a:srgbClr val="F99900"/>
        </a:dk2>
        <a:lt2>
          <a:srgbClr val="5B340B"/>
        </a:lt2>
        <a:accent1>
          <a:srgbClr val="F99900"/>
        </a:accent1>
        <a:accent2>
          <a:srgbClr val="75B843"/>
        </a:accent2>
        <a:accent3>
          <a:srgbClr val="319F86"/>
        </a:accent3>
        <a:accent4>
          <a:srgbClr val="28AFB5"/>
        </a:accent4>
        <a:accent5>
          <a:srgbClr val="2199B9"/>
        </a:accent5>
        <a:accent6>
          <a:srgbClr val="40539C"/>
        </a:accent6>
        <a:hlink>
          <a:srgbClr val="F99900"/>
        </a:hlink>
        <a:folHlink>
          <a:srgbClr val="5B340B"/>
        </a:folHlink>
      </a:clrScheme>
    </a:extraClrScheme>
    <a:extraClrScheme>
      <a:clrScheme name="Actelion - Mint">
        <a:dk1>
          <a:sysClr val="windowText" lastClr="000000"/>
        </a:dk1>
        <a:lt1>
          <a:srgbClr val="FFFFFF"/>
        </a:lt1>
        <a:dk2>
          <a:srgbClr val="75B843"/>
        </a:dk2>
        <a:lt2>
          <a:srgbClr val="122814"/>
        </a:lt2>
        <a:accent1>
          <a:srgbClr val="75B843"/>
        </a:accent1>
        <a:accent2>
          <a:srgbClr val="319F86"/>
        </a:accent2>
        <a:accent3>
          <a:srgbClr val="28AFB5"/>
        </a:accent3>
        <a:accent4>
          <a:srgbClr val="2199B9"/>
        </a:accent4>
        <a:accent5>
          <a:srgbClr val="40539C"/>
        </a:accent5>
        <a:accent6>
          <a:srgbClr val="6C3896"/>
        </a:accent6>
        <a:hlink>
          <a:srgbClr val="75B843"/>
        </a:hlink>
        <a:folHlink>
          <a:srgbClr val="122814"/>
        </a:folHlink>
      </a:clrScheme>
    </a:extraClrScheme>
    <a:extraClrScheme>
      <a:clrScheme name="Actelion - Teal">
        <a:dk1>
          <a:sysClr val="windowText" lastClr="000000"/>
        </a:dk1>
        <a:lt1>
          <a:srgbClr val="FFFFFF"/>
        </a:lt1>
        <a:dk2>
          <a:srgbClr val="319F86"/>
        </a:dk2>
        <a:lt2>
          <a:srgbClr val="003A2D"/>
        </a:lt2>
        <a:accent1>
          <a:srgbClr val="319F86"/>
        </a:accent1>
        <a:accent2>
          <a:srgbClr val="28AFB5"/>
        </a:accent2>
        <a:accent3>
          <a:srgbClr val="2199B9"/>
        </a:accent3>
        <a:accent4>
          <a:srgbClr val="40539C"/>
        </a:accent4>
        <a:accent5>
          <a:srgbClr val="6C3896"/>
        </a:accent5>
        <a:accent6>
          <a:srgbClr val="6F205A"/>
        </a:accent6>
        <a:hlink>
          <a:srgbClr val="319F86"/>
        </a:hlink>
        <a:folHlink>
          <a:srgbClr val="003A2D"/>
        </a:folHlink>
      </a:clrScheme>
    </a:extraClrScheme>
    <a:extraClrScheme>
      <a:clrScheme name="Actelion - Turquoise">
        <a:dk1>
          <a:sysClr val="windowText" lastClr="000000"/>
        </a:dk1>
        <a:lt1>
          <a:srgbClr val="FFFFFF"/>
        </a:lt1>
        <a:dk2>
          <a:srgbClr val="28AFB5"/>
        </a:dk2>
        <a:lt2>
          <a:srgbClr val="002C2E"/>
        </a:lt2>
        <a:accent1>
          <a:srgbClr val="28AFB5"/>
        </a:accent1>
        <a:accent2>
          <a:srgbClr val="2199B9"/>
        </a:accent2>
        <a:accent3>
          <a:srgbClr val="40539C"/>
        </a:accent3>
        <a:accent4>
          <a:srgbClr val="6C3896"/>
        </a:accent4>
        <a:accent5>
          <a:srgbClr val="6F205A"/>
        </a:accent5>
        <a:accent6>
          <a:srgbClr val="8F0F4A"/>
        </a:accent6>
        <a:hlink>
          <a:srgbClr val="28AFB5"/>
        </a:hlink>
        <a:folHlink>
          <a:srgbClr val="002C2E"/>
        </a:folHlink>
      </a:clrScheme>
    </a:extraClrScheme>
    <a:extraClrScheme>
      <a:clrScheme name="Actelion - Azure">
        <a:dk1>
          <a:sysClr val="windowText" lastClr="000000"/>
        </a:dk1>
        <a:lt1>
          <a:srgbClr val="FFFFFF"/>
        </a:lt1>
        <a:dk2>
          <a:srgbClr val="2199B9"/>
        </a:dk2>
        <a:lt2>
          <a:srgbClr val="00273F"/>
        </a:lt2>
        <a:accent1>
          <a:srgbClr val="2199B9"/>
        </a:accent1>
        <a:accent2>
          <a:srgbClr val="40539C"/>
        </a:accent2>
        <a:accent3>
          <a:srgbClr val="6C3896"/>
        </a:accent3>
        <a:accent4>
          <a:srgbClr val="6F205A"/>
        </a:accent4>
        <a:accent5>
          <a:srgbClr val="8F0F4A"/>
        </a:accent5>
        <a:accent6>
          <a:srgbClr val="CF392A"/>
        </a:accent6>
        <a:hlink>
          <a:srgbClr val="2199B9"/>
        </a:hlink>
        <a:folHlink>
          <a:srgbClr val="00273F"/>
        </a:folHlink>
      </a:clrScheme>
    </a:extraClrScheme>
    <a:extraClrScheme>
      <a:clrScheme name="Actelion - Indigo">
        <a:dk1>
          <a:sysClr val="windowText" lastClr="000000"/>
        </a:dk1>
        <a:lt1>
          <a:srgbClr val="FFFFFF"/>
        </a:lt1>
        <a:dk2>
          <a:srgbClr val="40539C"/>
        </a:dk2>
        <a:lt2>
          <a:srgbClr val="0F2439"/>
        </a:lt2>
        <a:accent1>
          <a:srgbClr val="40539C"/>
        </a:accent1>
        <a:accent2>
          <a:srgbClr val="6C3896"/>
        </a:accent2>
        <a:accent3>
          <a:srgbClr val="6F205A"/>
        </a:accent3>
        <a:accent4>
          <a:srgbClr val="8F0F4A"/>
        </a:accent4>
        <a:accent5>
          <a:srgbClr val="CF392A"/>
        </a:accent5>
        <a:accent6>
          <a:srgbClr val="F99900"/>
        </a:accent6>
        <a:hlink>
          <a:srgbClr val="40539C"/>
        </a:hlink>
        <a:folHlink>
          <a:srgbClr val="0F2439"/>
        </a:folHlink>
      </a:clrScheme>
    </a:extraClrScheme>
    <a:extraClrScheme>
      <a:clrScheme name="Actelion - Violet">
        <a:dk1>
          <a:sysClr val="windowText" lastClr="000000"/>
        </a:dk1>
        <a:lt1>
          <a:srgbClr val="FFFFFF"/>
        </a:lt1>
        <a:dk2>
          <a:srgbClr val="6C3896"/>
        </a:dk2>
        <a:lt2>
          <a:srgbClr val="2F173A"/>
        </a:lt2>
        <a:accent1>
          <a:srgbClr val="6C3896"/>
        </a:accent1>
        <a:accent2>
          <a:srgbClr val="6F205A"/>
        </a:accent2>
        <a:accent3>
          <a:srgbClr val="8F0F4A"/>
        </a:accent3>
        <a:accent4>
          <a:srgbClr val="CF392A"/>
        </a:accent4>
        <a:accent5>
          <a:srgbClr val="F99900"/>
        </a:accent5>
        <a:accent6>
          <a:srgbClr val="75B843"/>
        </a:accent6>
        <a:hlink>
          <a:srgbClr val="6C3896"/>
        </a:hlink>
        <a:folHlink>
          <a:srgbClr val="2F173A"/>
        </a:folHlink>
      </a:clrScheme>
    </a:extraClrScheme>
    <a:extraClrScheme>
      <a:clrScheme name="Actelion - Plum">
        <a:dk1>
          <a:sysClr val="windowText" lastClr="000000"/>
        </a:dk1>
        <a:lt1>
          <a:srgbClr val="FFFFFF"/>
        </a:lt1>
        <a:dk2>
          <a:srgbClr val="6F205A"/>
        </a:dk2>
        <a:lt2>
          <a:srgbClr val="3B1626"/>
        </a:lt2>
        <a:accent1>
          <a:srgbClr val="6F205A"/>
        </a:accent1>
        <a:accent2>
          <a:srgbClr val="8F0F4A"/>
        </a:accent2>
        <a:accent3>
          <a:srgbClr val="CF392A"/>
        </a:accent3>
        <a:accent4>
          <a:srgbClr val="F99900"/>
        </a:accent4>
        <a:accent5>
          <a:srgbClr val="75B843"/>
        </a:accent5>
        <a:accent6>
          <a:srgbClr val="319F86"/>
        </a:accent6>
        <a:hlink>
          <a:srgbClr val="6F205A"/>
        </a:hlink>
        <a:folHlink>
          <a:srgbClr val="3B1626"/>
        </a:folHlink>
      </a:clrScheme>
    </a:extraClrScheme>
    <a:extraClrScheme>
      <a:clrScheme name="Actelion - Grape">
        <a:dk1>
          <a:sysClr val="windowText" lastClr="000000"/>
        </a:dk1>
        <a:lt1>
          <a:srgbClr val="FFFFFF"/>
        </a:lt1>
        <a:dk2>
          <a:srgbClr val="8F0F4A"/>
        </a:dk2>
        <a:lt2>
          <a:srgbClr val="370918"/>
        </a:lt2>
        <a:accent1>
          <a:srgbClr val="8F0F4A"/>
        </a:accent1>
        <a:accent2>
          <a:srgbClr val="CF392A"/>
        </a:accent2>
        <a:accent3>
          <a:srgbClr val="F99900"/>
        </a:accent3>
        <a:accent4>
          <a:srgbClr val="75B843"/>
        </a:accent4>
        <a:accent5>
          <a:srgbClr val="319F86"/>
        </a:accent5>
        <a:accent6>
          <a:srgbClr val="28AFB5"/>
        </a:accent6>
        <a:hlink>
          <a:srgbClr val="8F0F4A"/>
        </a:hlink>
        <a:folHlink>
          <a:srgbClr val="370918"/>
        </a:folHlink>
      </a:clrScheme>
    </a:extraClrScheme>
  </a:extraClrSchemeLst>
  <a:extLst>
    <a:ext uri="{05A4C25C-085E-4340-85A3-A5531E510DB2}">
      <thm15:themeFamily xmlns:thm15="http://schemas.microsoft.com/office/thememl/2012/main" name="Actelion169_20170614(2).potx" id="{F84BF83A-8BCE-41EF-8AE4-200FCDD499D3}" vid="{C93DE386-145D-4DC1-8650-39409A487156}"/>
    </a:ext>
  </a:extLst>
</a:theme>
</file>

<file path=ppt/theme/theme5.xml><?xml version="1.0" encoding="utf-8"?>
<a:theme xmlns:a="http://schemas.openxmlformats.org/drawingml/2006/main" name="3_ACTELION">
  <a:themeElements>
    <a:clrScheme name="DRGA OPSUMIT">
      <a:dk1>
        <a:sysClr val="windowText" lastClr="000000"/>
      </a:dk1>
      <a:lt1>
        <a:srgbClr val="FFFFFF"/>
      </a:lt1>
      <a:dk2>
        <a:srgbClr val="808285"/>
      </a:dk2>
      <a:lt2>
        <a:srgbClr val="5160AB"/>
      </a:lt2>
      <a:accent1>
        <a:srgbClr val="7E84C5"/>
      </a:accent1>
      <a:accent2>
        <a:srgbClr val="00B9CD"/>
      </a:accent2>
      <a:accent3>
        <a:srgbClr val="CC0033"/>
      </a:accent3>
      <a:accent4>
        <a:srgbClr val="808285"/>
      </a:accent4>
      <a:accent5>
        <a:srgbClr val="66D5E1"/>
      </a:accent5>
      <a:accent6>
        <a:srgbClr val="E06685"/>
      </a:accent6>
      <a:hlink>
        <a:srgbClr val="00B9CD"/>
      </a:hlink>
      <a:folHlink>
        <a:srgbClr val="CC0033"/>
      </a:folHlink>
    </a:clrScheme>
    <a:fontScheme name="ACT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>
          <a:noFill/>
        </a:ln>
      </a:spPr>
      <a:bodyPr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>
    <a:extraClrScheme>
      <a:clrScheme name="Actelion - Scarlet">
        <a:dk1>
          <a:sysClr val="windowText" lastClr="000000"/>
        </a:dk1>
        <a:lt1>
          <a:srgbClr val="FFFFFF"/>
        </a:lt1>
        <a:dk2>
          <a:srgbClr val="CF392A"/>
        </a:dk2>
        <a:lt2>
          <a:srgbClr val="611205"/>
        </a:lt2>
        <a:accent1>
          <a:srgbClr val="CF392A"/>
        </a:accent1>
        <a:accent2>
          <a:srgbClr val="F99900"/>
        </a:accent2>
        <a:accent3>
          <a:srgbClr val="75B843"/>
        </a:accent3>
        <a:accent4>
          <a:srgbClr val="319F86"/>
        </a:accent4>
        <a:accent5>
          <a:srgbClr val="28AFB5"/>
        </a:accent5>
        <a:accent6>
          <a:srgbClr val="2199B9"/>
        </a:accent6>
        <a:hlink>
          <a:srgbClr val="CF392A"/>
        </a:hlink>
        <a:folHlink>
          <a:srgbClr val="611205"/>
        </a:folHlink>
      </a:clrScheme>
    </a:extraClrScheme>
    <a:extraClrScheme>
      <a:clrScheme name="Actelion - Honey">
        <a:dk1>
          <a:sysClr val="windowText" lastClr="000000"/>
        </a:dk1>
        <a:lt1>
          <a:srgbClr val="FFFFFF"/>
        </a:lt1>
        <a:dk2>
          <a:srgbClr val="F99900"/>
        </a:dk2>
        <a:lt2>
          <a:srgbClr val="5B340B"/>
        </a:lt2>
        <a:accent1>
          <a:srgbClr val="F99900"/>
        </a:accent1>
        <a:accent2>
          <a:srgbClr val="75B843"/>
        </a:accent2>
        <a:accent3>
          <a:srgbClr val="319F86"/>
        </a:accent3>
        <a:accent4>
          <a:srgbClr val="28AFB5"/>
        </a:accent4>
        <a:accent5>
          <a:srgbClr val="2199B9"/>
        </a:accent5>
        <a:accent6>
          <a:srgbClr val="40539C"/>
        </a:accent6>
        <a:hlink>
          <a:srgbClr val="F99900"/>
        </a:hlink>
        <a:folHlink>
          <a:srgbClr val="5B340B"/>
        </a:folHlink>
      </a:clrScheme>
    </a:extraClrScheme>
    <a:extraClrScheme>
      <a:clrScheme name="Actelion - Mint">
        <a:dk1>
          <a:sysClr val="windowText" lastClr="000000"/>
        </a:dk1>
        <a:lt1>
          <a:srgbClr val="FFFFFF"/>
        </a:lt1>
        <a:dk2>
          <a:srgbClr val="75B843"/>
        </a:dk2>
        <a:lt2>
          <a:srgbClr val="122814"/>
        </a:lt2>
        <a:accent1>
          <a:srgbClr val="75B843"/>
        </a:accent1>
        <a:accent2>
          <a:srgbClr val="319F86"/>
        </a:accent2>
        <a:accent3>
          <a:srgbClr val="28AFB5"/>
        </a:accent3>
        <a:accent4>
          <a:srgbClr val="2199B9"/>
        </a:accent4>
        <a:accent5>
          <a:srgbClr val="40539C"/>
        </a:accent5>
        <a:accent6>
          <a:srgbClr val="6C3896"/>
        </a:accent6>
        <a:hlink>
          <a:srgbClr val="75B843"/>
        </a:hlink>
        <a:folHlink>
          <a:srgbClr val="122814"/>
        </a:folHlink>
      </a:clrScheme>
    </a:extraClrScheme>
    <a:extraClrScheme>
      <a:clrScheme name="Actelion - Teal">
        <a:dk1>
          <a:sysClr val="windowText" lastClr="000000"/>
        </a:dk1>
        <a:lt1>
          <a:srgbClr val="FFFFFF"/>
        </a:lt1>
        <a:dk2>
          <a:srgbClr val="319F86"/>
        </a:dk2>
        <a:lt2>
          <a:srgbClr val="003A2D"/>
        </a:lt2>
        <a:accent1>
          <a:srgbClr val="319F86"/>
        </a:accent1>
        <a:accent2>
          <a:srgbClr val="28AFB5"/>
        </a:accent2>
        <a:accent3>
          <a:srgbClr val="2199B9"/>
        </a:accent3>
        <a:accent4>
          <a:srgbClr val="40539C"/>
        </a:accent4>
        <a:accent5>
          <a:srgbClr val="6C3896"/>
        </a:accent5>
        <a:accent6>
          <a:srgbClr val="6F205A"/>
        </a:accent6>
        <a:hlink>
          <a:srgbClr val="319F86"/>
        </a:hlink>
        <a:folHlink>
          <a:srgbClr val="003A2D"/>
        </a:folHlink>
      </a:clrScheme>
    </a:extraClrScheme>
    <a:extraClrScheme>
      <a:clrScheme name="Actelion - Turquoise">
        <a:dk1>
          <a:sysClr val="windowText" lastClr="000000"/>
        </a:dk1>
        <a:lt1>
          <a:srgbClr val="FFFFFF"/>
        </a:lt1>
        <a:dk2>
          <a:srgbClr val="28AFB5"/>
        </a:dk2>
        <a:lt2>
          <a:srgbClr val="002C2E"/>
        </a:lt2>
        <a:accent1>
          <a:srgbClr val="28AFB5"/>
        </a:accent1>
        <a:accent2>
          <a:srgbClr val="2199B9"/>
        </a:accent2>
        <a:accent3>
          <a:srgbClr val="40539C"/>
        </a:accent3>
        <a:accent4>
          <a:srgbClr val="6C3896"/>
        </a:accent4>
        <a:accent5>
          <a:srgbClr val="6F205A"/>
        </a:accent5>
        <a:accent6>
          <a:srgbClr val="8F0F4A"/>
        </a:accent6>
        <a:hlink>
          <a:srgbClr val="28AFB5"/>
        </a:hlink>
        <a:folHlink>
          <a:srgbClr val="002C2E"/>
        </a:folHlink>
      </a:clrScheme>
    </a:extraClrScheme>
    <a:extraClrScheme>
      <a:clrScheme name="Actelion - Azure">
        <a:dk1>
          <a:sysClr val="windowText" lastClr="000000"/>
        </a:dk1>
        <a:lt1>
          <a:srgbClr val="FFFFFF"/>
        </a:lt1>
        <a:dk2>
          <a:srgbClr val="2199B9"/>
        </a:dk2>
        <a:lt2>
          <a:srgbClr val="00273F"/>
        </a:lt2>
        <a:accent1>
          <a:srgbClr val="2199B9"/>
        </a:accent1>
        <a:accent2>
          <a:srgbClr val="40539C"/>
        </a:accent2>
        <a:accent3>
          <a:srgbClr val="6C3896"/>
        </a:accent3>
        <a:accent4>
          <a:srgbClr val="6F205A"/>
        </a:accent4>
        <a:accent5>
          <a:srgbClr val="8F0F4A"/>
        </a:accent5>
        <a:accent6>
          <a:srgbClr val="CF392A"/>
        </a:accent6>
        <a:hlink>
          <a:srgbClr val="2199B9"/>
        </a:hlink>
        <a:folHlink>
          <a:srgbClr val="00273F"/>
        </a:folHlink>
      </a:clrScheme>
    </a:extraClrScheme>
    <a:extraClrScheme>
      <a:clrScheme name="Actelion - Indigo">
        <a:dk1>
          <a:sysClr val="windowText" lastClr="000000"/>
        </a:dk1>
        <a:lt1>
          <a:srgbClr val="FFFFFF"/>
        </a:lt1>
        <a:dk2>
          <a:srgbClr val="40539C"/>
        </a:dk2>
        <a:lt2>
          <a:srgbClr val="0F2439"/>
        </a:lt2>
        <a:accent1>
          <a:srgbClr val="40539C"/>
        </a:accent1>
        <a:accent2>
          <a:srgbClr val="6C3896"/>
        </a:accent2>
        <a:accent3>
          <a:srgbClr val="6F205A"/>
        </a:accent3>
        <a:accent4>
          <a:srgbClr val="8F0F4A"/>
        </a:accent4>
        <a:accent5>
          <a:srgbClr val="CF392A"/>
        </a:accent5>
        <a:accent6>
          <a:srgbClr val="F99900"/>
        </a:accent6>
        <a:hlink>
          <a:srgbClr val="40539C"/>
        </a:hlink>
        <a:folHlink>
          <a:srgbClr val="0F2439"/>
        </a:folHlink>
      </a:clrScheme>
    </a:extraClrScheme>
    <a:extraClrScheme>
      <a:clrScheme name="Actelion - Violet">
        <a:dk1>
          <a:sysClr val="windowText" lastClr="000000"/>
        </a:dk1>
        <a:lt1>
          <a:srgbClr val="FFFFFF"/>
        </a:lt1>
        <a:dk2>
          <a:srgbClr val="6C3896"/>
        </a:dk2>
        <a:lt2>
          <a:srgbClr val="2F173A"/>
        </a:lt2>
        <a:accent1>
          <a:srgbClr val="6C3896"/>
        </a:accent1>
        <a:accent2>
          <a:srgbClr val="6F205A"/>
        </a:accent2>
        <a:accent3>
          <a:srgbClr val="8F0F4A"/>
        </a:accent3>
        <a:accent4>
          <a:srgbClr val="CF392A"/>
        </a:accent4>
        <a:accent5>
          <a:srgbClr val="F99900"/>
        </a:accent5>
        <a:accent6>
          <a:srgbClr val="75B843"/>
        </a:accent6>
        <a:hlink>
          <a:srgbClr val="6C3896"/>
        </a:hlink>
        <a:folHlink>
          <a:srgbClr val="2F173A"/>
        </a:folHlink>
      </a:clrScheme>
    </a:extraClrScheme>
    <a:extraClrScheme>
      <a:clrScheme name="Actelion - Plum">
        <a:dk1>
          <a:sysClr val="windowText" lastClr="000000"/>
        </a:dk1>
        <a:lt1>
          <a:srgbClr val="FFFFFF"/>
        </a:lt1>
        <a:dk2>
          <a:srgbClr val="6F205A"/>
        </a:dk2>
        <a:lt2>
          <a:srgbClr val="3B1626"/>
        </a:lt2>
        <a:accent1>
          <a:srgbClr val="6F205A"/>
        </a:accent1>
        <a:accent2>
          <a:srgbClr val="8F0F4A"/>
        </a:accent2>
        <a:accent3>
          <a:srgbClr val="CF392A"/>
        </a:accent3>
        <a:accent4>
          <a:srgbClr val="F99900"/>
        </a:accent4>
        <a:accent5>
          <a:srgbClr val="75B843"/>
        </a:accent5>
        <a:accent6>
          <a:srgbClr val="319F86"/>
        </a:accent6>
        <a:hlink>
          <a:srgbClr val="6F205A"/>
        </a:hlink>
        <a:folHlink>
          <a:srgbClr val="3B1626"/>
        </a:folHlink>
      </a:clrScheme>
    </a:extraClrScheme>
    <a:extraClrScheme>
      <a:clrScheme name="Actelion - Grape">
        <a:dk1>
          <a:sysClr val="windowText" lastClr="000000"/>
        </a:dk1>
        <a:lt1>
          <a:srgbClr val="FFFFFF"/>
        </a:lt1>
        <a:dk2>
          <a:srgbClr val="8F0F4A"/>
        </a:dk2>
        <a:lt2>
          <a:srgbClr val="370918"/>
        </a:lt2>
        <a:accent1>
          <a:srgbClr val="8F0F4A"/>
        </a:accent1>
        <a:accent2>
          <a:srgbClr val="CF392A"/>
        </a:accent2>
        <a:accent3>
          <a:srgbClr val="F99900"/>
        </a:accent3>
        <a:accent4>
          <a:srgbClr val="75B843"/>
        </a:accent4>
        <a:accent5>
          <a:srgbClr val="319F86"/>
        </a:accent5>
        <a:accent6>
          <a:srgbClr val="28AFB5"/>
        </a:accent6>
        <a:hlink>
          <a:srgbClr val="8F0F4A"/>
        </a:hlink>
        <a:folHlink>
          <a:srgbClr val="370918"/>
        </a:folHlink>
      </a:clrScheme>
    </a:extraClrScheme>
  </a:extraClrSchemeLst>
  <a:extLst>
    <a:ext uri="{05A4C25C-085E-4340-85A3-A5531E510DB2}">
      <thm15:themeFamily xmlns:thm15="http://schemas.microsoft.com/office/thememl/2012/main" name="Actelion169_20170614(2).potx" id="{F84BF83A-8BCE-41EF-8AE4-200FCDD499D3}" vid="{C93DE386-145D-4DC1-8650-39409A487156}"/>
    </a:ext>
  </a:extLst>
</a:theme>
</file>

<file path=ppt/theme/theme6.xml><?xml version="1.0" encoding="utf-8"?>
<a:theme xmlns:a="http://schemas.openxmlformats.org/drawingml/2006/main" name="4_ACTELION">
  <a:themeElements>
    <a:clrScheme name="Custom 6">
      <a:dk1>
        <a:sysClr val="windowText" lastClr="000000"/>
      </a:dk1>
      <a:lt1>
        <a:srgbClr val="FFFFFF"/>
      </a:lt1>
      <a:dk2>
        <a:srgbClr val="006F44"/>
      </a:dk2>
      <a:lt2>
        <a:srgbClr val="FFD100"/>
      </a:lt2>
      <a:accent1>
        <a:srgbClr val="5F7577"/>
      </a:accent1>
      <a:accent2>
        <a:srgbClr val="80B69D"/>
      </a:accent2>
      <a:accent3>
        <a:srgbClr val="006F44"/>
      </a:accent3>
      <a:accent4>
        <a:srgbClr val="FFD000"/>
      </a:accent4>
      <a:accent5>
        <a:srgbClr val="2C5D73"/>
      </a:accent5>
      <a:accent6>
        <a:srgbClr val="569BBE"/>
      </a:accent6>
      <a:hlink>
        <a:srgbClr val="006F44"/>
      </a:hlink>
      <a:folHlink>
        <a:srgbClr val="006F44"/>
      </a:folHlink>
    </a:clrScheme>
    <a:fontScheme name="ACT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2F4F5"/>
        </a:solidFill>
        <a:ln>
          <a:noFill/>
        </a:ln>
      </a:spPr>
      <a:bodyPr vert="horz" wrap="square" lIns="180000" tIns="45720" rIns="91440" bIns="45720" numCol="1" anchor="ctr" anchorCtr="0" compatLnSpc="1">
        <a:prstTxWarp prst="textNoShape">
          <a:avLst/>
        </a:prstTxWarp>
      </a:bodyPr>
      <a:lstStyle>
        <a:defPPr>
          <a:defRPr sz="1400" baseline="30000" dirty="0">
            <a:solidFill>
              <a:schemeClr val="bg1"/>
            </a:solidFill>
          </a:defRPr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>
    <a:extraClrScheme>
      <a:clrScheme name="Actelion - Scarlet">
        <a:dk1>
          <a:sysClr val="windowText" lastClr="000000"/>
        </a:dk1>
        <a:lt1>
          <a:srgbClr val="FFFFFF"/>
        </a:lt1>
        <a:dk2>
          <a:srgbClr val="CF392A"/>
        </a:dk2>
        <a:lt2>
          <a:srgbClr val="611205"/>
        </a:lt2>
        <a:accent1>
          <a:srgbClr val="CF392A"/>
        </a:accent1>
        <a:accent2>
          <a:srgbClr val="F99900"/>
        </a:accent2>
        <a:accent3>
          <a:srgbClr val="75B843"/>
        </a:accent3>
        <a:accent4>
          <a:srgbClr val="319F86"/>
        </a:accent4>
        <a:accent5>
          <a:srgbClr val="28AFB5"/>
        </a:accent5>
        <a:accent6>
          <a:srgbClr val="2199B9"/>
        </a:accent6>
        <a:hlink>
          <a:srgbClr val="CF392A"/>
        </a:hlink>
        <a:folHlink>
          <a:srgbClr val="611205"/>
        </a:folHlink>
      </a:clrScheme>
    </a:extraClrScheme>
    <a:extraClrScheme>
      <a:clrScheme name="Actelion - Honey">
        <a:dk1>
          <a:sysClr val="windowText" lastClr="000000"/>
        </a:dk1>
        <a:lt1>
          <a:srgbClr val="FFFFFF"/>
        </a:lt1>
        <a:dk2>
          <a:srgbClr val="F99900"/>
        </a:dk2>
        <a:lt2>
          <a:srgbClr val="5B340B"/>
        </a:lt2>
        <a:accent1>
          <a:srgbClr val="F99900"/>
        </a:accent1>
        <a:accent2>
          <a:srgbClr val="75B843"/>
        </a:accent2>
        <a:accent3>
          <a:srgbClr val="319F86"/>
        </a:accent3>
        <a:accent4>
          <a:srgbClr val="28AFB5"/>
        </a:accent4>
        <a:accent5>
          <a:srgbClr val="2199B9"/>
        </a:accent5>
        <a:accent6>
          <a:srgbClr val="40539C"/>
        </a:accent6>
        <a:hlink>
          <a:srgbClr val="F99900"/>
        </a:hlink>
        <a:folHlink>
          <a:srgbClr val="5B340B"/>
        </a:folHlink>
      </a:clrScheme>
    </a:extraClrScheme>
    <a:extraClrScheme>
      <a:clrScheme name="Actelion - Mint">
        <a:dk1>
          <a:sysClr val="windowText" lastClr="000000"/>
        </a:dk1>
        <a:lt1>
          <a:srgbClr val="FFFFFF"/>
        </a:lt1>
        <a:dk2>
          <a:srgbClr val="75B843"/>
        </a:dk2>
        <a:lt2>
          <a:srgbClr val="122814"/>
        </a:lt2>
        <a:accent1>
          <a:srgbClr val="75B843"/>
        </a:accent1>
        <a:accent2>
          <a:srgbClr val="319F86"/>
        </a:accent2>
        <a:accent3>
          <a:srgbClr val="28AFB5"/>
        </a:accent3>
        <a:accent4>
          <a:srgbClr val="2199B9"/>
        </a:accent4>
        <a:accent5>
          <a:srgbClr val="40539C"/>
        </a:accent5>
        <a:accent6>
          <a:srgbClr val="6C3896"/>
        </a:accent6>
        <a:hlink>
          <a:srgbClr val="75B843"/>
        </a:hlink>
        <a:folHlink>
          <a:srgbClr val="122814"/>
        </a:folHlink>
      </a:clrScheme>
    </a:extraClrScheme>
    <a:extraClrScheme>
      <a:clrScheme name="Actelion - Teal">
        <a:dk1>
          <a:sysClr val="windowText" lastClr="000000"/>
        </a:dk1>
        <a:lt1>
          <a:srgbClr val="FFFFFF"/>
        </a:lt1>
        <a:dk2>
          <a:srgbClr val="319F86"/>
        </a:dk2>
        <a:lt2>
          <a:srgbClr val="003A2D"/>
        </a:lt2>
        <a:accent1>
          <a:srgbClr val="319F86"/>
        </a:accent1>
        <a:accent2>
          <a:srgbClr val="28AFB5"/>
        </a:accent2>
        <a:accent3>
          <a:srgbClr val="2199B9"/>
        </a:accent3>
        <a:accent4>
          <a:srgbClr val="40539C"/>
        </a:accent4>
        <a:accent5>
          <a:srgbClr val="6C3896"/>
        </a:accent5>
        <a:accent6>
          <a:srgbClr val="6F205A"/>
        </a:accent6>
        <a:hlink>
          <a:srgbClr val="319F86"/>
        </a:hlink>
        <a:folHlink>
          <a:srgbClr val="003A2D"/>
        </a:folHlink>
      </a:clrScheme>
    </a:extraClrScheme>
    <a:extraClrScheme>
      <a:clrScheme name="Actelion - Turquoise">
        <a:dk1>
          <a:sysClr val="windowText" lastClr="000000"/>
        </a:dk1>
        <a:lt1>
          <a:srgbClr val="FFFFFF"/>
        </a:lt1>
        <a:dk2>
          <a:srgbClr val="28AFB5"/>
        </a:dk2>
        <a:lt2>
          <a:srgbClr val="002C2E"/>
        </a:lt2>
        <a:accent1>
          <a:srgbClr val="28AFB5"/>
        </a:accent1>
        <a:accent2>
          <a:srgbClr val="2199B9"/>
        </a:accent2>
        <a:accent3>
          <a:srgbClr val="40539C"/>
        </a:accent3>
        <a:accent4>
          <a:srgbClr val="6C3896"/>
        </a:accent4>
        <a:accent5>
          <a:srgbClr val="6F205A"/>
        </a:accent5>
        <a:accent6>
          <a:srgbClr val="8F0F4A"/>
        </a:accent6>
        <a:hlink>
          <a:srgbClr val="28AFB5"/>
        </a:hlink>
        <a:folHlink>
          <a:srgbClr val="002C2E"/>
        </a:folHlink>
      </a:clrScheme>
    </a:extraClrScheme>
    <a:extraClrScheme>
      <a:clrScheme name="Actelion - Azure">
        <a:dk1>
          <a:sysClr val="windowText" lastClr="000000"/>
        </a:dk1>
        <a:lt1>
          <a:srgbClr val="FFFFFF"/>
        </a:lt1>
        <a:dk2>
          <a:srgbClr val="2199B9"/>
        </a:dk2>
        <a:lt2>
          <a:srgbClr val="00273F"/>
        </a:lt2>
        <a:accent1>
          <a:srgbClr val="2199B9"/>
        </a:accent1>
        <a:accent2>
          <a:srgbClr val="40539C"/>
        </a:accent2>
        <a:accent3>
          <a:srgbClr val="6C3896"/>
        </a:accent3>
        <a:accent4>
          <a:srgbClr val="6F205A"/>
        </a:accent4>
        <a:accent5>
          <a:srgbClr val="8F0F4A"/>
        </a:accent5>
        <a:accent6>
          <a:srgbClr val="CF392A"/>
        </a:accent6>
        <a:hlink>
          <a:srgbClr val="2199B9"/>
        </a:hlink>
        <a:folHlink>
          <a:srgbClr val="00273F"/>
        </a:folHlink>
      </a:clrScheme>
    </a:extraClrScheme>
    <a:extraClrScheme>
      <a:clrScheme name="Actelion - Indigo">
        <a:dk1>
          <a:sysClr val="windowText" lastClr="000000"/>
        </a:dk1>
        <a:lt1>
          <a:srgbClr val="FFFFFF"/>
        </a:lt1>
        <a:dk2>
          <a:srgbClr val="40539C"/>
        </a:dk2>
        <a:lt2>
          <a:srgbClr val="0F2439"/>
        </a:lt2>
        <a:accent1>
          <a:srgbClr val="40539C"/>
        </a:accent1>
        <a:accent2>
          <a:srgbClr val="6C3896"/>
        </a:accent2>
        <a:accent3>
          <a:srgbClr val="6F205A"/>
        </a:accent3>
        <a:accent4>
          <a:srgbClr val="8F0F4A"/>
        </a:accent4>
        <a:accent5>
          <a:srgbClr val="CF392A"/>
        </a:accent5>
        <a:accent6>
          <a:srgbClr val="F99900"/>
        </a:accent6>
        <a:hlink>
          <a:srgbClr val="40539C"/>
        </a:hlink>
        <a:folHlink>
          <a:srgbClr val="0F2439"/>
        </a:folHlink>
      </a:clrScheme>
    </a:extraClrScheme>
    <a:extraClrScheme>
      <a:clrScheme name="Actelion - Violet">
        <a:dk1>
          <a:sysClr val="windowText" lastClr="000000"/>
        </a:dk1>
        <a:lt1>
          <a:srgbClr val="FFFFFF"/>
        </a:lt1>
        <a:dk2>
          <a:srgbClr val="6C3896"/>
        </a:dk2>
        <a:lt2>
          <a:srgbClr val="2F173A"/>
        </a:lt2>
        <a:accent1>
          <a:srgbClr val="6C3896"/>
        </a:accent1>
        <a:accent2>
          <a:srgbClr val="6F205A"/>
        </a:accent2>
        <a:accent3>
          <a:srgbClr val="8F0F4A"/>
        </a:accent3>
        <a:accent4>
          <a:srgbClr val="CF392A"/>
        </a:accent4>
        <a:accent5>
          <a:srgbClr val="F99900"/>
        </a:accent5>
        <a:accent6>
          <a:srgbClr val="75B843"/>
        </a:accent6>
        <a:hlink>
          <a:srgbClr val="6C3896"/>
        </a:hlink>
        <a:folHlink>
          <a:srgbClr val="2F173A"/>
        </a:folHlink>
      </a:clrScheme>
    </a:extraClrScheme>
    <a:extraClrScheme>
      <a:clrScheme name="Actelion - Plum">
        <a:dk1>
          <a:sysClr val="windowText" lastClr="000000"/>
        </a:dk1>
        <a:lt1>
          <a:srgbClr val="FFFFFF"/>
        </a:lt1>
        <a:dk2>
          <a:srgbClr val="6F205A"/>
        </a:dk2>
        <a:lt2>
          <a:srgbClr val="3B1626"/>
        </a:lt2>
        <a:accent1>
          <a:srgbClr val="6F205A"/>
        </a:accent1>
        <a:accent2>
          <a:srgbClr val="8F0F4A"/>
        </a:accent2>
        <a:accent3>
          <a:srgbClr val="CF392A"/>
        </a:accent3>
        <a:accent4>
          <a:srgbClr val="F99900"/>
        </a:accent4>
        <a:accent5>
          <a:srgbClr val="75B843"/>
        </a:accent5>
        <a:accent6>
          <a:srgbClr val="319F86"/>
        </a:accent6>
        <a:hlink>
          <a:srgbClr val="6F205A"/>
        </a:hlink>
        <a:folHlink>
          <a:srgbClr val="3B1626"/>
        </a:folHlink>
      </a:clrScheme>
    </a:extraClrScheme>
    <a:extraClrScheme>
      <a:clrScheme name="Actelion - Grape">
        <a:dk1>
          <a:sysClr val="windowText" lastClr="000000"/>
        </a:dk1>
        <a:lt1>
          <a:srgbClr val="FFFFFF"/>
        </a:lt1>
        <a:dk2>
          <a:srgbClr val="8F0F4A"/>
        </a:dk2>
        <a:lt2>
          <a:srgbClr val="370918"/>
        </a:lt2>
        <a:accent1>
          <a:srgbClr val="8F0F4A"/>
        </a:accent1>
        <a:accent2>
          <a:srgbClr val="CF392A"/>
        </a:accent2>
        <a:accent3>
          <a:srgbClr val="F99900"/>
        </a:accent3>
        <a:accent4>
          <a:srgbClr val="75B843"/>
        </a:accent4>
        <a:accent5>
          <a:srgbClr val="319F86"/>
        </a:accent5>
        <a:accent6>
          <a:srgbClr val="28AFB5"/>
        </a:accent6>
        <a:hlink>
          <a:srgbClr val="8F0F4A"/>
        </a:hlink>
        <a:folHlink>
          <a:srgbClr val="370918"/>
        </a:folHlink>
      </a:clrScheme>
    </a:extraClrScheme>
  </a:extraClrSchemeLst>
  <a:extLst>
    <a:ext uri="{05A4C25C-085E-4340-85A3-A5531E510DB2}">
      <thm15:themeFamily xmlns:thm15="http://schemas.microsoft.com/office/thememl/2012/main" name="Actelion169_20170614(2).potx" id="{F84BF83A-8BCE-41EF-8AE4-200FCDD499D3}" vid="{C93DE386-145D-4DC1-8650-39409A487156}"/>
    </a:ext>
  </a:extLst>
</a:theme>
</file>

<file path=ppt/theme/theme7.xml><?xml version="1.0" encoding="utf-8"?>
<a:theme xmlns:a="http://schemas.openxmlformats.org/drawingml/2006/main" name="1_Office Theme">
  <a:themeElements>
    <a:clrScheme name="Custom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CC0033"/>
      </a:accent1>
      <a:accent2>
        <a:srgbClr val="5160AB"/>
      </a:accent2>
      <a:accent3>
        <a:srgbClr val="00B9CD"/>
      </a:accent3>
      <a:accent4>
        <a:srgbClr val="7E84C5"/>
      </a:accent4>
      <a:accent5>
        <a:srgbClr val="4472C4"/>
      </a:accent5>
      <a:accent6>
        <a:srgbClr val="00B050"/>
      </a:accent6>
      <a:hlink>
        <a:srgbClr val="FF0000"/>
      </a:hlink>
      <a:folHlink>
        <a:srgbClr val="FFC000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solidFill>
            <a:srgbClr val="FFFF00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1_EMEA template">
  <a:themeElements>
    <a:clrScheme name="Actelion - Indigo">
      <a:dk1>
        <a:sysClr val="windowText" lastClr="000000"/>
      </a:dk1>
      <a:lt1>
        <a:srgbClr val="FFFFFF"/>
      </a:lt1>
      <a:dk2>
        <a:srgbClr val="40539C"/>
      </a:dk2>
      <a:lt2>
        <a:srgbClr val="0F2439"/>
      </a:lt2>
      <a:accent1>
        <a:srgbClr val="40539C"/>
      </a:accent1>
      <a:accent2>
        <a:srgbClr val="6C3896"/>
      </a:accent2>
      <a:accent3>
        <a:srgbClr val="6F205A"/>
      </a:accent3>
      <a:accent4>
        <a:srgbClr val="8F0F4A"/>
      </a:accent4>
      <a:accent5>
        <a:srgbClr val="CF392A"/>
      </a:accent5>
      <a:accent6>
        <a:srgbClr val="F99900"/>
      </a:accent6>
      <a:hlink>
        <a:srgbClr val="40539C"/>
      </a:hlink>
      <a:folHlink>
        <a:srgbClr val="0F2439"/>
      </a:folHlink>
    </a:clrScheme>
    <a:fontScheme name="ACT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 flip="none" rotWithShape="0">
          <a:gsLst>
            <a:gs pos="0">
              <a:schemeClr val="tx2"/>
            </a:gs>
            <a:gs pos="100000">
              <a:schemeClr val="bg2"/>
            </a:gs>
          </a:gsLst>
          <a:lin ang="2700000" scaled="0"/>
          <a:tileRect/>
        </a:gradFill>
        <a:ln w="3175">
          <a:noFill/>
        </a:ln>
      </a:spPr>
      <a:bodyPr rtlCol="0" anchor="ctr"/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>
    <a:extraClrScheme>
      <a:clrScheme name="Actelion - Scarlet">
        <a:dk1>
          <a:sysClr val="windowText" lastClr="000000"/>
        </a:dk1>
        <a:lt1>
          <a:srgbClr val="FFFFFF"/>
        </a:lt1>
        <a:dk2>
          <a:srgbClr val="CF392A"/>
        </a:dk2>
        <a:lt2>
          <a:srgbClr val="611205"/>
        </a:lt2>
        <a:accent1>
          <a:srgbClr val="CF392A"/>
        </a:accent1>
        <a:accent2>
          <a:srgbClr val="F99900"/>
        </a:accent2>
        <a:accent3>
          <a:srgbClr val="75B843"/>
        </a:accent3>
        <a:accent4>
          <a:srgbClr val="319F86"/>
        </a:accent4>
        <a:accent5>
          <a:srgbClr val="28AFB5"/>
        </a:accent5>
        <a:accent6>
          <a:srgbClr val="2199B9"/>
        </a:accent6>
        <a:hlink>
          <a:srgbClr val="CF392A"/>
        </a:hlink>
        <a:folHlink>
          <a:srgbClr val="611205"/>
        </a:folHlink>
      </a:clrScheme>
    </a:extraClrScheme>
    <a:extraClrScheme>
      <a:clrScheme name="Actelion - Honey">
        <a:dk1>
          <a:sysClr val="windowText" lastClr="000000"/>
        </a:dk1>
        <a:lt1>
          <a:srgbClr val="FFFFFF"/>
        </a:lt1>
        <a:dk2>
          <a:srgbClr val="F99900"/>
        </a:dk2>
        <a:lt2>
          <a:srgbClr val="5B340B"/>
        </a:lt2>
        <a:accent1>
          <a:srgbClr val="F99900"/>
        </a:accent1>
        <a:accent2>
          <a:srgbClr val="75B843"/>
        </a:accent2>
        <a:accent3>
          <a:srgbClr val="319F86"/>
        </a:accent3>
        <a:accent4>
          <a:srgbClr val="28AFB5"/>
        </a:accent4>
        <a:accent5>
          <a:srgbClr val="2199B9"/>
        </a:accent5>
        <a:accent6>
          <a:srgbClr val="40539C"/>
        </a:accent6>
        <a:hlink>
          <a:srgbClr val="F99900"/>
        </a:hlink>
        <a:folHlink>
          <a:srgbClr val="5B340B"/>
        </a:folHlink>
      </a:clrScheme>
    </a:extraClrScheme>
    <a:extraClrScheme>
      <a:clrScheme name="Actelion - Mint">
        <a:dk1>
          <a:sysClr val="windowText" lastClr="000000"/>
        </a:dk1>
        <a:lt1>
          <a:srgbClr val="FFFFFF"/>
        </a:lt1>
        <a:dk2>
          <a:srgbClr val="75B843"/>
        </a:dk2>
        <a:lt2>
          <a:srgbClr val="122814"/>
        </a:lt2>
        <a:accent1>
          <a:srgbClr val="75B843"/>
        </a:accent1>
        <a:accent2>
          <a:srgbClr val="319F86"/>
        </a:accent2>
        <a:accent3>
          <a:srgbClr val="28AFB5"/>
        </a:accent3>
        <a:accent4>
          <a:srgbClr val="2199B9"/>
        </a:accent4>
        <a:accent5>
          <a:srgbClr val="40539C"/>
        </a:accent5>
        <a:accent6>
          <a:srgbClr val="6C3896"/>
        </a:accent6>
        <a:hlink>
          <a:srgbClr val="75B843"/>
        </a:hlink>
        <a:folHlink>
          <a:srgbClr val="122814"/>
        </a:folHlink>
      </a:clrScheme>
    </a:extraClrScheme>
    <a:extraClrScheme>
      <a:clrScheme name="Actelion - Teal">
        <a:dk1>
          <a:sysClr val="windowText" lastClr="000000"/>
        </a:dk1>
        <a:lt1>
          <a:srgbClr val="FFFFFF"/>
        </a:lt1>
        <a:dk2>
          <a:srgbClr val="319F86"/>
        </a:dk2>
        <a:lt2>
          <a:srgbClr val="003A2D"/>
        </a:lt2>
        <a:accent1>
          <a:srgbClr val="319F86"/>
        </a:accent1>
        <a:accent2>
          <a:srgbClr val="28AFB5"/>
        </a:accent2>
        <a:accent3>
          <a:srgbClr val="2199B9"/>
        </a:accent3>
        <a:accent4>
          <a:srgbClr val="40539C"/>
        </a:accent4>
        <a:accent5>
          <a:srgbClr val="6C3896"/>
        </a:accent5>
        <a:accent6>
          <a:srgbClr val="6F205A"/>
        </a:accent6>
        <a:hlink>
          <a:srgbClr val="319F86"/>
        </a:hlink>
        <a:folHlink>
          <a:srgbClr val="003A2D"/>
        </a:folHlink>
      </a:clrScheme>
    </a:extraClrScheme>
    <a:extraClrScheme>
      <a:clrScheme name="Actelion - Turquoise">
        <a:dk1>
          <a:sysClr val="windowText" lastClr="000000"/>
        </a:dk1>
        <a:lt1>
          <a:srgbClr val="FFFFFF"/>
        </a:lt1>
        <a:dk2>
          <a:srgbClr val="28AFB5"/>
        </a:dk2>
        <a:lt2>
          <a:srgbClr val="002C2E"/>
        </a:lt2>
        <a:accent1>
          <a:srgbClr val="28AFB5"/>
        </a:accent1>
        <a:accent2>
          <a:srgbClr val="2199B9"/>
        </a:accent2>
        <a:accent3>
          <a:srgbClr val="40539C"/>
        </a:accent3>
        <a:accent4>
          <a:srgbClr val="6C3896"/>
        </a:accent4>
        <a:accent5>
          <a:srgbClr val="6F205A"/>
        </a:accent5>
        <a:accent6>
          <a:srgbClr val="8F0F4A"/>
        </a:accent6>
        <a:hlink>
          <a:srgbClr val="28AFB5"/>
        </a:hlink>
        <a:folHlink>
          <a:srgbClr val="002C2E"/>
        </a:folHlink>
      </a:clrScheme>
    </a:extraClrScheme>
    <a:extraClrScheme>
      <a:clrScheme name="Actelion - Azure">
        <a:dk1>
          <a:sysClr val="windowText" lastClr="000000"/>
        </a:dk1>
        <a:lt1>
          <a:srgbClr val="FFFFFF"/>
        </a:lt1>
        <a:dk2>
          <a:srgbClr val="2199B9"/>
        </a:dk2>
        <a:lt2>
          <a:srgbClr val="00273F"/>
        </a:lt2>
        <a:accent1>
          <a:srgbClr val="2199B9"/>
        </a:accent1>
        <a:accent2>
          <a:srgbClr val="40539C"/>
        </a:accent2>
        <a:accent3>
          <a:srgbClr val="6C3896"/>
        </a:accent3>
        <a:accent4>
          <a:srgbClr val="6F205A"/>
        </a:accent4>
        <a:accent5>
          <a:srgbClr val="8F0F4A"/>
        </a:accent5>
        <a:accent6>
          <a:srgbClr val="CF392A"/>
        </a:accent6>
        <a:hlink>
          <a:srgbClr val="2199B9"/>
        </a:hlink>
        <a:folHlink>
          <a:srgbClr val="00273F"/>
        </a:folHlink>
      </a:clrScheme>
    </a:extraClrScheme>
    <a:extraClrScheme>
      <a:clrScheme name="Actelion - Indigo">
        <a:dk1>
          <a:sysClr val="windowText" lastClr="000000"/>
        </a:dk1>
        <a:lt1>
          <a:srgbClr val="FFFFFF"/>
        </a:lt1>
        <a:dk2>
          <a:srgbClr val="40539C"/>
        </a:dk2>
        <a:lt2>
          <a:srgbClr val="0F2439"/>
        </a:lt2>
        <a:accent1>
          <a:srgbClr val="40539C"/>
        </a:accent1>
        <a:accent2>
          <a:srgbClr val="6C3896"/>
        </a:accent2>
        <a:accent3>
          <a:srgbClr val="6F205A"/>
        </a:accent3>
        <a:accent4>
          <a:srgbClr val="8F0F4A"/>
        </a:accent4>
        <a:accent5>
          <a:srgbClr val="CF392A"/>
        </a:accent5>
        <a:accent6>
          <a:srgbClr val="F99900"/>
        </a:accent6>
        <a:hlink>
          <a:srgbClr val="40539C"/>
        </a:hlink>
        <a:folHlink>
          <a:srgbClr val="0F2439"/>
        </a:folHlink>
      </a:clrScheme>
    </a:extraClrScheme>
    <a:extraClrScheme>
      <a:clrScheme name="Actelion - Violet">
        <a:dk1>
          <a:sysClr val="windowText" lastClr="000000"/>
        </a:dk1>
        <a:lt1>
          <a:srgbClr val="FFFFFF"/>
        </a:lt1>
        <a:dk2>
          <a:srgbClr val="6C3896"/>
        </a:dk2>
        <a:lt2>
          <a:srgbClr val="2F173A"/>
        </a:lt2>
        <a:accent1>
          <a:srgbClr val="6C3896"/>
        </a:accent1>
        <a:accent2>
          <a:srgbClr val="6F205A"/>
        </a:accent2>
        <a:accent3>
          <a:srgbClr val="8F0F4A"/>
        </a:accent3>
        <a:accent4>
          <a:srgbClr val="CF392A"/>
        </a:accent4>
        <a:accent5>
          <a:srgbClr val="F99900"/>
        </a:accent5>
        <a:accent6>
          <a:srgbClr val="75B843"/>
        </a:accent6>
        <a:hlink>
          <a:srgbClr val="6C3896"/>
        </a:hlink>
        <a:folHlink>
          <a:srgbClr val="2F173A"/>
        </a:folHlink>
      </a:clrScheme>
    </a:extraClrScheme>
    <a:extraClrScheme>
      <a:clrScheme name="Actelion - Plum">
        <a:dk1>
          <a:sysClr val="windowText" lastClr="000000"/>
        </a:dk1>
        <a:lt1>
          <a:srgbClr val="FFFFFF"/>
        </a:lt1>
        <a:dk2>
          <a:srgbClr val="6F205A"/>
        </a:dk2>
        <a:lt2>
          <a:srgbClr val="3B1626"/>
        </a:lt2>
        <a:accent1>
          <a:srgbClr val="6F205A"/>
        </a:accent1>
        <a:accent2>
          <a:srgbClr val="8F0F4A"/>
        </a:accent2>
        <a:accent3>
          <a:srgbClr val="CF392A"/>
        </a:accent3>
        <a:accent4>
          <a:srgbClr val="F99900"/>
        </a:accent4>
        <a:accent5>
          <a:srgbClr val="75B843"/>
        </a:accent5>
        <a:accent6>
          <a:srgbClr val="319F86"/>
        </a:accent6>
        <a:hlink>
          <a:srgbClr val="6F205A"/>
        </a:hlink>
        <a:folHlink>
          <a:srgbClr val="3B1626"/>
        </a:folHlink>
      </a:clrScheme>
    </a:extraClrScheme>
    <a:extraClrScheme>
      <a:clrScheme name="Actelion - Grape">
        <a:dk1>
          <a:sysClr val="windowText" lastClr="000000"/>
        </a:dk1>
        <a:lt1>
          <a:srgbClr val="FFFFFF"/>
        </a:lt1>
        <a:dk2>
          <a:srgbClr val="8F0F4A"/>
        </a:dk2>
        <a:lt2>
          <a:srgbClr val="370918"/>
        </a:lt2>
        <a:accent1>
          <a:srgbClr val="8F0F4A"/>
        </a:accent1>
        <a:accent2>
          <a:srgbClr val="CF392A"/>
        </a:accent2>
        <a:accent3>
          <a:srgbClr val="F99900"/>
        </a:accent3>
        <a:accent4>
          <a:srgbClr val="75B843"/>
        </a:accent4>
        <a:accent5>
          <a:srgbClr val="319F86"/>
        </a:accent5>
        <a:accent6>
          <a:srgbClr val="28AFB5"/>
        </a:accent6>
        <a:hlink>
          <a:srgbClr val="8F0F4A"/>
        </a:hlink>
        <a:folHlink>
          <a:srgbClr val="370918"/>
        </a:folHlink>
      </a:clrScheme>
    </a:extraClrScheme>
  </a:extraClrSchemeLst>
  <a:extLst>
    <a:ext uri="{05A4C25C-085E-4340-85A3-A5531E510DB2}">
      <thm15:themeFamily xmlns:thm15="http://schemas.microsoft.com/office/thememl/2012/main" name="Actelion169_20170614(2).potx" id="{F84BF83A-8BCE-41EF-8AE4-200FCDD499D3}" vid="{C93DE386-145D-4DC1-8650-39409A487156}"/>
    </a:ext>
  </a:extLst>
</a:theme>
</file>

<file path=ppt/theme/theme9.xml><?xml version="1.0" encoding="utf-8"?>
<a:theme xmlns:a="http://schemas.openxmlformats.org/drawingml/2006/main" name="2_EMEA template">
  <a:themeElements>
    <a:clrScheme name="Actelion - Indigo">
      <a:dk1>
        <a:sysClr val="windowText" lastClr="000000"/>
      </a:dk1>
      <a:lt1>
        <a:srgbClr val="FFFFFF"/>
      </a:lt1>
      <a:dk2>
        <a:srgbClr val="40539C"/>
      </a:dk2>
      <a:lt2>
        <a:srgbClr val="0F2439"/>
      </a:lt2>
      <a:accent1>
        <a:srgbClr val="40539C"/>
      </a:accent1>
      <a:accent2>
        <a:srgbClr val="6C3896"/>
      </a:accent2>
      <a:accent3>
        <a:srgbClr val="6F205A"/>
      </a:accent3>
      <a:accent4>
        <a:srgbClr val="8F0F4A"/>
      </a:accent4>
      <a:accent5>
        <a:srgbClr val="CF392A"/>
      </a:accent5>
      <a:accent6>
        <a:srgbClr val="F99900"/>
      </a:accent6>
      <a:hlink>
        <a:srgbClr val="40539C"/>
      </a:hlink>
      <a:folHlink>
        <a:srgbClr val="0F2439"/>
      </a:folHlink>
    </a:clrScheme>
    <a:fontScheme name="ACT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 flip="none" rotWithShape="0">
          <a:gsLst>
            <a:gs pos="0">
              <a:schemeClr val="tx2"/>
            </a:gs>
            <a:gs pos="100000">
              <a:schemeClr val="bg2"/>
            </a:gs>
          </a:gsLst>
          <a:lin ang="2700000" scaled="0"/>
          <a:tileRect/>
        </a:gradFill>
        <a:ln w="3175">
          <a:noFill/>
        </a:ln>
      </a:spPr>
      <a:bodyPr rtlCol="0" anchor="ctr"/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>
    <a:extraClrScheme>
      <a:clrScheme name="Actelion - Scarlet">
        <a:dk1>
          <a:sysClr val="windowText" lastClr="000000"/>
        </a:dk1>
        <a:lt1>
          <a:srgbClr val="FFFFFF"/>
        </a:lt1>
        <a:dk2>
          <a:srgbClr val="CF392A"/>
        </a:dk2>
        <a:lt2>
          <a:srgbClr val="611205"/>
        </a:lt2>
        <a:accent1>
          <a:srgbClr val="CF392A"/>
        </a:accent1>
        <a:accent2>
          <a:srgbClr val="F99900"/>
        </a:accent2>
        <a:accent3>
          <a:srgbClr val="75B843"/>
        </a:accent3>
        <a:accent4>
          <a:srgbClr val="319F86"/>
        </a:accent4>
        <a:accent5>
          <a:srgbClr val="28AFB5"/>
        </a:accent5>
        <a:accent6>
          <a:srgbClr val="2199B9"/>
        </a:accent6>
        <a:hlink>
          <a:srgbClr val="CF392A"/>
        </a:hlink>
        <a:folHlink>
          <a:srgbClr val="611205"/>
        </a:folHlink>
      </a:clrScheme>
    </a:extraClrScheme>
    <a:extraClrScheme>
      <a:clrScheme name="Actelion - Honey">
        <a:dk1>
          <a:sysClr val="windowText" lastClr="000000"/>
        </a:dk1>
        <a:lt1>
          <a:srgbClr val="FFFFFF"/>
        </a:lt1>
        <a:dk2>
          <a:srgbClr val="F99900"/>
        </a:dk2>
        <a:lt2>
          <a:srgbClr val="5B340B"/>
        </a:lt2>
        <a:accent1>
          <a:srgbClr val="F99900"/>
        </a:accent1>
        <a:accent2>
          <a:srgbClr val="75B843"/>
        </a:accent2>
        <a:accent3>
          <a:srgbClr val="319F86"/>
        </a:accent3>
        <a:accent4>
          <a:srgbClr val="28AFB5"/>
        </a:accent4>
        <a:accent5>
          <a:srgbClr val="2199B9"/>
        </a:accent5>
        <a:accent6>
          <a:srgbClr val="40539C"/>
        </a:accent6>
        <a:hlink>
          <a:srgbClr val="F99900"/>
        </a:hlink>
        <a:folHlink>
          <a:srgbClr val="5B340B"/>
        </a:folHlink>
      </a:clrScheme>
    </a:extraClrScheme>
    <a:extraClrScheme>
      <a:clrScheme name="Actelion - Mint">
        <a:dk1>
          <a:sysClr val="windowText" lastClr="000000"/>
        </a:dk1>
        <a:lt1>
          <a:srgbClr val="FFFFFF"/>
        </a:lt1>
        <a:dk2>
          <a:srgbClr val="75B843"/>
        </a:dk2>
        <a:lt2>
          <a:srgbClr val="122814"/>
        </a:lt2>
        <a:accent1>
          <a:srgbClr val="75B843"/>
        </a:accent1>
        <a:accent2>
          <a:srgbClr val="319F86"/>
        </a:accent2>
        <a:accent3>
          <a:srgbClr val="28AFB5"/>
        </a:accent3>
        <a:accent4>
          <a:srgbClr val="2199B9"/>
        </a:accent4>
        <a:accent5>
          <a:srgbClr val="40539C"/>
        </a:accent5>
        <a:accent6>
          <a:srgbClr val="6C3896"/>
        </a:accent6>
        <a:hlink>
          <a:srgbClr val="75B843"/>
        </a:hlink>
        <a:folHlink>
          <a:srgbClr val="122814"/>
        </a:folHlink>
      </a:clrScheme>
    </a:extraClrScheme>
    <a:extraClrScheme>
      <a:clrScheme name="Actelion - Teal">
        <a:dk1>
          <a:sysClr val="windowText" lastClr="000000"/>
        </a:dk1>
        <a:lt1>
          <a:srgbClr val="FFFFFF"/>
        </a:lt1>
        <a:dk2>
          <a:srgbClr val="319F86"/>
        </a:dk2>
        <a:lt2>
          <a:srgbClr val="003A2D"/>
        </a:lt2>
        <a:accent1>
          <a:srgbClr val="319F86"/>
        </a:accent1>
        <a:accent2>
          <a:srgbClr val="28AFB5"/>
        </a:accent2>
        <a:accent3>
          <a:srgbClr val="2199B9"/>
        </a:accent3>
        <a:accent4>
          <a:srgbClr val="40539C"/>
        </a:accent4>
        <a:accent5>
          <a:srgbClr val="6C3896"/>
        </a:accent5>
        <a:accent6>
          <a:srgbClr val="6F205A"/>
        </a:accent6>
        <a:hlink>
          <a:srgbClr val="319F86"/>
        </a:hlink>
        <a:folHlink>
          <a:srgbClr val="003A2D"/>
        </a:folHlink>
      </a:clrScheme>
    </a:extraClrScheme>
    <a:extraClrScheme>
      <a:clrScheme name="Actelion - Turquoise">
        <a:dk1>
          <a:sysClr val="windowText" lastClr="000000"/>
        </a:dk1>
        <a:lt1>
          <a:srgbClr val="FFFFFF"/>
        </a:lt1>
        <a:dk2>
          <a:srgbClr val="28AFB5"/>
        </a:dk2>
        <a:lt2>
          <a:srgbClr val="002C2E"/>
        </a:lt2>
        <a:accent1>
          <a:srgbClr val="28AFB5"/>
        </a:accent1>
        <a:accent2>
          <a:srgbClr val="2199B9"/>
        </a:accent2>
        <a:accent3>
          <a:srgbClr val="40539C"/>
        </a:accent3>
        <a:accent4>
          <a:srgbClr val="6C3896"/>
        </a:accent4>
        <a:accent5>
          <a:srgbClr val="6F205A"/>
        </a:accent5>
        <a:accent6>
          <a:srgbClr val="8F0F4A"/>
        </a:accent6>
        <a:hlink>
          <a:srgbClr val="28AFB5"/>
        </a:hlink>
        <a:folHlink>
          <a:srgbClr val="002C2E"/>
        </a:folHlink>
      </a:clrScheme>
    </a:extraClrScheme>
    <a:extraClrScheme>
      <a:clrScheme name="Actelion - Azure">
        <a:dk1>
          <a:sysClr val="windowText" lastClr="000000"/>
        </a:dk1>
        <a:lt1>
          <a:srgbClr val="FFFFFF"/>
        </a:lt1>
        <a:dk2>
          <a:srgbClr val="2199B9"/>
        </a:dk2>
        <a:lt2>
          <a:srgbClr val="00273F"/>
        </a:lt2>
        <a:accent1>
          <a:srgbClr val="2199B9"/>
        </a:accent1>
        <a:accent2>
          <a:srgbClr val="40539C"/>
        </a:accent2>
        <a:accent3>
          <a:srgbClr val="6C3896"/>
        </a:accent3>
        <a:accent4>
          <a:srgbClr val="6F205A"/>
        </a:accent4>
        <a:accent5>
          <a:srgbClr val="8F0F4A"/>
        </a:accent5>
        <a:accent6>
          <a:srgbClr val="CF392A"/>
        </a:accent6>
        <a:hlink>
          <a:srgbClr val="2199B9"/>
        </a:hlink>
        <a:folHlink>
          <a:srgbClr val="00273F"/>
        </a:folHlink>
      </a:clrScheme>
    </a:extraClrScheme>
    <a:extraClrScheme>
      <a:clrScheme name="Actelion - Indigo">
        <a:dk1>
          <a:sysClr val="windowText" lastClr="000000"/>
        </a:dk1>
        <a:lt1>
          <a:srgbClr val="FFFFFF"/>
        </a:lt1>
        <a:dk2>
          <a:srgbClr val="40539C"/>
        </a:dk2>
        <a:lt2>
          <a:srgbClr val="0F2439"/>
        </a:lt2>
        <a:accent1>
          <a:srgbClr val="40539C"/>
        </a:accent1>
        <a:accent2>
          <a:srgbClr val="6C3896"/>
        </a:accent2>
        <a:accent3>
          <a:srgbClr val="6F205A"/>
        </a:accent3>
        <a:accent4>
          <a:srgbClr val="8F0F4A"/>
        </a:accent4>
        <a:accent5>
          <a:srgbClr val="CF392A"/>
        </a:accent5>
        <a:accent6>
          <a:srgbClr val="F99900"/>
        </a:accent6>
        <a:hlink>
          <a:srgbClr val="40539C"/>
        </a:hlink>
        <a:folHlink>
          <a:srgbClr val="0F2439"/>
        </a:folHlink>
      </a:clrScheme>
    </a:extraClrScheme>
    <a:extraClrScheme>
      <a:clrScheme name="Actelion - Violet">
        <a:dk1>
          <a:sysClr val="windowText" lastClr="000000"/>
        </a:dk1>
        <a:lt1>
          <a:srgbClr val="FFFFFF"/>
        </a:lt1>
        <a:dk2>
          <a:srgbClr val="6C3896"/>
        </a:dk2>
        <a:lt2>
          <a:srgbClr val="2F173A"/>
        </a:lt2>
        <a:accent1>
          <a:srgbClr val="6C3896"/>
        </a:accent1>
        <a:accent2>
          <a:srgbClr val="6F205A"/>
        </a:accent2>
        <a:accent3>
          <a:srgbClr val="8F0F4A"/>
        </a:accent3>
        <a:accent4>
          <a:srgbClr val="CF392A"/>
        </a:accent4>
        <a:accent5>
          <a:srgbClr val="F99900"/>
        </a:accent5>
        <a:accent6>
          <a:srgbClr val="75B843"/>
        </a:accent6>
        <a:hlink>
          <a:srgbClr val="6C3896"/>
        </a:hlink>
        <a:folHlink>
          <a:srgbClr val="2F173A"/>
        </a:folHlink>
      </a:clrScheme>
    </a:extraClrScheme>
    <a:extraClrScheme>
      <a:clrScheme name="Actelion - Plum">
        <a:dk1>
          <a:sysClr val="windowText" lastClr="000000"/>
        </a:dk1>
        <a:lt1>
          <a:srgbClr val="FFFFFF"/>
        </a:lt1>
        <a:dk2>
          <a:srgbClr val="6F205A"/>
        </a:dk2>
        <a:lt2>
          <a:srgbClr val="3B1626"/>
        </a:lt2>
        <a:accent1>
          <a:srgbClr val="6F205A"/>
        </a:accent1>
        <a:accent2>
          <a:srgbClr val="8F0F4A"/>
        </a:accent2>
        <a:accent3>
          <a:srgbClr val="CF392A"/>
        </a:accent3>
        <a:accent4>
          <a:srgbClr val="F99900"/>
        </a:accent4>
        <a:accent5>
          <a:srgbClr val="75B843"/>
        </a:accent5>
        <a:accent6>
          <a:srgbClr val="319F86"/>
        </a:accent6>
        <a:hlink>
          <a:srgbClr val="6F205A"/>
        </a:hlink>
        <a:folHlink>
          <a:srgbClr val="3B1626"/>
        </a:folHlink>
      </a:clrScheme>
    </a:extraClrScheme>
    <a:extraClrScheme>
      <a:clrScheme name="Actelion - Grape">
        <a:dk1>
          <a:sysClr val="windowText" lastClr="000000"/>
        </a:dk1>
        <a:lt1>
          <a:srgbClr val="FFFFFF"/>
        </a:lt1>
        <a:dk2>
          <a:srgbClr val="8F0F4A"/>
        </a:dk2>
        <a:lt2>
          <a:srgbClr val="370918"/>
        </a:lt2>
        <a:accent1>
          <a:srgbClr val="8F0F4A"/>
        </a:accent1>
        <a:accent2>
          <a:srgbClr val="CF392A"/>
        </a:accent2>
        <a:accent3>
          <a:srgbClr val="F99900"/>
        </a:accent3>
        <a:accent4>
          <a:srgbClr val="75B843"/>
        </a:accent4>
        <a:accent5>
          <a:srgbClr val="319F86"/>
        </a:accent5>
        <a:accent6>
          <a:srgbClr val="28AFB5"/>
        </a:accent6>
        <a:hlink>
          <a:srgbClr val="8F0F4A"/>
        </a:hlink>
        <a:folHlink>
          <a:srgbClr val="370918"/>
        </a:folHlink>
      </a:clrScheme>
    </a:extraClrScheme>
  </a:extraClrSchemeLst>
  <a:extLst>
    <a:ext uri="{05A4C25C-085E-4340-85A3-A5531E510DB2}">
      <thm15:themeFamily xmlns:thm15="http://schemas.microsoft.com/office/thememl/2012/main" name="Actelion169_20170614(2).potx" id="{F84BF83A-8BCE-41EF-8AE4-200FCDD499D3}" vid="{C93DE386-145D-4DC1-8650-39409A487156}"/>
    </a:ext>
  </a:extLst>
</a:theme>
</file>

<file path=ppt/theme/themeOverride1.xml><?xml version="1.0" encoding="utf-8"?>
<a:themeOverride xmlns:a="http://schemas.openxmlformats.org/drawingml/2006/main">
  <a:clrScheme name="Actelion - Indigo">
    <a:dk1>
      <a:sysClr val="windowText" lastClr="000000"/>
    </a:dk1>
    <a:lt1>
      <a:srgbClr val="FFFFFF"/>
    </a:lt1>
    <a:dk2>
      <a:srgbClr val="40539C"/>
    </a:dk2>
    <a:lt2>
      <a:srgbClr val="0F2439"/>
    </a:lt2>
    <a:accent1>
      <a:srgbClr val="40539C"/>
    </a:accent1>
    <a:accent2>
      <a:srgbClr val="6C3896"/>
    </a:accent2>
    <a:accent3>
      <a:srgbClr val="6F205A"/>
    </a:accent3>
    <a:accent4>
      <a:srgbClr val="8F0F4A"/>
    </a:accent4>
    <a:accent5>
      <a:srgbClr val="CF392A"/>
    </a:accent5>
    <a:accent6>
      <a:srgbClr val="F99900"/>
    </a:accent6>
    <a:hlink>
      <a:srgbClr val="40539C"/>
    </a:hlink>
    <a:folHlink>
      <a:srgbClr val="0F2439"/>
    </a:folHlink>
  </a:clrScheme>
</a:themeOverride>
</file>

<file path=ppt/theme/themeOverride10.xml><?xml version="1.0" encoding="utf-8"?>
<a:themeOverride xmlns:a="http://schemas.openxmlformats.org/drawingml/2006/main">
  <a:clrScheme name="Actelion - Indigo">
    <a:dk1>
      <a:sysClr val="windowText" lastClr="000000"/>
    </a:dk1>
    <a:lt1>
      <a:srgbClr val="FFFFFF"/>
    </a:lt1>
    <a:dk2>
      <a:srgbClr val="40539C"/>
    </a:dk2>
    <a:lt2>
      <a:srgbClr val="0F2439"/>
    </a:lt2>
    <a:accent1>
      <a:srgbClr val="40539C"/>
    </a:accent1>
    <a:accent2>
      <a:srgbClr val="6C3896"/>
    </a:accent2>
    <a:accent3>
      <a:srgbClr val="6F205A"/>
    </a:accent3>
    <a:accent4>
      <a:srgbClr val="8F0F4A"/>
    </a:accent4>
    <a:accent5>
      <a:srgbClr val="CF392A"/>
    </a:accent5>
    <a:accent6>
      <a:srgbClr val="F99900"/>
    </a:accent6>
    <a:hlink>
      <a:srgbClr val="40539C"/>
    </a:hlink>
    <a:folHlink>
      <a:srgbClr val="0F2439"/>
    </a:folHlink>
  </a:clrScheme>
</a:themeOverride>
</file>

<file path=ppt/theme/themeOverride11.xml><?xml version="1.0" encoding="utf-8"?>
<a:themeOverride xmlns:a="http://schemas.openxmlformats.org/drawingml/2006/main">
  <a:clrScheme name="Actelion - Indigo">
    <a:dk1>
      <a:sysClr val="windowText" lastClr="000000"/>
    </a:dk1>
    <a:lt1>
      <a:srgbClr val="FFFFFF"/>
    </a:lt1>
    <a:dk2>
      <a:srgbClr val="40539C"/>
    </a:dk2>
    <a:lt2>
      <a:srgbClr val="0F2439"/>
    </a:lt2>
    <a:accent1>
      <a:srgbClr val="40539C"/>
    </a:accent1>
    <a:accent2>
      <a:srgbClr val="6C3896"/>
    </a:accent2>
    <a:accent3>
      <a:srgbClr val="6F205A"/>
    </a:accent3>
    <a:accent4>
      <a:srgbClr val="8F0F4A"/>
    </a:accent4>
    <a:accent5>
      <a:srgbClr val="CF392A"/>
    </a:accent5>
    <a:accent6>
      <a:srgbClr val="F99900"/>
    </a:accent6>
    <a:hlink>
      <a:srgbClr val="40539C"/>
    </a:hlink>
    <a:folHlink>
      <a:srgbClr val="0F2439"/>
    </a:folHlink>
  </a:clrScheme>
</a:themeOverride>
</file>

<file path=ppt/theme/themeOverride12.xml><?xml version="1.0" encoding="utf-8"?>
<a:themeOverride xmlns:a="http://schemas.openxmlformats.org/drawingml/2006/main">
  <a:clrScheme name="Actelion - Indigo">
    <a:dk1>
      <a:sysClr val="windowText" lastClr="000000"/>
    </a:dk1>
    <a:lt1>
      <a:srgbClr val="FFFFFF"/>
    </a:lt1>
    <a:dk2>
      <a:srgbClr val="40539C"/>
    </a:dk2>
    <a:lt2>
      <a:srgbClr val="0F2439"/>
    </a:lt2>
    <a:accent1>
      <a:srgbClr val="40539C"/>
    </a:accent1>
    <a:accent2>
      <a:srgbClr val="6C3896"/>
    </a:accent2>
    <a:accent3>
      <a:srgbClr val="6F205A"/>
    </a:accent3>
    <a:accent4>
      <a:srgbClr val="8F0F4A"/>
    </a:accent4>
    <a:accent5>
      <a:srgbClr val="CF392A"/>
    </a:accent5>
    <a:accent6>
      <a:srgbClr val="F99900"/>
    </a:accent6>
    <a:hlink>
      <a:srgbClr val="40539C"/>
    </a:hlink>
    <a:folHlink>
      <a:srgbClr val="0F2439"/>
    </a:folHlink>
  </a:clrScheme>
</a:themeOverride>
</file>

<file path=ppt/theme/themeOverride13.xml><?xml version="1.0" encoding="utf-8"?>
<a:themeOverride xmlns:a="http://schemas.openxmlformats.org/drawingml/2006/main">
  <a:clrScheme name="Actelion - Indigo">
    <a:dk1>
      <a:sysClr val="windowText" lastClr="000000"/>
    </a:dk1>
    <a:lt1>
      <a:srgbClr val="FFFFFF"/>
    </a:lt1>
    <a:dk2>
      <a:srgbClr val="40539C"/>
    </a:dk2>
    <a:lt2>
      <a:srgbClr val="0F2439"/>
    </a:lt2>
    <a:accent1>
      <a:srgbClr val="40539C"/>
    </a:accent1>
    <a:accent2>
      <a:srgbClr val="6C3896"/>
    </a:accent2>
    <a:accent3>
      <a:srgbClr val="6F205A"/>
    </a:accent3>
    <a:accent4>
      <a:srgbClr val="8F0F4A"/>
    </a:accent4>
    <a:accent5>
      <a:srgbClr val="CF392A"/>
    </a:accent5>
    <a:accent6>
      <a:srgbClr val="F99900"/>
    </a:accent6>
    <a:hlink>
      <a:srgbClr val="40539C"/>
    </a:hlink>
    <a:folHlink>
      <a:srgbClr val="0F2439"/>
    </a:folHlink>
  </a:clrScheme>
</a:themeOverride>
</file>

<file path=ppt/theme/themeOverride14.xml><?xml version="1.0" encoding="utf-8"?>
<a:themeOverride xmlns:a="http://schemas.openxmlformats.org/drawingml/2006/main">
  <a:clrScheme name="Actelion - Indigo">
    <a:dk1>
      <a:sysClr val="windowText" lastClr="000000"/>
    </a:dk1>
    <a:lt1>
      <a:srgbClr val="FFFFFF"/>
    </a:lt1>
    <a:dk2>
      <a:srgbClr val="40539C"/>
    </a:dk2>
    <a:lt2>
      <a:srgbClr val="0F2439"/>
    </a:lt2>
    <a:accent1>
      <a:srgbClr val="40539C"/>
    </a:accent1>
    <a:accent2>
      <a:srgbClr val="6C3896"/>
    </a:accent2>
    <a:accent3>
      <a:srgbClr val="6F205A"/>
    </a:accent3>
    <a:accent4>
      <a:srgbClr val="8F0F4A"/>
    </a:accent4>
    <a:accent5>
      <a:srgbClr val="CF392A"/>
    </a:accent5>
    <a:accent6>
      <a:srgbClr val="F99900"/>
    </a:accent6>
    <a:hlink>
      <a:srgbClr val="40539C"/>
    </a:hlink>
    <a:folHlink>
      <a:srgbClr val="0F2439"/>
    </a:folHlink>
  </a:clrScheme>
</a:themeOverride>
</file>

<file path=ppt/theme/themeOverride15.xml><?xml version="1.0" encoding="utf-8"?>
<a:themeOverride xmlns:a="http://schemas.openxmlformats.org/drawingml/2006/main">
  <a:clrScheme name="Actelion - Indigo">
    <a:dk1>
      <a:sysClr val="windowText" lastClr="000000"/>
    </a:dk1>
    <a:lt1>
      <a:srgbClr val="FFFFFF"/>
    </a:lt1>
    <a:dk2>
      <a:srgbClr val="40539C"/>
    </a:dk2>
    <a:lt2>
      <a:srgbClr val="0F2439"/>
    </a:lt2>
    <a:accent1>
      <a:srgbClr val="40539C"/>
    </a:accent1>
    <a:accent2>
      <a:srgbClr val="6C3896"/>
    </a:accent2>
    <a:accent3>
      <a:srgbClr val="6F205A"/>
    </a:accent3>
    <a:accent4>
      <a:srgbClr val="8F0F4A"/>
    </a:accent4>
    <a:accent5>
      <a:srgbClr val="CF392A"/>
    </a:accent5>
    <a:accent6>
      <a:srgbClr val="F99900"/>
    </a:accent6>
    <a:hlink>
      <a:srgbClr val="40539C"/>
    </a:hlink>
    <a:folHlink>
      <a:srgbClr val="0F2439"/>
    </a:folHlink>
  </a:clrScheme>
</a:themeOverride>
</file>

<file path=ppt/theme/themeOverride16.xml><?xml version="1.0" encoding="utf-8"?>
<a:themeOverride xmlns:a="http://schemas.openxmlformats.org/drawingml/2006/main">
  <a:clrScheme name="Actelion - Indigo">
    <a:dk1>
      <a:sysClr val="windowText" lastClr="000000"/>
    </a:dk1>
    <a:lt1>
      <a:srgbClr val="FFFFFF"/>
    </a:lt1>
    <a:dk2>
      <a:srgbClr val="40539C"/>
    </a:dk2>
    <a:lt2>
      <a:srgbClr val="0F2439"/>
    </a:lt2>
    <a:accent1>
      <a:srgbClr val="40539C"/>
    </a:accent1>
    <a:accent2>
      <a:srgbClr val="6C3896"/>
    </a:accent2>
    <a:accent3>
      <a:srgbClr val="6F205A"/>
    </a:accent3>
    <a:accent4>
      <a:srgbClr val="8F0F4A"/>
    </a:accent4>
    <a:accent5>
      <a:srgbClr val="CF392A"/>
    </a:accent5>
    <a:accent6>
      <a:srgbClr val="F99900"/>
    </a:accent6>
    <a:hlink>
      <a:srgbClr val="40539C"/>
    </a:hlink>
    <a:folHlink>
      <a:srgbClr val="0F2439"/>
    </a:folHlink>
  </a:clrScheme>
</a:themeOverride>
</file>

<file path=ppt/theme/themeOverride17.xml><?xml version="1.0" encoding="utf-8"?>
<a:themeOverride xmlns:a="http://schemas.openxmlformats.org/drawingml/2006/main">
  <a:clrScheme name="Actelion - Indigo">
    <a:dk1>
      <a:sysClr val="windowText" lastClr="000000"/>
    </a:dk1>
    <a:lt1>
      <a:srgbClr val="FFFFFF"/>
    </a:lt1>
    <a:dk2>
      <a:srgbClr val="40539C"/>
    </a:dk2>
    <a:lt2>
      <a:srgbClr val="0F2439"/>
    </a:lt2>
    <a:accent1>
      <a:srgbClr val="40539C"/>
    </a:accent1>
    <a:accent2>
      <a:srgbClr val="6C3896"/>
    </a:accent2>
    <a:accent3>
      <a:srgbClr val="6F205A"/>
    </a:accent3>
    <a:accent4>
      <a:srgbClr val="8F0F4A"/>
    </a:accent4>
    <a:accent5>
      <a:srgbClr val="CF392A"/>
    </a:accent5>
    <a:accent6>
      <a:srgbClr val="F99900"/>
    </a:accent6>
    <a:hlink>
      <a:srgbClr val="40539C"/>
    </a:hlink>
    <a:folHlink>
      <a:srgbClr val="0F2439"/>
    </a:folHlink>
  </a:clrScheme>
</a:themeOverride>
</file>

<file path=ppt/theme/themeOverride18.xml><?xml version="1.0" encoding="utf-8"?>
<a:themeOverride xmlns:a="http://schemas.openxmlformats.org/drawingml/2006/main">
  <a:clrScheme name="Actelion - Indigo">
    <a:dk1>
      <a:sysClr val="windowText" lastClr="000000"/>
    </a:dk1>
    <a:lt1>
      <a:srgbClr val="FFFFFF"/>
    </a:lt1>
    <a:dk2>
      <a:srgbClr val="40539C"/>
    </a:dk2>
    <a:lt2>
      <a:srgbClr val="0F2439"/>
    </a:lt2>
    <a:accent1>
      <a:srgbClr val="40539C"/>
    </a:accent1>
    <a:accent2>
      <a:srgbClr val="6C3896"/>
    </a:accent2>
    <a:accent3>
      <a:srgbClr val="6F205A"/>
    </a:accent3>
    <a:accent4>
      <a:srgbClr val="8F0F4A"/>
    </a:accent4>
    <a:accent5>
      <a:srgbClr val="CF392A"/>
    </a:accent5>
    <a:accent6>
      <a:srgbClr val="F99900"/>
    </a:accent6>
    <a:hlink>
      <a:srgbClr val="40539C"/>
    </a:hlink>
    <a:folHlink>
      <a:srgbClr val="0F2439"/>
    </a:folHlink>
  </a:clrScheme>
</a:themeOverride>
</file>

<file path=ppt/theme/themeOverride19.xml><?xml version="1.0" encoding="utf-8"?>
<a:themeOverride xmlns:a="http://schemas.openxmlformats.org/drawingml/2006/main">
  <a:clrScheme name="Actelion - Indigo">
    <a:dk1>
      <a:sysClr val="windowText" lastClr="000000"/>
    </a:dk1>
    <a:lt1>
      <a:srgbClr val="FFFFFF"/>
    </a:lt1>
    <a:dk2>
      <a:srgbClr val="40539C"/>
    </a:dk2>
    <a:lt2>
      <a:srgbClr val="0F2439"/>
    </a:lt2>
    <a:accent1>
      <a:srgbClr val="40539C"/>
    </a:accent1>
    <a:accent2>
      <a:srgbClr val="6C3896"/>
    </a:accent2>
    <a:accent3>
      <a:srgbClr val="6F205A"/>
    </a:accent3>
    <a:accent4>
      <a:srgbClr val="8F0F4A"/>
    </a:accent4>
    <a:accent5>
      <a:srgbClr val="CF392A"/>
    </a:accent5>
    <a:accent6>
      <a:srgbClr val="F99900"/>
    </a:accent6>
    <a:hlink>
      <a:srgbClr val="40539C"/>
    </a:hlink>
    <a:folHlink>
      <a:srgbClr val="0F2439"/>
    </a:folHlink>
  </a:clrScheme>
</a:themeOverride>
</file>

<file path=ppt/theme/themeOverride2.xml><?xml version="1.0" encoding="utf-8"?>
<a:themeOverride xmlns:a="http://schemas.openxmlformats.org/drawingml/2006/main">
  <a:clrScheme name="Actelion - Indigo">
    <a:dk1>
      <a:sysClr val="windowText" lastClr="000000"/>
    </a:dk1>
    <a:lt1>
      <a:srgbClr val="FFFFFF"/>
    </a:lt1>
    <a:dk2>
      <a:srgbClr val="40539C"/>
    </a:dk2>
    <a:lt2>
      <a:srgbClr val="0F2439"/>
    </a:lt2>
    <a:accent1>
      <a:srgbClr val="40539C"/>
    </a:accent1>
    <a:accent2>
      <a:srgbClr val="6C3896"/>
    </a:accent2>
    <a:accent3>
      <a:srgbClr val="6F205A"/>
    </a:accent3>
    <a:accent4>
      <a:srgbClr val="8F0F4A"/>
    </a:accent4>
    <a:accent5>
      <a:srgbClr val="CF392A"/>
    </a:accent5>
    <a:accent6>
      <a:srgbClr val="F99900"/>
    </a:accent6>
    <a:hlink>
      <a:srgbClr val="40539C"/>
    </a:hlink>
    <a:folHlink>
      <a:srgbClr val="0F2439"/>
    </a:folHlink>
  </a:clrScheme>
</a:themeOverride>
</file>

<file path=ppt/theme/themeOverride20.xml><?xml version="1.0" encoding="utf-8"?>
<a:themeOverride xmlns:a="http://schemas.openxmlformats.org/drawingml/2006/main">
  <a:clrScheme name="Actelion - Indigo">
    <a:dk1>
      <a:sysClr val="windowText" lastClr="000000"/>
    </a:dk1>
    <a:lt1>
      <a:srgbClr val="FFFFFF"/>
    </a:lt1>
    <a:dk2>
      <a:srgbClr val="40539C"/>
    </a:dk2>
    <a:lt2>
      <a:srgbClr val="0F2439"/>
    </a:lt2>
    <a:accent1>
      <a:srgbClr val="40539C"/>
    </a:accent1>
    <a:accent2>
      <a:srgbClr val="6C3896"/>
    </a:accent2>
    <a:accent3>
      <a:srgbClr val="6F205A"/>
    </a:accent3>
    <a:accent4>
      <a:srgbClr val="8F0F4A"/>
    </a:accent4>
    <a:accent5>
      <a:srgbClr val="CF392A"/>
    </a:accent5>
    <a:accent6>
      <a:srgbClr val="F99900"/>
    </a:accent6>
    <a:hlink>
      <a:srgbClr val="40539C"/>
    </a:hlink>
    <a:folHlink>
      <a:srgbClr val="0F2439"/>
    </a:folHlink>
  </a:clrScheme>
</a:themeOverride>
</file>

<file path=ppt/theme/themeOverride21.xml><?xml version="1.0" encoding="utf-8"?>
<a:themeOverride xmlns:a="http://schemas.openxmlformats.org/drawingml/2006/main">
  <a:clrScheme name="Actelion - Indigo">
    <a:dk1>
      <a:sysClr val="windowText" lastClr="000000"/>
    </a:dk1>
    <a:lt1>
      <a:srgbClr val="FFFFFF"/>
    </a:lt1>
    <a:dk2>
      <a:srgbClr val="40539C"/>
    </a:dk2>
    <a:lt2>
      <a:srgbClr val="0F2439"/>
    </a:lt2>
    <a:accent1>
      <a:srgbClr val="40539C"/>
    </a:accent1>
    <a:accent2>
      <a:srgbClr val="6C3896"/>
    </a:accent2>
    <a:accent3>
      <a:srgbClr val="6F205A"/>
    </a:accent3>
    <a:accent4>
      <a:srgbClr val="8F0F4A"/>
    </a:accent4>
    <a:accent5>
      <a:srgbClr val="CF392A"/>
    </a:accent5>
    <a:accent6>
      <a:srgbClr val="F99900"/>
    </a:accent6>
    <a:hlink>
      <a:srgbClr val="40539C"/>
    </a:hlink>
    <a:folHlink>
      <a:srgbClr val="0F2439"/>
    </a:folHlink>
  </a:clrScheme>
</a:themeOverride>
</file>

<file path=ppt/theme/themeOverride22.xml><?xml version="1.0" encoding="utf-8"?>
<a:themeOverride xmlns:a="http://schemas.openxmlformats.org/drawingml/2006/main">
  <a:clrScheme name="Actelion - Indigo">
    <a:dk1>
      <a:sysClr val="windowText" lastClr="000000"/>
    </a:dk1>
    <a:lt1>
      <a:srgbClr val="FFFFFF"/>
    </a:lt1>
    <a:dk2>
      <a:srgbClr val="40539C"/>
    </a:dk2>
    <a:lt2>
      <a:srgbClr val="0F2439"/>
    </a:lt2>
    <a:accent1>
      <a:srgbClr val="40539C"/>
    </a:accent1>
    <a:accent2>
      <a:srgbClr val="6C3896"/>
    </a:accent2>
    <a:accent3>
      <a:srgbClr val="6F205A"/>
    </a:accent3>
    <a:accent4>
      <a:srgbClr val="8F0F4A"/>
    </a:accent4>
    <a:accent5>
      <a:srgbClr val="CF392A"/>
    </a:accent5>
    <a:accent6>
      <a:srgbClr val="F99900"/>
    </a:accent6>
    <a:hlink>
      <a:srgbClr val="40539C"/>
    </a:hlink>
    <a:folHlink>
      <a:srgbClr val="0F2439"/>
    </a:folHlink>
  </a:clrScheme>
</a:themeOverride>
</file>

<file path=ppt/theme/themeOverride23.xml><?xml version="1.0" encoding="utf-8"?>
<a:themeOverride xmlns:a="http://schemas.openxmlformats.org/drawingml/2006/main">
  <a:clrScheme name="Actelion - Indigo">
    <a:dk1>
      <a:sysClr val="windowText" lastClr="000000"/>
    </a:dk1>
    <a:lt1>
      <a:srgbClr val="FFFFFF"/>
    </a:lt1>
    <a:dk2>
      <a:srgbClr val="40539C"/>
    </a:dk2>
    <a:lt2>
      <a:srgbClr val="0F2439"/>
    </a:lt2>
    <a:accent1>
      <a:srgbClr val="40539C"/>
    </a:accent1>
    <a:accent2>
      <a:srgbClr val="6C3896"/>
    </a:accent2>
    <a:accent3>
      <a:srgbClr val="6F205A"/>
    </a:accent3>
    <a:accent4>
      <a:srgbClr val="8F0F4A"/>
    </a:accent4>
    <a:accent5>
      <a:srgbClr val="CF392A"/>
    </a:accent5>
    <a:accent6>
      <a:srgbClr val="F99900"/>
    </a:accent6>
    <a:hlink>
      <a:srgbClr val="40539C"/>
    </a:hlink>
    <a:folHlink>
      <a:srgbClr val="0F2439"/>
    </a:folHlink>
  </a:clrScheme>
</a:themeOverride>
</file>

<file path=ppt/theme/themeOverride24.xml><?xml version="1.0" encoding="utf-8"?>
<a:themeOverride xmlns:a="http://schemas.openxmlformats.org/drawingml/2006/main">
  <a:clrScheme name="Actelion - Indigo">
    <a:dk1>
      <a:sysClr val="windowText" lastClr="000000"/>
    </a:dk1>
    <a:lt1>
      <a:srgbClr val="FFFFFF"/>
    </a:lt1>
    <a:dk2>
      <a:srgbClr val="40539C"/>
    </a:dk2>
    <a:lt2>
      <a:srgbClr val="0F2439"/>
    </a:lt2>
    <a:accent1>
      <a:srgbClr val="40539C"/>
    </a:accent1>
    <a:accent2>
      <a:srgbClr val="6C3896"/>
    </a:accent2>
    <a:accent3>
      <a:srgbClr val="6F205A"/>
    </a:accent3>
    <a:accent4>
      <a:srgbClr val="8F0F4A"/>
    </a:accent4>
    <a:accent5>
      <a:srgbClr val="CF392A"/>
    </a:accent5>
    <a:accent6>
      <a:srgbClr val="F99900"/>
    </a:accent6>
    <a:hlink>
      <a:srgbClr val="40539C"/>
    </a:hlink>
    <a:folHlink>
      <a:srgbClr val="0F2439"/>
    </a:folHlink>
  </a:clrScheme>
</a:themeOverride>
</file>

<file path=ppt/theme/themeOverride25.xml><?xml version="1.0" encoding="utf-8"?>
<a:themeOverride xmlns:a="http://schemas.openxmlformats.org/drawingml/2006/main">
  <a:clrScheme name="Actelion - Indigo">
    <a:dk1>
      <a:sysClr val="windowText" lastClr="000000"/>
    </a:dk1>
    <a:lt1>
      <a:srgbClr val="FFFFFF"/>
    </a:lt1>
    <a:dk2>
      <a:srgbClr val="40539C"/>
    </a:dk2>
    <a:lt2>
      <a:srgbClr val="0F2439"/>
    </a:lt2>
    <a:accent1>
      <a:srgbClr val="40539C"/>
    </a:accent1>
    <a:accent2>
      <a:srgbClr val="6C3896"/>
    </a:accent2>
    <a:accent3>
      <a:srgbClr val="6F205A"/>
    </a:accent3>
    <a:accent4>
      <a:srgbClr val="8F0F4A"/>
    </a:accent4>
    <a:accent5>
      <a:srgbClr val="CF392A"/>
    </a:accent5>
    <a:accent6>
      <a:srgbClr val="F99900"/>
    </a:accent6>
    <a:hlink>
      <a:srgbClr val="40539C"/>
    </a:hlink>
    <a:folHlink>
      <a:srgbClr val="0F2439"/>
    </a:folHlink>
  </a:clrScheme>
</a:themeOverride>
</file>

<file path=ppt/theme/themeOverride26.xml><?xml version="1.0" encoding="utf-8"?>
<a:themeOverride xmlns:a="http://schemas.openxmlformats.org/drawingml/2006/main">
  <a:clrScheme name="Actelion - Indigo">
    <a:dk1>
      <a:sysClr val="windowText" lastClr="000000"/>
    </a:dk1>
    <a:lt1>
      <a:srgbClr val="FFFFFF"/>
    </a:lt1>
    <a:dk2>
      <a:srgbClr val="40539C"/>
    </a:dk2>
    <a:lt2>
      <a:srgbClr val="0F2439"/>
    </a:lt2>
    <a:accent1>
      <a:srgbClr val="40539C"/>
    </a:accent1>
    <a:accent2>
      <a:srgbClr val="6C3896"/>
    </a:accent2>
    <a:accent3>
      <a:srgbClr val="6F205A"/>
    </a:accent3>
    <a:accent4>
      <a:srgbClr val="8F0F4A"/>
    </a:accent4>
    <a:accent5>
      <a:srgbClr val="CF392A"/>
    </a:accent5>
    <a:accent6>
      <a:srgbClr val="F99900"/>
    </a:accent6>
    <a:hlink>
      <a:srgbClr val="40539C"/>
    </a:hlink>
    <a:folHlink>
      <a:srgbClr val="0F2439"/>
    </a:folHlink>
  </a:clrScheme>
</a:themeOverride>
</file>

<file path=ppt/theme/themeOverride27.xml><?xml version="1.0" encoding="utf-8"?>
<a:themeOverride xmlns:a="http://schemas.openxmlformats.org/drawingml/2006/main">
  <a:clrScheme name="Actelion - Indigo">
    <a:dk1>
      <a:sysClr val="windowText" lastClr="000000"/>
    </a:dk1>
    <a:lt1>
      <a:srgbClr val="FFFFFF"/>
    </a:lt1>
    <a:dk2>
      <a:srgbClr val="40539C"/>
    </a:dk2>
    <a:lt2>
      <a:srgbClr val="0F2439"/>
    </a:lt2>
    <a:accent1>
      <a:srgbClr val="40539C"/>
    </a:accent1>
    <a:accent2>
      <a:srgbClr val="6C3896"/>
    </a:accent2>
    <a:accent3>
      <a:srgbClr val="6F205A"/>
    </a:accent3>
    <a:accent4>
      <a:srgbClr val="8F0F4A"/>
    </a:accent4>
    <a:accent5>
      <a:srgbClr val="CF392A"/>
    </a:accent5>
    <a:accent6>
      <a:srgbClr val="F99900"/>
    </a:accent6>
    <a:hlink>
      <a:srgbClr val="40539C"/>
    </a:hlink>
    <a:folHlink>
      <a:srgbClr val="0F2439"/>
    </a:folHlink>
  </a:clrScheme>
</a:themeOverride>
</file>

<file path=ppt/theme/themeOverride28.xml><?xml version="1.0" encoding="utf-8"?>
<a:themeOverride xmlns:a="http://schemas.openxmlformats.org/drawingml/2006/main">
  <a:clrScheme name="Actelion - Indigo">
    <a:dk1>
      <a:sysClr val="windowText" lastClr="000000"/>
    </a:dk1>
    <a:lt1>
      <a:srgbClr val="FFFFFF"/>
    </a:lt1>
    <a:dk2>
      <a:srgbClr val="40539C"/>
    </a:dk2>
    <a:lt2>
      <a:srgbClr val="0F2439"/>
    </a:lt2>
    <a:accent1>
      <a:srgbClr val="40539C"/>
    </a:accent1>
    <a:accent2>
      <a:srgbClr val="6C3896"/>
    </a:accent2>
    <a:accent3>
      <a:srgbClr val="6F205A"/>
    </a:accent3>
    <a:accent4>
      <a:srgbClr val="8F0F4A"/>
    </a:accent4>
    <a:accent5>
      <a:srgbClr val="CF392A"/>
    </a:accent5>
    <a:accent6>
      <a:srgbClr val="F99900"/>
    </a:accent6>
    <a:hlink>
      <a:srgbClr val="40539C"/>
    </a:hlink>
    <a:folHlink>
      <a:srgbClr val="0F2439"/>
    </a:folHlink>
  </a:clrScheme>
</a:themeOverride>
</file>

<file path=ppt/theme/themeOverride29.xml><?xml version="1.0" encoding="utf-8"?>
<a:themeOverride xmlns:a="http://schemas.openxmlformats.org/drawingml/2006/main">
  <a:clrScheme name="Actelion - Indigo">
    <a:dk1>
      <a:sysClr val="windowText" lastClr="000000"/>
    </a:dk1>
    <a:lt1>
      <a:srgbClr val="FFFFFF"/>
    </a:lt1>
    <a:dk2>
      <a:srgbClr val="40539C"/>
    </a:dk2>
    <a:lt2>
      <a:srgbClr val="0F2439"/>
    </a:lt2>
    <a:accent1>
      <a:srgbClr val="40539C"/>
    </a:accent1>
    <a:accent2>
      <a:srgbClr val="6C3896"/>
    </a:accent2>
    <a:accent3>
      <a:srgbClr val="6F205A"/>
    </a:accent3>
    <a:accent4>
      <a:srgbClr val="8F0F4A"/>
    </a:accent4>
    <a:accent5>
      <a:srgbClr val="CF392A"/>
    </a:accent5>
    <a:accent6>
      <a:srgbClr val="F99900"/>
    </a:accent6>
    <a:hlink>
      <a:srgbClr val="40539C"/>
    </a:hlink>
    <a:folHlink>
      <a:srgbClr val="0F2439"/>
    </a:folHlink>
  </a:clrScheme>
</a:themeOverride>
</file>

<file path=ppt/theme/themeOverride3.xml><?xml version="1.0" encoding="utf-8"?>
<a:themeOverride xmlns:a="http://schemas.openxmlformats.org/drawingml/2006/main">
  <a:clrScheme name="Actelion - Indigo">
    <a:dk1>
      <a:sysClr val="windowText" lastClr="000000"/>
    </a:dk1>
    <a:lt1>
      <a:srgbClr val="FFFFFF"/>
    </a:lt1>
    <a:dk2>
      <a:srgbClr val="40539C"/>
    </a:dk2>
    <a:lt2>
      <a:srgbClr val="0F2439"/>
    </a:lt2>
    <a:accent1>
      <a:srgbClr val="40539C"/>
    </a:accent1>
    <a:accent2>
      <a:srgbClr val="6C3896"/>
    </a:accent2>
    <a:accent3>
      <a:srgbClr val="6F205A"/>
    </a:accent3>
    <a:accent4>
      <a:srgbClr val="8F0F4A"/>
    </a:accent4>
    <a:accent5>
      <a:srgbClr val="CF392A"/>
    </a:accent5>
    <a:accent6>
      <a:srgbClr val="F99900"/>
    </a:accent6>
    <a:hlink>
      <a:srgbClr val="40539C"/>
    </a:hlink>
    <a:folHlink>
      <a:srgbClr val="0F2439"/>
    </a:folHlink>
  </a:clrScheme>
</a:themeOverride>
</file>

<file path=ppt/theme/themeOverride30.xml><?xml version="1.0" encoding="utf-8"?>
<a:themeOverride xmlns:a="http://schemas.openxmlformats.org/drawingml/2006/main">
  <a:clrScheme name="Actelion - Indigo">
    <a:dk1>
      <a:sysClr val="windowText" lastClr="000000"/>
    </a:dk1>
    <a:lt1>
      <a:srgbClr val="FFFFFF"/>
    </a:lt1>
    <a:dk2>
      <a:srgbClr val="40539C"/>
    </a:dk2>
    <a:lt2>
      <a:srgbClr val="0F2439"/>
    </a:lt2>
    <a:accent1>
      <a:srgbClr val="40539C"/>
    </a:accent1>
    <a:accent2>
      <a:srgbClr val="6C3896"/>
    </a:accent2>
    <a:accent3>
      <a:srgbClr val="6F205A"/>
    </a:accent3>
    <a:accent4>
      <a:srgbClr val="8F0F4A"/>
    </a:accent4>
    <a:accent5>
      <a:srgbClr val="CF392A"/>
    </a:accent5>
    <a:accent6>
      <a:srgbClr val="F99900"/>
    </a:accent6>
    <a:hlink>
      <a:srgbClr val="40539C"/>
    </a:hlink>
    <a:folHlink>
      <a:srgbClr val="0F2439"/>
    </a:folHlink>
  </a:clrScheme>
</a:themeOverride>
</file>

<file path=ppt/theme/themeOverride31.xml><?xml version="1.0" encoding="utf-8"?>
<a:themeOverride xmlns:a="http://schemas.openxmlformats.org/drawingml/2006/main">
  <a:clrScheme name="Actelion - Indigo">
    <a:dk1>
      <a:sysClr val="windowText" lastClr="000000"/>
    </a:dk1>
    <a:lt1>
      <a:srgbClr val="FFFFFF"/>
    </a:lt1>
    <a:dk2>
      <a:srgbClr val="40539C"/>
    </a:dk2>
    <a:lt2>
      <a:srgbClr val="0F2439"/>
    </a:lt2>
    <a:accent1>
      <a:srgbClr val="40539C"/>
    </a:accent1>
    <a:accent2>
      <a:srgbClr val="6C3896"/>
    </a:accent2>
    <a:accent3>
      <a:srgbClr val="6F205A"/>
    </a:accent3>
    <a:accent4>
      <a:srgbClr val="8F0F4A"/>
    </a:accent4>
    <a:accent5>
      <a:srgbClr val="CF392A"/>
    </a:accent5>
    <a:accent6>
      <a:srgbClr val="F99900"/>
    </a:accent6>
    <a:hlink>
      <a:srgbClr val="40539C"/>
    </a:hlink>
    <a:folHlink>
      <a:srgbClr val="0F2439"/>
    </a:folHlink>
  </a:clrScheme>
</a:themeOverride>
</file>

<file path=ppt/theme/themeOverride32.xml><?xml version="1.0" encoding="utf-8"?>
<a:themeOverride xmlns:a="http://schemas.openxmlformats.org/drawingml/2006/main">
  <a:clrScheme name="Actelion - Indigo">
    <a:dk1>
      <a:sysClr val="windowText" lastClr="000000"/>
    </a:dk1>
    <a:lt1>
      <a:srgbClr val="FFFFFF"/>
    </a:lt1>
    <a:dk2>
      <a:srgbClr val="40539C"/>
    </a:dk2>
    <a:lt2>
      <a:srgbClr val="0F2439"/>
    </a:lt2>
    <a:accent1>
      <a:srgbClr val="40539C"/>
    </a:accent1>
    <a:accent2>
      <a:srgbClr val="6C3896"/>
    </a:accent2>
    <a:accent3>
      <a:srgbClr val="6F205A"/>
    </a:accent3>
    <a:accent4>
      <a:srgbClr val="8F0F4A"/>
    </a:accent4>
    <a:accent5>
      <a:srgbClr val="CF392A"/>
    </a:accent5>
    <a:accent6>
      <a:srgbClr val="F99900"/>
    </a:accent6>
    <a:hlink>
      <a:srgbClr val="40539C"/>
    </a:hlink>
    <a:folHlink>
      <a:srgbClr val="0F2439"/>
    </a:folHlink>
  </a:clrScheme>
</a:themeOverride>
</file>

<file path=ppt/theme/themeOverride33.xml><?xml version="1.0" encoding="utf-8"?>
<a:themeOverride xmlns:a="http://schemas.openxmlformats.org/drawingml/2006/main">
  <a:clrScheme name="Actelion - Indigo">
    <a:dk1>
      <a:sysClr val="windowText" lastClr="000000"/>
    </a:dk1>
    <a:lt1>
      <a:srgbClr val="FFFFFF"/>
    </a:lt1>
    <a:dk2>
      <a:srgbClr val="40539C"/>
    </a:dk2>
    <a:lt2>
      <a:srgbClr val="0F2439"/>
    </a:lt2>
    <a:accent1>
      <a:srgbClr val="40539C"/>
    </a:accent1>
    <a:accent2>
      <a:srgbClr val="6C3896"/>
    </a:accent2>
    <a:accent3>
      <a:srgbClr val="6F205A"/>
    </a:accent3>
    <a:accent4>
      <a:srgbClr val="8F0F4A"/>
    </a:accent4>
    <a:accent5>
      <a:srgbClr val="CF392A"/>
    </a:accent5>
    <a:accent6>
      <a:srgbClr val="F99900"/>
    </a:accent6>
    <a:hlink>
      <a:srgbClr val="40539C"/>
    </a:hlink>
    <a:folHlink>
      <a:srgbClr val="0F2439"/>
    </a:folHlink>
  </a:clrScheme>
</a:themeOverride>
</file>

<file path=ppt/theme/themeOverride34.xml><?xml version="1.0" encoding="utf-8"?>
<a:themeOverride xmlns:a="http://schemas.openxmlformats.org/drawingml/2006/main">
  <a:clrScheme name="Actelion - Indigo">
    <a:dk1>
      <a:sysClr val="windowText" lastClr="000000"/>
    </a:dk1>
    <a:lt1>
      <a:srgbClr val="FFFFFF"/>
    </a:lt1>
    <a:dk2>
      <a:srgbClr val="40539C"/>
    </a:dk2>
    <a:lt2>
      <a:srgbClr val="0F2439"/>
    </a:lt2>
    <a:accent1>
      <a:srgbClr val="40539C"/>
    </a:accent1>
    <a:accent2>
      <a:srgbClr val="6C3896"/>
    </a:accent2>
    <a:accent3>
      <a:srgbClr val="6F205A"/>
    </a:accent3>
    <a:accent4>
      <a:srgbClr val="8F0F4A"/>
    </a:accent4>
    <a:accent5>
      <a:srgbClr val="CF392A"/>
    </a:accent5>
    <a:accent6>
      <a:srgbClr val="F99900"/>
    </a:accent6>
    <a:hlink>
      <a:srgbClr val="40539C"/>
    </a:hlink>
    <a:folHlink>
      <a:srgbClr val="0F2439"/>
    </a:folHlink>
  </a:clrScheme>
</a:themeOverride>
</file>

<file path=ppt/theme/themeOverride4.xml><?xml version="1.0" encoding="utf-8"?>
<a:themeOverride xmlns:a="http://schemas.openxmlformats.org/drawingml/2006/main">
  <a:clrScheme name="Actelion - Indigo">
    <a:dk1>
      <a:sysClr val="windowText" lastClr="000000"/>
    </a:dk1>
    <a:lt1>
      <a:srgbClr val="FFFFFF"/>
    </a:lt1>
    <a:dk2>
      <a:srgbClr val="40539C"/>
    </a:dk2>
    <a:lt2>
      <a:srgbClr val="0F2439"/>
    </a:lt2>
    <a:accent1>
      <a:srgbClr val="40539C"/>
    </a:accent1>
    <a:accent2>
      <a:srgbClr val="6C3896"/>
    </a:accent2>
    <a:accent3>
      <a:srgbClr val="6F205A"/>
    </a:accent3>
    <a:accent4>
      <a:srgbClr val="8F0F4A"/>
    </a:accent4>
    <a:accent5>
      <a:srgbClr val="CF392A"/>
    </a:accent5>
    <a:accent6>
      <a:srgbClr val="F99900"/>
    </a:accent6>
    <a:hlink>
      <a:srgbClr val="40539C"/>
    </a:hlink>
    <a:folHlink>
      <a:srgbClr val="0F2439"/>
    </a:folHlink>
  </a:clrScheme>
</a:themeOverride>
</file>

<file path=ppt/theme/themeOverride5.xml><?xml version="1.0" encoding="utf-8"?>
<a:themeOverride xmlns:a="http://schemas.openxmlformats.org/drawingml/2006/main">
  <a:clrScheme name="Actelion - Indigo">
    <a:dk1>
      <a:sysClr val="windowText" lastClr="000000"/>
    </a:dk1>
    <a:lt1>
      <a:srgbClr val="FFFFFF"/>
    </a:lt1>
    <a:dk2>
      <a:srgbClr val="40539C"/>
    </a:dk2>
    <a:lt2>
      <a:srgbClr val="0F2439"/>
    </a:lt2>
    <a:accent1>
      <a:srgbClr val="40539C"/>
    </a:accent1>
    <a:accent2>
      <a:srgbClr val="6C3896"/>
    </a:accent2>
    <a:accent3>
      <a:srgbClr val="6F205A"/>
    </a:accent3>
    <a:accent4>
      <a:srgbClr val="8F0F4A"/>
    </a:accent4>
    <a:accent5>
      <a:srgbClr val="CF392A"/>
    </a:accent5>
    <a:accent6>
      <a:srgbClr val="F99900"/>
    </a:accent6>
    <a:hlink>
      <a:srgbClr val="40539C"/>
    </a:hlink>
    <a:folHlink>
      <a:srgbClr val="0F2439"/>
    </a:folHlink>
  </a:clrScheme>
</a:themeOverride>
</file>

<file path=ppt/theme/themeOverride6.xml><?xml version="1.0" encoding="utf-8"?>
<a:themeOverride xmlns:a="http://schemas.openxmlformats.org/drawingml/2006/main">
  <a:clrScheme name="Actelion - Indigo">
    <a:dk1>
      <a:sysClr val="windowText" lastClr="000000"/>
    </a:dk1>
    <a:lt1>
      <a:srgbClr val="FFFFFF"/>
    </a:lt1>
    <a:dk2>
      <a:srgbClr val="40539C"/>
    </a:dk2>
    <a:lt2>
      <a:srgbClr val="0F2439"/>
    </a:lt2>
    <a:accent1>
      <a:srgbClr val="40539C"/>
    </a:accent1>
    <a:accent2>
      <a:srgbClr val="6C3896"/>
    </a:accent2>
    <a:accent3>
      <a:srgbClr val="6F205A"/>
    </a:accent3>
    <a:accent4>
      <a:srgbClr val="8F0F4A"/>
    </a:accent4>
    <a:accent5>
      <a:srgbClr val="CF392A"/>
    </a:accent5>
    <a:accent6>
      <a:srgbClr val="F99900"/>
    </a:accent6>
    <a:hlink>
      <a:srgbClr val="40539C"/>
    </a:hlink>
    <a:folHlink>
      <a:srgbClr val="0F2439"/>
    </a:folHlink>
  </a:clrScheme>
</a:themeOverride>
</file>

<file path=ppt/theme/themeOverride7.xml><?xml version="1.0" encoding="utf-8"?>
<a:themeOverride xmlns:a="http://schemas.openxmlformats.org/drawingml/2006/main">
  <a:clrScheme name="Actelion - Indigo">
    <a:dk1>
      <a:sysClr val="windowText" lastClr="000000"/>
    </a:dk1>
    <a:lt1>
      <a:srgbClr val="FFFFFF"/>
    </a:lt1>
    <a:dk2>
      <a:srgbClr val="40539C"/>
    </a:dk2>
    <a:lt2>
      <a:srgbClr val="0F2439"/>
    </a:lt2>
    <a:accent1>
      <a:srgbClr val="40539C"/>
    </a:accent1>
    <a:accent2>
      <a:srgbClr val="6C3896"/>
    </a:accent2>
    <a:accent3>
      <a:srgbClr val="6F205A"/>
    </a:accent3>
    <a:accent4>
      <a:srgbClr val="8F0F4A"/>
    </a:accent4>
    <a:accent5>
      <a:srgbClr val="CF392A"/>
    </a:accent5>
    <a:accent6>
      <a:srgbClr val="F99900"/>
    </a:accent6>
    <a:hlink>
      <a:srgbClr val="40539C"/>
    </a:hlink>
    <a:folHlink>
      <a:srgbClr val="0F2439"/>
    </a:folHlink>
  </a:clrScheme>
</a:themeOverride>
</file>

<file path=ppt/theme/themeOverride8.xml><?xml version="1.0" encoding="utf-8"?>
<a:themeOverride xmlns:a="http://schemas.openxmlformats.org/drawingml/2006/main">
  <a:clrScheme name="Actelion - Indigo">
    <a:dk1>
      <a:sysClr val="windowText" lastClr="000000"/>
    </a:dk1>
    <a:lt1>
      <a:srgbClr val="FFFFFF"/>
    </a:lt1>
    <a:dk2>
      <a:srgbClr val="40539C"/>
    </a:dk2>
    <a:lt2>
      <a:srgbClr val="0F2439"/>
    </a:lt2>
    <a:accent1>
      <a:srgbClr val="40539C"/>
    </a:accent1>
    <a:accent2>
      <a:srgbClr val="6C3896"/>
    </a:accent2>
    <a:accent3>
      <a:srgbClr val="6F205A"/>
    </a:accent3>
    <a:accent4>
      <a:srgbClr val="8F0F4A"/>
    </a:accent4>
    <a:accent5>
      <a:srgbClr val="CF392A"/>
    </a:accent5>
    <a:accent6>
      <a:srgbClr val="F99900"/>
    </a:accent6>
    <a:hlink>
      <a:srgbClr val="40539C"/>
    </a:hlink>
    <a:folHlink>
      <a:srgbClr val="0F2439"/>
    </a:folHlink>
  </a:clrScheme>
</a:themeOverride>
</file>

<file path=ppt/theme/themeOverride9.xml><?xml version="1.0" encoding="utf-8"?>
<a:themeOverride xmlns:a="http://schemas.openxmlformats.org/drawingml/2006/main">
  <a:clrScheme name="Actelion - Indigo">
    <a:dk1>
      <a:sysClr val="windowText" lastClr="000000"/>
    </a:dk1>
    <a:lt1>
      <a:srgbClr val="FFFFFF"/>
    </a:lt1>
    <a:dk2>
      <a:srgbClr val="40539C"/>
    </a:dk2>
    <a:lt2>
      <a:srgbClr val="0F2439"/>
    </a:lt2>
    <a:accent1>
      <a:srgbClr val="40539C"/>
    </a:accent1>
    <a:accent2>
      <a:srgbClr val="6C3896"/>
    </a:accent2>
    <a:accent3>
      <a:srgbClr val="6F205A"/>
    </a:accent3>
    <a:accent4>
      <a:srgbClr val="8F0F4A"/>
    </a:accent4>
    <a:accent5>
      <a:srgbClr val="CF392A"/>
    </a:accent5>
    <a:accent6>
      <a:srgbClr val="F99900"/>
    </a:accent6>
    <a:hlink>
      <a:srgbClr val="40539C"/>
    </a:hlink>
    <a:folHlink>
      <a:srgbClr val="0F2439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1865</TotalTime>
  <Words>2355</Words>
  <Application>Microsoft Office PowerPoint</Application>
  <PresentationFormat>Widescreen</PresentationFormat>
  <Paragraphs>247</Paragraphs>
  <Slides>9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9" baseType="lpstr">
      <vt:lpstr>Arial</vt:lpstr>
      <vt:lpstr>Calibri</vt:lpstr>
      <vt:lpstr>Calibri Light</vt:lpstr>
      <vt:lpstr>Cambria</vt:lpstr>
      <vt:lpstr>Museo Sans Cyrl 100</vt:lpstr>
      <vt:lpstr>Noto Sans Symbols</vt:lpstr>
      <vt:lpstr>Symbol</vt:lpstr>
      <vt:lpstr>Times New Roman</vt:lpstr>
      <vt:lpstr>Verdana</vt:lpstr>
      <vt:lpstr>Wingdings</vt:lpstr>
      <vt:lpstr>ACTELION</vt:lpstr>
      <vt:lpstr>2_BL5719_CF</vt:lpstr>
      <vt:lpstr>1_ACTELION</vt:lpstr>
      <vt:lpstr>2_ACTELION</vt:lpstr>
      <vt:lpstr>3_ACTELION</vt:lpstr>
      <vt:lpstr>4_ACTELION</vt:lpstr>
      <vt:lpstr>1_Office Theme</vt:lpstr>
      <vt:lpstr>1_EMEA template</vt:lpstr>
      <vt:lpstr>2_EMEA template</vt:lpstr>
      <vt:lpstr>think-cell Slide</vt:lpstr>
      <vt:lpstr>PowerPoint Presentation</vt:lpstr>
      <vt:lpstr>PowerPoint Presentation</vt:lpstr>
      <vt:lpstr>Со временем ЛАГ приводит к ремоделированию сосудов, поражению сердца и, в конечном счете, правожелудочковой недостаточности </vt:lpstr>
      <vt:lpstr>Изменение сердечной и легочной функции предшествует развитию явных симптомов и постановке диагноза ЛАГ</vt:lpstr>
      <vt:lpstr>Как правило, ЛАГ диагностируется слишком поздно</vt:lpstr>
      <vt:lpstr>Выживаемость пациентов с ЛАГ остается недостаточной: показатель выживаемости через 5 лет по-прежнему  не превышает 80 % по данным более новых регистров1–6</vt:lpstr>
      <vt:lpstr>Раннее вмешательство при ЛАГ остается чрезвычайно важным для исхода заболевания</vt:lpstr>
      <vt:lpstr>Бессимптомное прогрессирование заболевания может наблюдаться у пациентов, которые кажутся клинически «стабильными» 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доклада</dc:title>
  <dc:creator>Zhulneva, Julia [JACRU]</dc:creator>
  <cp:lastModifiedBy>Askarova, Azhar [JACKZ]</cp:lastModifiedBy>
  <cp:revision>248</cp:revision>
  <dcterms:created xsi:type="dcterms:W3CDTF">2020-04-22T15:20:30Z</dcterms:created>
  <dcterms:modified xsi:type="dcterms:W3CDTF">2021-08-10T09:52:38Z</dcterms:modified>
</cp:coreProperties>
</file>